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charts/chart3.xml" ContentType="application/vnd.openxmlformats-officedocument.drawingml.chart+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notesSlides/notesSlide4.xml" ContentType="application/vnd.openxmlformats-officedocument.presentationml.notesSlide+xml"/>
  <Override PartName="/ppt/tags/tag536.xml" ContentType="application/vnd.openxmlformats-officedocument.presentationml.tags+xml"/>
  <Override PartName="/ppt/tags/tag537.xml" ContentType="application/vnd.openxmlformats-officedocument.presentationml.tags+xml"/>
  <Override PartName="/ppt/notesSlides/notesSlide5.xml" ContentType="application/vnd.openxmlformats-officedocument.presentationml.notesSlide+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725.xml" ContentType="application/vnd.openxmlformats-officedocument.presentationml.tags+xml"/>
  <Override PartName="/ppt/tags/tag726.xml" ContentType="application/vnd.openxmlformats-officedocument.presentationml.tags+xml"/>
  <Override PartName="/ppt/notesSlides/notesSlide7.xml" ContentType="application/vnd.openxmlformats-officedocument.presentationml.notesSlide+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notesSlides/notesSlide8.xml" ContentType="application/vnd.openxmlformats-officedocument.presentationml.notesSlide+xml"/>
  <Override PartName="/ppt/tags/tag730.xml" ContentType="application/vnd.openxmlformats-officedocument.presentationml.tags+xml"/>
  <Override PartName="/ppt/notesSlides/notesSlide9.xml" ContentType="application/vnd.openxmlformats-officedocument.presentationml.notesSlide+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notesSlides/notesSlide10.xml" ContentType="application/vnd.openxmlformats-officedocument.presentationml.notesSlide+xml"/>
  <Override PartName="/ppt/charts/chart13.xml" ContentType="application/vnd.openxmlformats-officedocument.drawingml.chart+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style1.xml" ContentType="application/vnd.ms-office.chartstyle+xml"/>
  <Override PartName="/ppt/charts/colors1.xml" ContentType="application/vnd.ms-office.chartcolorstyle+xml"/>
  <Override PartName="/ppt/charts/chart20.xml" ContentType="application/vnd.openxmlformats-officedocument.drawingml.chart+xml"/>
  <Override PartName="/ppt/charts/style2.xml" ContentType="application/vnd.ms-office.chartstyle+xml"/>
  <Override PartName="/ppt/charts/colors2.xml" ContentType="application/vnd.ms-office.chartcolorstyle+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charts/chart23.xml" ContentType="application/vnd.openxmlformats-officedocument.drawingml.chart+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charts/chart24.xml" ContentType="application/vnd.openxmlformats-officedocument.drawingml.chart+xml"/>
  <Override PartName="/ppt/tags/tag1007.xml" ContentType="application/vnd.openxmlformats-officedocument.presentationml.tags+xml"/>
  <Override PartName="/ppt/tags/tag1008.xml" ContentType="application/vnd.openxmlformats-officedocument.presentationml.tags+xml"/>
  <Override PartName="/ppt/notesSlides/notesSlide12.xml" ContentType="application/vnd.openxmlformats-officedocument.presentationml.notesSlide+xml"/>
  <Override PartName="/ppt/tags/tag1009.xml" ContentType="application/vnd.openxmlformats-officedocument.presentationml.tags+xml"/>
  <Override PartName="/ppt/notesSlides/notesSlide13.xml" ContentType="application/vnd.openxmlformats-officedocument.presentationml.notesSlide+xml"/>
  <Override PartName="/ppt/tags/tag1010.xml" ContentType="application/vnd.openxmlformats-officedocument.presentationml.tags+xml"/>
  <Override PartName="/ppt/notesSlides/notesSlide14.xml" ContentType="application/vnd.openxmlformats-officedocument.presentationml.notesSlide+xml"/>
  <Override PartName="/ppt/tags/tag1011.xml" ContentType="application/vnd.openxmlformats-officedocument.presentationml.tags+xml"/>
  <Override PartName="/ppt/notesSlides/notesSlide15.xml" ContentType="application/vnd.openxmlformats-officedocument.presentationml.notesSlide+xml"/>
  <Override PartName="/ppt/tags/tag1012.xml" ContentType="application/vnd.openxmlformats-officedocument.presentationml.tags+xml"/>
  <Override PartName="/ppt/notesSlides/notesSlide16.xml" ContentType="application/vnd.openxmlformats-officedocument.presentationml.notesSlide+xml"/>
  <Override PartName="/ppt/tags/tag1013.xml" ContentType="application/vnd.openxmlformats-officedocument.presentationml.tags+xml"/>
  <Override PartName="/ppt/notesSlides/notesSlide17.xml" ContentType="application/vnd.openxmlformats-officedocument.presentationml.notesSlide+xml"/>
  <Override PartName="/ppt/tags/tag1014.xml" ContentType="application/vnd.openxmlformats-officedocument.presentationml.tags+xml"/>
  <Override PartName="/ppt/notesSlides/notesSlide18.xml" ContentType="application/vnd.openxmlformats-officedocument.presentationml.notesSlide+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charts/chart25.xml" ContentType="application/vnd.openxmlformats-officedocument.drawingml.chart+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charts/chart30.xml" ContentType="application/vnd.openxmlformats-officedocument.drawingml.chart+xml"/>
  <Override PartName="/ppt/charts/style3.xml" ContentType="application/vnd.ms-office.chartstyle+xml"/>
  <Override PartName="/ppt/charts/colors3.xml" ContentType="application/vnd.ms-office.chartcolorstyle+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notesSlides/notesSlide19.xml" ContentType="application/vnd.openxmlformats-officedocument.presentationml.notesSlide+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notesSlides/notesSlide20.xml" ContentType="application/vnd.openxmlformats-officedocument.presentationml.notesSlid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tags/tag1228.xml" ContentType="application/vnd.openxmlformats-officedocument.presentationml.tags+xml"/>
  <Override PartName="/ppt/notesSlides/notesSlide21.xml" ContentType="application/vnd.openxmlformats-officedocument.presentationml.notesSlide+xml"/>
  <Override PartName="/ppt/tags/tag1229.xml" ContentType="application/vnd.openxmlformats-officedocument.presentationml.tags+xml"/>
  <Override PartName="/ppt/notesSlides/notesSlide22.xml" ContentType="application/vnd.openxmlformats-officedocument.presentationml.notesSlide+xml"/>
  <Override PartName="/ppt/tags/tag1230.xml" ContentType="application/vnd.openxmlformats-officedocument.presentationml.tags+xml"/>
  <Override PartName="/ppt/tags/tag1231.xml" ContentType="application/vnd.openxmlformats-officedocument.presentationml.tags+xml"/>
  <Override PartName="/ppt/notesSlides/notesSlide23.xml" ContentType="application/vnd.openxmlformats-officedocument.presentationml.notesSlide+xml"/>
  <Override PartName="/ppt/tags/tag1232.xml" ContentType="application/vnd.openxmlformats-officedocument.presentationml.tags+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12"/>
  </p:notesMasterIdLst>
  <p:handoutMasterIdLst>
    <p:handoutMasterId r:id="rId113"/>
  </p:handoutMasterIdLst>
  <p:sldIdLst>
    <p:sldId id="687" r:id="rId2"/>
    <p:sldId id="2147471864" r:id="rId3"/>
    <p:sldId id="2147471865" r:id="rId4"/>
    <p:sldId id="676" r:id="rId5"/>
    <p:sldId id="726" r:id="rId6"/>
    <p:sldId id="727" r:id="rId7"/>
    <p:sldId id="678" r:id="rId8"/>
    <p:sldId id="682" r:id="rId9"/>
    <p:sldId id="679" r:id="rId10"/>
    <p:sldId id="680" r:id="rId11"/>
    <p:sldId id="681" r:id="rId12"/>
    <p:sldId id="381" r:id="rId13"/>
    <p:sldId id="697" r:id="rId14"/>
    <p:sldId id="2147471869" r:id="rId15"/>
    <p:sldId id="2147471870" r:id="rId16"/>
    <p:sldId id="2147471872" r:id="rId17"/>
    <p:sldId id="2147472425" r:id="rId18"/>
    <p:sldId id="698" r:id="rId19"/>
    <p:sldId id="636" r:id="rId20"/>
    <p:sldId id="699" r:id="rId21"/>
    <p:sldId id="614" r:id="rId22"/>
    <p:sldId id="615" r:id="rId23"/>
    <p:sldId id="616" r:id="rId24"/>
    <p:sldId id="638" r:id="rId25"/>
    <p:sldId id="382" r:id="rId26"/>
    <p:sldId id="672" r:id="rId27"/>
    <p:sldId id="715" r:id="rId28"/>
    <p:sldId id="2147471873" r:id="rId29"/>
    <p:sldId id="2147472405" r:id="rId30"/>
    <p:sldId id="2147472418" r:id="rId31"/>
    <p:sldId id="714" r:id="rId32"/>
    <p:sldId id="700" r:id="rId33"/>
    <p:sldId id="701" r:id="rId34"/>
    <p:sldId id="693" r:id="rId35"/>
    <p:sldId id="2147472428" r:id="rId36"/>
    <p:sldId id="655" r:id="rId37"/>
    <p:sldId id="2147471853" r:id="rId38"/>
    <p:sldId id="2147472429" r:id="rId39"/>
    <p:sldId id="694" r:id="rId40"/>
    <p:sldId id="2147470410" r:id="rId41"/>
    <p:sldId id="703" r:id="rId42"/>
    <p:sldId id="2147472441" r:id="rId43"/>
    <p:sldId id="2147470339" r:id="rId44"/>
    <p:sldId id="620" r:id="rId45"/>
    <p:sldId id="705" r:id="rId46"/>
    <p:sldId id="657" r:id="rId47"/>
    <p:sldId id="622" r:id="rId48"/>
    <p:sldId id="621" r:id="rId49"/>
    <p:sldId id="626" r:id="rId50"/>
    <p:sldId id="627" r:id="rId51"/>
    <p:sldId id="639" r:id="rId52"/>
    <p:sldId id="658" r:id="rId53"/>
    <p:sldId id="659" r:id="rId54"/>
    <p:sldId id="695" r:id="rId55"/>
    <p:sldId id="661" r:id="rId56"/>
    <p:sldId id="741" r:id="rId57"/>
    <p:sldId id="2147472402" r:id="rId58"/>
    <p:sldId id="2147472414" r:id="rId59"/>
    <p:sldId id="2147472419" r:id="rId60"/>
    <p:sldId id="2147472420" r:id="rId61"/>
    <p:sldId id="2147472421" r:id="rId62"/>
    <p:sldId id="2147472422" r:id="rId63"/>
    <p:sldId id="2147472423" r:id="rId64"/>
    <p:sldId id="742" r:id="rId65"/>
    <p:sldId id="2147472431" r:id="rId66"/>
    <p:sldId id="662" r:id="rId67"/>
    <p:sldId id="2147472432" r:id="rId68"/>
    <p:sldId id="663" r:id="rId69"/>
    <p:sldId id="2147471867" r:id="rId70"/>
    <p:sldId id="628" r:id="rId71"/>
    <p:sldId id="2147472433" r:id="rId72"/>
    <p:sldId id="665" r:id="rId73"/>
    <p:sldId id="2147471868" r:id="rId74"/>
    <p:sldId id="629" r:id="rId75"/>
    <p:sldId id="733" r:id="rId76"/>
    <p:sldId id="734" r:id="rId77"/>
    <p:sldId id="649" r:id="rId78"/>
    <p:sldId id="2147470376" r:id="rId79"/>
    <p:sldId id="743" r:id="rId80"/>
    <p:sldId id="581" r:id="rId81"/>
    <p:sldId id="666" r:id="rId82"/>
    <p:sldId id="696" r:id="rId83"/>
    <p:sldId id="667" r:id="rId84"/>
    <p:sldId id="668" r:id="rId85"/>
    <p:sldId id="451" r:id="rId86"/>
    <p:sldId id="718" r:id="rId87"/>
    <p:sldId id="686" r:id="rId88"/>
    <p:sldId id="2147471851" r:id="rId89"/>
    <p:sldId id="2147471711" r:id="rId90"/>
    <p:sldId id="2147471852" r:id="rId91"/>
    <p:sldId id="2147472436" r:id="rId92"/>
    <p:sldId id="2147472424" r:id="rId93"/>
    <p:sldId id="2147472413" r:id="rId94"/>
    <p:sldId id="708" r:id="rId95"/>
    <p:sldId id="709" r:id="rId96"/>
    <p:sldId id="562" r:id="rId97"/>
    <p:sldId id="458" r:id="rId98"/>
    <p:sldId id="711" r:id="rId99"/>
    <p:sldId id="732" r:id="rId100"/>
    <p:sldId id="608" r:id="rId101"/>
    <p:sldId id="610" r:id="rId102"/>
    <p:sldId id="730" r:id="rId103"/>
    <p:sldId id="592" r:id="rId104"/>
    <p:sldId id="602" r:id="rId105"/>
    <p:sldId id="738" r:id="rId106"/>
    <p:sldId id="594" r:id="rId107"/>
    <p:sldId id="595" r:id="rId108"/>
    <p:sldId id="596" r:id="rId109"/>
    <p:sldId id="737" r:id="rId110"/>
    <p:sldId id="604" r:id="rId111"/>
  </p:sldIdLst>
  <p:sldSz cx="9906000" cy="6858000" type="A4"/>
  <p:notesSz cx="6735763" cy="9866313"/>
  <p:custDataLst>
    <p:tags r:id="rId11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6" pos="3120">
          <p15:clr>
            <a:srgbClr val="A4A3A4"/>
          </p15:clr>
        </p15:guide>
        <p15:guide id="17" pos="5524">
          <p15:clr>
            <a:srgbClr val="A4A3A4"/>
          </p15:clr>
        </p15:guide>
        <p15:guide id="19" orient="horz" pos="2205" userDrawn="1">
          <p15:clr>
            <a:srgbClr val="A4A3A4"/>
          </p15:clr>
        </p15:guide>
        <p15:guide id="20" pos="6114" userDrawn="1">
          <p15:clr>
            <a:srgbClr val="A4A3A4"/>
          </p15:clr>
        </p15:guide>
        <p15:guide id="21" orient="horz" pos="1207" userDrawn="1">
          <p15:clr>
            <a:srgbClr val="A4A3A4"/>
          </p15:clr>
        </p15:guide>
        <p15:guide id="22" orient="horz" pos="84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5" name="作成者" initials="A" lastIdx="0"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EF5"/>
    <a:srgbClr val="D2E0E6"/>
    <a:srgbClr val="FBDAC1"/>
    <a:srgbClr val="F8DEC4"/>
    <a:srgbClr val="FAE6D2"/>
    <a:srgbClr val="F1E7ED"/>
    <a:srgbClr val="EBEFCF"/>
    <a:srgbClr val="F3F3F3"/>
    <a:srgbClr val="FFFFCC"/>
    <a:srgbClr val="FFE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34" autoAdjust="0"/>
    <p:restoredTop sz="89543" autoAdjust="0"/>
  </p:normalViewPr>
  <p:slideViewPr>
    <p:cSldViewPr>
      <p:cViewPr varScale="1">
        <p:scale>
          <a:sx n="78" d="100"/>
          <a:sy n="78" d="100"/>
        </p:scale>
        <p:origin x="1493" y="288"/>
      </p:cViewPr>
      <p:guideLst>
        <p:guide orient="horz" pos="4201"/>
        <p:guide pos="1669"/>
        <p:guide pos="126"/>
        <p:guide orient="horz" pos="709"/>
        <p:guide pos="3120"/>
        <p:guide pos="5524"/>
        <p:guide orient="horz" pos="2205"/>
        <p:guide pos="6114"/>
        <p:guide orient="horz" pos="1207"/>
        <p:guide orient="horz" pos="84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viewProps" Target="view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notesMaster" Target="notesMasters/notes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handoutMaster" Target="handoutMasters/handoutMaster1.xml"/><Relationship Id="rId118"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tags" Target="tags/tag1.xml"/><Relationship Id="rId119"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microsoft.com/office/2018/10/relationships/authors" Targe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commentAuthors" Target="commen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2.xml"/><Relationship Id="rId1" Type="http://schemas.microsoft.com/office/2011/relationships/chartStyle" Target="style2.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3.xml"/><Relationship Id="rId1" Type="http://schemas.microsoft.com/office/2011/relationships/chartStyle" Target="style3.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279682922626226E-2"/>
          <c:y val="0.16720779220779219"/>
          <c:w val="0.93175943477511636"/>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8.28782878083824</c:v>
                </c:pt>
                <c:pt idx="1">
                  <c:v>37.681461795649732</c:v>
                </c:pt>
                <c:pt idx="2">
                  <c:v>36.795872928730944</c:v>
                </c:pt>
                <c:pt idx="3">
                  <c:v>35.698077686758921</c:v>
                </c:pt>
                <c:pt idx="4">
                  <c:v>34.461437211354855</c:v>
                </c:pt>
                <c:pt idx="5">
                  <c:v>33.159839376572542</c:v>
                </c:pt>
                <c:pt idx="6">
                  <c:v>31.8622448313875</c:v>
                </c:pt>
                <c:pt idx="7">
                  <c:v>30.628839345837999</c:v>
                </c:pt>
                <c:pt idx="8">
                  <c:v>29.498899159015245</c:v>
                </c:pt>
                <c:pt idx="9">
                  <c:v>28.493633786609422</c:v>
                </c:pt>
                <c:pt idx="10">
                  <c:v>27.624583624478444</c:v>
                </c:pt>
                <c:pt idx="11">
                  <c:v>26.893438181665307</c:v>
                </c:pt>
                <c:pt idx="12">
                  <c:v>26.2915939682828</c:v>
                </c:pt>
                <c:pt idx="13">
                  <c:v>25.802094496931161</c:v>
                </c:pt>
                <c:pt idx="14">
                  <c:v>25.403789420410355</c:v>
                </c:pt>
                <c:pt idx="15">
                  <c:v>25.068628999332709</c:v>
                </c:pt>
                <c:pt idx="16">
                  <c:v>24.915512771687471</c:v>
                </c:pt>
                <c:pt idx="17">
                  <c:v>25.165846381968503</c:v>
                </c:pt>
                <c:pt idx="18">
                  <c:v>25.662458675242206</c:v>
                </c:pt>
                <c:pt idx="19">
                  <c:v>25.751015786646398</c:v>
                </c:pt>
                <c:pt idx="20">
                  <c:v>25.490940059223892</c:v>
                </c:pt>
                <c:pt idx="21">
                  <c:v>25.206484939076564</c:v>
                </c:pt>
                <c:pt idx="22">
                  <c:v>24.644523308471083</c:v>
                </c:pt>
                <c:pt idx="23">
                  <c:v>24.097442085946099</c:v>
                </c:pt>
                <c:pt idx="24">
                  <c:v>23.818581981118054</c:v>
                </c:pt>
                <c:pt idx="25">
                  <c:v>23.621080029096525</c:v>
                </c:pt>
                <c:pt idx="26">
                  <c:v>22.752083214738782</c:v>
                </c:pt>
                <c:pt idx="27">
                  <c:v>21.680356514996625</c:v>
                </c:pt>
                <c:pt idx="28">
                  <c:v>20.079008201246324</c:v>
                </c:pt>
              </c:numCache>
            </c:numRef>
          </c:val>
          <c:extLst>
            <c:ext xmlns:c16="http://schemas.microsoft.com/office/drawing/2014/chart" uri="{C3380CC4-5D6E-409C-BE32-E72D297353CC}">
              <c16:uniqueId val="{00000000-5D5C-4CB0-87C3-700E9E8B17B8}"/>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9.483791970216828</c:v>
                </c:pt>
                <c:pt idx="1">
                  <c:v>60.081782027611943</c:v>
                </c:pt>
                <c:pt idx="2">
                  <c:v>60.955734827424592</c:v>
                </c:pt>
                <c:pt idx="3">
                  <c:v>62.038611061674722</c:v>
                </c:pt>
                <c:pt idx="4">
                  <c:v>63.257536549008918</c:v>
                </c:pt>
                <c:pt idx="5">
                  <c:v>64.538764555646935</c:v>
                </c:pt>
                <c:pt idx="6">
                  <c:v>65.813338127559973</c:v>
                </c:pt>
                <c:pt idx="7">
                  <c:v>67.02223513731758</c:v>
                </c:pt>
                <c:pt idx="8">
                  <c:v>68.129051262829776</c:v>
                </c:pt>
                <c:pt idx="9">
                  <c:v>69.116828350029863</c:v>
                </c:pt>
                <c:pt idx="10">
                  <c:v>69.97872988564653</c:v>
                </c:pt>
                <c:pt idx="11">
                  <c:v>70.716883264136939</c:v>
                </c:pt>
                <c:pt idx="12">
                  <c:v>71.341773751574721</c:v>
                </c:pt>
                <c:pt idx="13">
                  <c:v>71.86968427801429</c:v>
                </c:pt>
                <c:pt idx="14">
                  <c:v>72.316204819907611</c:v>
                </c:pt>
                <c:pt idx="15">
                  <c:v>72.70325796837345</c:v>
                </c:pt>
                <c:pt idx="16">
                  <c:v>72.870836472595386</c:v>
                </c:pt>
                <c:pt idx="17">
                  <c:v>72.553915708072424</c:v>
                </c:pt>
                <c:pt idx="18">
                  <c:v>71.956794968095053</c:v>
                </c:pt>
                <c:pt idx="19">
                  <c:v>71.798736063457753</c:v>
                </c:pt>
                <c:pt idx="20">
                  <c:v>71.986478293665684</c:v>
                </c:pt>
                <c:pt idx="21">
                  <c:v>72.174960753230266</c:v>
                </c:pt>
                <c:pt idx="22">
                  <c:v>72.652982516756651</c:v>
                </c:pt>
                <c:pt idx="23">
                  <c:v>73.083054044859892</c:v>
                </c:pt>
                <c:pt idx="24">
                  <c:v>73.230575380417079</c:v>
                </c:pt>
                <c:pt idx="25">
                  <c:v>73.322138816712041</c:v>
                </c:pt>
                <c:pt idx="26">
                  <c:v>73.556700107893846</c:v>
                </c:pt>
                <c:pt idx="27">
                  <c:v>72.982882983131731</c:v>
                </c:pt>
                <c:pt idx="28">
                  <c:v>71.723857110099146</c:v>
                </c:pt>
              </c:numCache>
            </c:numRef>
          </c:val>
          <c:extLst>
            <c:ext xmlns:c16="http://schemas.microsoft.com/office/drawing/2014/chart" uri="{C3380CC4-5D6E-409C-BE32-E72D297353CC}">
              <c16:uniqueId val="{00000001-5D5C-4CB0-87C3-700E9E8B17B8}"/>
            </c:ext>
          </c:extLst>
        </c:ser>
        <c:ser>
          <c:idx val="2"/>
          <c:order val="2"/>
          <c:spPr>
            <a:solidFill>
              <a:srgbClr val="C0E6F4"/>
            </a:solidFill>
            <a:ln w="9525" cmpd="sng" algn="ctr">
              <a:solidFill>
                <a:srgbClr val="808080"/>
              </a:solidFill>
              <a:prstDash val="solid"/>
            </a:ln>
          </c:spPr>
          <c:invertIfNegative val="0"/>
          <c:dLbls>
            <c:dLbl>
              <c:idx val="0"/>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5C-4CB0-87C3-700E9E8B17B8}"/>
                </c:ext>
              </c:extLst>
            </c:dLbl>
            <c:dLbl>
              <c:idx val="1"/>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5C-4CB0-87C3-700E9E8B17B8}"/>
                </c:ext>
              </c:extLst>
            </c:dLbl>
            <c:dLbl>
              <c:idx val="2"/>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5C-4CB0-87C3-700E9E8B17B8}"/>
                </c:ext>
              </c:extLst>
            </c:dLbl>
            <c:dLbl>
              <c:idx val="3"/>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5C-4CB0-87C3-700E9E8B17B8}"/>
                </c:ext>
              </c:extLst>
            </c:dLbl>
            <c:dLbl>
              <c:idx val="4"/>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5C-4CB0-87C3-700E9E8B17B8}"/>
                </c:ext>
              </c:extLst>
            </c:dLbl>
            <c:dLbl>
              <c:idx val="5"/>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5C-4CB0-87C3-700E9E8B17B8}"/>
                </c:ext>
              </c:extLst>
            </c:dLbl>
            <c:dLbl>
              <c:idx val="6"/>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5C-4CB0-87C3-700E9E8B17B8}"/>
                </c:ext>
              </c:extLst>
            </c:dLbl>
            <c:dLbl>
              <c:idx val="7"/>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5C-4CB0-87C3-700E9E8B17B8}"/>
                </c:ext>
              </c:extLst>
            </c:dLbl>
            <c:dLbl>
              <c:idx val="8"/>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5C-4CB0-87C3-700E9E8B17B8}"/>
                </c:ext>
              </c:extLst>
            </c:dLbl>
            <c:dLbl>
              <c:idx val="9"/>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5C-4CB0-87C3-700E9E8B17B8}"/>
                </c:ext>
              </c:extLst>
            </c:dLbl>
            <c:dLbl>
              <c:idx val="10"/>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5C-4CB0-87C3-700E9E8B17B8}"/>
                </c:ext>
              </c:extLst>
            </c:dLbl>
            <c:dLbl>
              <c:idx val="11"/>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D5C-4CB0-87C3-700E9E8B17B8}"/>
                </c:ext>
              </c:extLst>
            </c:dLbl>
            <c:dLbl>
              <c:idx val="12"/>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D5C-4CB0-87C3-700E9E8B17B8}"/>
                </c:ext>
              </c:extLst>
            </c:dLbl>
            <c:dLbl>
              <c:idx val="13"/>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D5C-4CB0-87C3-700E9E8B17B8}"/>
                </c:ext>
              </c:extLst>
            </c:dLbl>
            <c:dLbl>
              <c:idx val="14"/>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D5C-4CB0-87C3-700E9E8B17B8}"/>
                </c:ext>
              </c:extLst>
            </c:dLbl>
            <c:dLbl>
              <c:idx val="15"/>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D5C-4CB0-87C3-700E9E8B17B8}"/>
                </c:ext>
              </c:extLst>
            </c:dLbl>
            <c:dLbl>
              <c:idx val="16"/>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D5C-4CB0-87C3-700E9E8B17B8}"/>
                </c:ext>
              </c:extLst>
            </c:dLbl>
            <c:dLbl>
              <c:idx val="17"/>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D5C-4CB0-87C3-700E9E8B17B8}"/>
                </c:ext>
              </c:extLst>
            </c:dLbl>
            <c:dLbl>
              <c:idx val="18"/>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D5C-4CB0-87C3-700E9E8B17B8}"/>
                </c:ext>
              </c:extLst>
            </c:dLbl>
            <c:dLbl>
              <c:idx val="19"/>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D5C-4CB0-87C3-700E9E8B17B8}"/>
                </c:ext>
              </c:extLst>
            </c:dLbl>
            <c:dLbl>
              <c:idx val="20"/>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D5C-4CB0-87C3-700E9E8B17B8}"/>
                </c:ext>
              </c:extLst>
            </c:dLbl>
            <c:dLbl>
              <c:idx val="21"/>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D5C-4CB0-87C3-700E9E8B17B8}"/>
                </c:ext>
              </c:extLst>
            </c:dLbl>
            <c:dLbl>
              <c:idx val="22"/>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D5C-4CB0-87C3-700E9E8B17B8}"/>
                </c:ext>
              </c:extLst>
            </c:dLbl>
            <c:dLbl>
              <c:idx val="23"/>
              <c:layout>
                <c:manualLayout>
                  <c:x val="0"/>
                  <c:y val="-6.1688311688311688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D5C-4CB0-87C3-700E9E8B17B8}"/>
                </c:ext>
              </c:extLst>
            </c:dLbl>
            <c:dLbl>
              <c:idx val="24"/>
              <c:layout>
                <c:manualLayout>
                  <c:x val="0"/>
                  <c:y val="-6.25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D5C-4CB0-87C3-700E9E8B17B8}"/>
                </c:ext>
              </c:extLst>
            </c:dLbl>
            <c:dLbl>
              <c:idx val="25"/>
              <c:layout>
                <c:manualLayout>
                  <c:x val="0"/>
                  <c:y val="-6.25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D5C-4CB0-87C3-700E9E8B17B8}"/>
                </c:ext>
              </c:extLst>
            </c:dLbl>
            <c:dLbl>
              <c:idx val="26"/>
              <c:layout>
                <c:manualLayout>
                  <c:x val="0"/>
                  <c:y val="-6.4935064935064929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D5C-4CB0-87C3-700E9E8B17B8}"/>
                </c:ext>
              </c:extLst>
            </c:dLbl>
            <c:dLbl>
              <c:idx val="27"/>
              <c:layout>
                <c:manualLayout>
                  <c:x val="0"/>
                  <c:y val="-7.061688311688312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D5C-4CB0-87C3-700E9E8B17B8}"/>
                </c:ext>
              </c:extLst>
            </c:dLbl>
            <c:dLbl>
              <c:idx val="28"/>
              <c:layout>
                <c:manualLayout>
                  <c:x val="0"/>
                  <c:y val="-8.1168831168831168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D5C-4CB0-87C3-700E9E8B17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2.2283792489449339</c:v>
                </c:pt>
                <c:pt idx="1">
                  <c:v>2.2367561767383304</c:v>
                </c:pt>
                <c:pt idx="2">
                  <c:v>2.2483922438444548</c:v>
                </c:pt>
                <c:pt idx="3">
                  <c:v>2.2633112515663578</c:v>
                </c:pt>
                <c:pt idx="4">
                  <c:v>2.2810262396362191</c:v>
                </c:pt>
                <c:pt idx="5">
                  <c:v>2.3013960677805145</c:v>
                </c:pt>
                <c:pt idx="6">
                  <c:v>2.3244170410525178</c:v>
                </c:pt>
                <c:pt idx="7">
                  <c:v>2.3489255168444245</c:v>
                </c:pt>
                <c:pt idx="8">
                  <c:v>2.3720495781549777</c:v>
                </c:pt>
                <c:pt idx="9">
                  <c:v>2.3895378633607134</c:v>
                </c:pt>
                <c:pt idx="10">
                  <c:v>2.3966864898750329</c:v>
                </c:pt>
                <c:pt idx="11">
                  <c:v>2.3896785541977494</c:v>
                </c:pt>
                <c:pt idx="12">
                  <c:v>2.3666322801424777</c:v>
                </c:pt>
                <c:pt idx="13">
                  <c:v>2.3282212250545498</c:v>
                </c:pt>
                <c:pt idx="14">
                  <c:v>2.2800057596820356</c:v>
                </c:pt>
                <c:pt idx="15">
                  <c:v>2.2281130322938436</c:v>
                </c:pt>
                <c:pt idx="16">
                  <c:v>2.2136507557171559</c:v>
                </c:pt>
                <c:pt idx="17">
                  <c:v>2.2802379099590708</c:v>
                </c:pt>
                <c:pt idx="18">
                  <c:v>2.3807463566627329</c:v>
                </c:pt>
                <c:pt idx="19">
                  <c:v>2.4502481498958506</c:v>
                </c:pt>
                <c:pt idx="20">
                  <c:v>2.5225816471104112</c:v>
                </c:pt>
                <c:pt idx="21">
                  <c:v>2.6185543076931772</c:v>
                </c:pt>
                <c:pt idx="22">
                  <c:v>2.7024941747722631</c:v>
                </c:pt>
                <c:pt idx="23">
                  <c:v>2.8195038691940288</c:v>
                </c:pt>
                <c:pt idx="24">
                  <c:v>2.9508426384648789</c:v>
                </c:pt>
                <c:pt idx="25">
                  <c:v>3.0567811541914347</c:v>
                </c:pt>
                <c:pt idx="26">
                  <c:v>3.6912166773673927</c:v>
                </c:pt>
                <c:pt idx="27">
                  <c:v>5.3367605018716402</c:v>
                </c:pt>
                <c:pt idx="28">
                  <c:v>8.1971346886545291</c:v>
                </c:pt>
              </c:numCache>
            </c:numRef>
          </c:val>
          <c:extLst>
            <c:ext xmlns:c16="http://schemas.microsoft.com/office/drawing/2014/chart" uri="{C3380CC4-5D6E-409C-BE32-E72D297353CC}">
              <c16:uniqueId val="{0000001F-5D5C-4CB0-87C3-700E9E8B17B8}"/>
            </c:ext>
          </c:extLst>
        </c:ser>
        <c:dLbls>
          <c:showLegendKey val="0"/>
          <c:showVal val="0"/>
          <c:showCatName val="0"/>
          <c:showSerName val="0"/>
          <c:showPercent val="0"/>
          <c:showBubbleSize val="0"/>
        </c:dLbls>
        <c:gapWidth val="60"/>
        <c:overlap val="100"/>
        <c:axId val="1642695296"/>
        <c:axId val="1"/>
      </c:barChart>
      <c:catAx>
        <c:axId val="16426952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2695296"/>
        <c:crosses val="min"/>
        <c:crossBetween val="between"/>
        <c:majorUnit val="2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745003996802556E-2"/>
          <c:y val="9.3825180433039293E-2"/>
          <c:w val="0.92086330935251803"/>
          <c:h val="0.8123496391339214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41-40DC-94DA-19BC67EFE5A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41-40DC-94DA-19BC67EFE5A9}"/>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41-40DC-94DA-19BC67EFE5A9}"/>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41-40DC-94DA-19BC67EFE5A9}"/>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41-40DC-94DA-19BC67EFE5A9}"/>
                </c:ext>
              </c:extLst>
            </c:dLbl>
            <c:dLbl>
              <c:idx val="5"/>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41-40DC-94DA-19BC67EFE5A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841-40DC-94DA-19BC67EFE5A9}"/>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841-40DC-94DA-19BC67EFE5A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841-40DC-94DA-19BC67EFE5A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841-40DC-94DA-19BC67EFE5A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841-40DC-94DA-19BC67EFE5A9}"/>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841-40DC-94DA-19BC67EFE5A9}"/>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841-40DC-94DA-19BC67EFE5A9}"/>
                </c:ext>
              </c:extLst>
            </c:dLbl>
            <c:dLbl>
              <c:idx val="1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841-40DC-94DA-19BC67EFE5A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841-40DC-94DA-19BC67EFE5A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841-40DC-94DA-19BC67EFE5A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841-40DC-94DA-19BC67EFE5A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55.48474211999991</c:v>
                </c:pt>
                <c:pt idx="1">
                  <c:v>349.72093738999996</c:v>
                </c:pt>
                <c:pt idx="2">
                  <c:v>325.29894698999999</c:v>
                </c:pt>
                <c:pt idx="3">
                  <c:v>330.81442371999998</c:v>
                </c:pt>
                <c:pt idx="4">
                  <c:v>336.99586025000002</c:v>
                </c:pt>
                <c:pt idx="5">
                  <c:v>395.63116988000002</c:v>
                </c:pt>
                <c:pt idx="6">
                  <c:v>463.30521540999996</c:v>
                </c:pt>
                <c:pt idx="7">
                  <c:v>465.96869269000001</c:v>
                </c:pt>
                <c:pt idx="8">
                  <c:v>421.72442150000006</c:v>
                </c:pt>
                <c:pt idx="9">
                  <c:v>494.03079726999994</c:v>
                </c:pt>
                <c:pt idx="10">
                  <c:v>474.3519648300001</c:v>
                </c:pt>
                <c:pt idx="11">
                  <c:v>640.09655127999997</c:v>
                </c:pt>
                <c:pt idx="12">
                  <c:v>746.44161676999988</c:v>
                </c:pt>
                <c:pt idx="13">
                  <c:v>827.94963703999997</c:v>
                </c:pt>
                <c:pt idx="14">
                  <c:v>973.17544705</c:v>
                </c:pt>
                <c:pt idx="15">
                  <c:v>896.50894357000016</c:v>
                </c:pt>
                <c:pt idx="16">
                  <c:v>941.72596034000003</c:v>
                </c:pt>
                <c:pt idx="17">
                  <c:v>1006.5074005200001</c:v>
                </c:pt>
                <c:pt idx="18">
                  <c:v>1046.7272803999999</c:v>
                </c:pt>
                <c:pt idx="19">
                  <c:v>1110.1483721</c:v>
                </c:pt>
                <c:pt idx="20">
                  <c:v>1232.8417252900001</c:v>
                </c:pt>
                <c:pt idx="21">
                  <c:v>1273.8832626799999</c:v>
                </c:pt>
                <c:pt idx="22">
                  <c:v>1412.3003442600002</c:v>
                </c:pt>
                <c:pt idx="23">
                  <c:v>1419.4388946200002</c:v>
                </c:pt>
              </c:numCache>
            </c:numRef>
          </c:val>
          <c:extLst>
            <c:ext xmlns:c16="http://schemas.microsoft.com/office/drawing/2014/chart" uri="{C3380CC4-5D6E-409C-BE32-E72D297353CC}">
              <c16:uniqueId val="{00000011-7841-40DC-94DA-19BC67EFE5A9}"/>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841-40DC-94DA-19BC67EFE5A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841-40DC-94DA-19BC67EFE5A9}"/>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841-40DC-94DA-19BC67EFE5A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841-40DC-94DA-19BC67EFE5A9}"/>
                </c:ext>
              </c:extLst>
            </c:dLbl>
            <c:dLbl>
              <c:idx val="6"/>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841-40DC-94DA-19BC67EFE5A9}"/>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841-40DC-94DA-19BC67EFE5A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841-40DC-94DA-19BC67EFE5A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841-40DC-94DA-19BC67EFE5A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841-40DC-94DA-19BC67EFE5A9}"/>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841-40DC-94DA-19BC67EFE5A9}"/>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841-40DC-94DA-19BC67EFE5A9}"/>
                </c:ext>
              </c:extLst>
            </c:dLbl>
            <c:dLbl>
              <c:idx val="13"/>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841-40DC-94DA-19BC67EFE5A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841-40DC-94DA-19BC67EFE5A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841-40DC-94DA-19BC67EFE5A9}"/>
                </c:ext>
              </c:extLst>
            </c:dLbl>
            <c:dLbl>
              <c:idx val="16"/>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841-40DC-94DA-19BC67EFE5A9}"/>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841-40DC-94DA-19BC67EFE5A9}"/>
                </c:ext>
              </c:extLst>
            </c:dLbl>
            <c:dLbl>
              <c:idx val="1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841-40DC-94DA-19BC67EFE5A9}"/>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841-40DC-94DA-19BC67EFE5A9}"/>
                </c:ext>
              </c:extLst>
            </c:dLbl>
            <c:dLbl>
              <c:idx val="20"/>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841-40DC-94DA-19BC67EFE5A9}"/>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841-40DC-94DA-19BC67EFE5A9}"/>
                </c:ext>
              </c:extLst>
            </c:dLbl>
            <c:dLbl>
              <c:idx val="2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7841-40DC-94DA-19BC67EFE5A9}"/>
                </c:ext>
              </c:extLst>
            </c:dLbl>
            <c:dLbl>
              <c:idx val="2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7841-40DC-94DA-19BC67EFE5A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37.88509078999999</c:v>
                </c:pt>
                <c:pt idx="1">
                  <c:v>132.38351291999999</c:v>
                </c:pt>
                <c:pt idx="2">
                  <c:v>124.54234480000002</c:v>
                </c:pt>
                <c:pt idx="3">
                  <c:v>126.27328214000005</c:v>
                </c:pt>
                <c:pt idx="4">
                  <c:v>134.46212100999998</c:v>
                </c:pt>
                <c:pt idx="5">
                  <c:v>150.10456443999999</c:v>
                </c:pt>
                <c:pt idx="6">
                  <c:v>171.51352044999999</c:v>
                </c:pt>
                <c:pt idx="7">
                  <c:v>196.03922588</c:v>
                </c:pt>
                <c:pt idx="8">
                  <c:v>241.41888128000005</c:v>
                </c:pt>
                <c:pt idx="9">
                  <c:v>266.16396450999997</c:v>
                </c:pt>
                <c:pt idx="10">
                  <c:v>291.56480770000002</c:v>
                </c:pt>
                <c:pt idx="11">
                  <c:v>314.29217703999996</c:v>
                </c:pt>
                <c:pt idx="12">
                  <c:v>346.71420856999998</c:v>
                </c:pt>
                <c:pt idx="13">
                  <c:v>361.72963411000001</c:v>
                </c:pt>
                <c:pt idx="14">
                  <c:v>390.41599988999997</c:v>
                </c:pt>
                <c:pt idx="15">
                  <c:v>412.76259964999986</c:v>
                </c:pt>
                <c:pt idx="16">
                  <c:v>411.49219814000003</c:v>
                </c:pt>
                <c:pt idx="17">
                  <c:v>394.39610251999989</c:v>
                </c:pt>
                <c:pt idx="18">
                  <c:v>442.24795683000002</c:v>
                </c:pt>
                <c:pt idx="19">
                  <c:v>394.40417785999989</c:v>
                </c:pt>
                <c:pt idx="20">
                  <c:v>341.85896260999994</c:v>
                </c:pt>
                <c:pt idx="21">
                  <c:v>380.86027519000004</c:v>
                </c:pt>
                <c:pt idx="22">
                  <c:v>418.59041539999998</c:v>
                </c:pt>
                <c:pt idx="23">
                  <c:v>405.81563533000008</c:v>
                </c:pt>
              </c:numCache>
            </c:numRef>
          </c:val>
          <c:extLst>
            <c:ext xmlns:c16="http://schemas.microsoft.com/office/drawing/2014/chart" uri="{C3380CC4-5D6E-409C-BE32-E72D297353CC}">
              <c16:uniqueId val="{00000028-7841-40DC-94DA-19BC67EFE5A9}"/>
            </c:ext>
          </c:extLst>
        </c:ser>
        <c:dLbls>
          <c:showLegendKey val="0"/>
          <c:showVal val="0"/>
          <c:showCatName val="0"/>
          <c:showSerName val="0"/>
          <c:showPercent val="0"/>
          <c:showBubbleSize val="0"/>
        </c:dLbls>
        <c:gapWidth val="60"/>
        <c:overlap val="100"/>
        <c:axId val="1614760687"/>
        <c:axId val="1"/>
      </c:barChart>
      <c:catAx>
        <c:axId val="16147606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14760687"/>
        <c:crosses val="min"/>
        <c:crossBetween val="between"/>
        <c:majorUnit val="5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1C4E-44CD-AAB3-4A7FB52BE873}"/>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1C4E-44CD-AAB3-4A7FB52BE873}"/>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1C4E-44CD-AAB3-4A7FB52BE873}"/>
              </c:ext>
            </c:extLst>
          </c:dPt>
          <c:dLbls>
            <c:dLbl>
              <c:idx val="0"/>
              <c:layout>
                <c:manualLayout>
                  <c:x val="5.8305369127516778E-2"/>
                  <c:y val="7.5085324232081908E-3"/>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4E-44CD-AAB3-4A7FB52BE873}"/>
                </c:ext>
              </c:extLst>
            </c:dLbl>
            <c:dLbl>
              <c:idx val="1"/>
              <c:layout>
                <c:manualLayout>
                  <c:x val="-5.0755033557046983E-2"/>
                  <c:y val="3.8225255972696243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4E-44CD-AAB3-4A7FB52BE873}"/>
                </c:ext>
              </c:extLst>
            </c:dLbl>
            <c:dLbl>
              <c:idx val="2"/>
              <c:layout>
                <c:manualLayout>
                  <c:x val="-3.313758389261745E-2"/>
                  <c:y val="-9.761092150170648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4E-44CD-AAB3-4A7FB52BE87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2.440400774791485</c:v>
                </c:pt>
                <c:pt idx="1">
                  <c:v>31.37379354713627</c:v>
                </c:pt>
                <c:pt idx="2">
                  <c:v>16.185805678072057</c:v>
                </c:pt>
              </c:numCache>
            </c:numRef>
          </c:val>
          <c:extLst>
            <c:ext xmlns:c16="http://schemas.microsoft.com/office/drawing/2014/chart" uri="{C3380CC4-5D6E-409C-BE32-E72D297353CC}">
              <c16:uniqueId val="{00000006-1C4E-44CD-AAB3-4A7FB52BE87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5288-494A-A963-055EDAEC560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5288-494A-A963-055EDAEC560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5288-494A-A963-055EDAEC5606}"/>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5288-494A-A963-055EDAEC5606}"/>
              </c:ext>
            </c:extLst>
          </c:dPt>
          <c:dLbls>
            <c:dLbl>
              <c:idx val="0"/>
              <c:layout>
                <c:manualLayout>
                  <c:x val="4.7818791946308725E-2"/>
                  <c:y val="3.67840252233315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88-494A-A963-055EDAEC5606}"/>
                </c:ext>
              </c:extLst>
            </c:dLbl>
            <c:dLbl>
              <c:idx val="1"/>
              <c:layout>
                <c:manualLayout>
                  <c:x val="-5.9144295302013421E-2"/>
                  <c:y val="-4.2038885969521806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88-494A-A963-055EDAEC560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7.599999999999994</c:v>
                </c:pt>
                <c:pt idx="1">
                  <c:v>16.5</c:v>
                </c:pt>
                <c:pt idx="2">
                  <c:v>11.8</c:v>
                </c:pt>
                <c:pt idx="3">
                  <c:v>4.1000000000000005</c:v>
                </c:pt>
              </c:numCache>
            </c:numRef>
          </c:val>
          <c:extLst>
            <c:ext xmlns:c16="http://schemas.microsoft.com/office/drawing/2014/chart" uri="{C3380CC4-5D6E-409C-BE32-E72D297353CC}">
              <c16:uniqueId val="{00000004-5288-494A-A963-055EDAEC560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F6BE-4C28-9DCE-9D5DC20378BB}"/>
              </c:ext>
            </c:extLst>
          </c:dPt>
          <c:dPt>
            <c:idx val="1"/>
            <c:bubble3D val="0"/>
            <c:spPr>
              <a:solidFill>
                <a:schemeClr val="accent2"/>
              </a:solidFill>
              <a:ln>
                <a:noFill/>
              </a:ln>
            </c:spPr>
            <c:extLst>
              <c:ext xmlns:c16="http://schemas.microsoft.com/office/drawing/2014/chart" uri="{C3380CC4-5D6E-409C-BE32-E72D297353CC}">
                <c16:uniqueId val="{00000001-F6BE-4C28-9DCE-9D5DC20378BB}"/>
              </c:ext>
            </c:extLst>
          </c:dPt>
          <c:dPt>
            <c:idx val="2"/>
            <c:bubble3D val="0"/>
            <c:spPr>
              <a:solidFill>
                <a:schemeClr val="accent3"/>
              </a:solidFill>
              <a:ln>
                <a:noFill/>
              </a:ln>
            </c:spPr>
            <c:extLst>
              <c:ext xmlns:c16="http://schemas.microsoft.com/office/drawing/2014/chart" uri="{C3380CC4-5D6E-409C-BE32-E72D297353CC}">
                <c16:uniqueId val="{00000002-F6BE-4C28-9DCE-9D5DC20378BB}"/>
              </c:ext>
            </c:extLst>
          </c:dPt>
          <c:val>
            <c:numRef>
              <c:f>Sheet1!$A$1:$A$3</c:f>
              <c:numCache>
                <c:formatCode>General</c:formatCode>
                <c:ptCount val="3"/>
                <c:pt idx="0">
                  <c:v>56.699999999999996</c:v>
                </c:pt>
                <c:pt idx="1">
                  <c:v>18.3</c:v>
                </c:pt>
                <c:pt idx="2">
                  <c:v>24.9</c:v>
                </c:pt>
              </c:numCache>
            </c:numRef>
          </c:val>
          <c:extLst>
            <c:ext xmlns:c16="http://schemas.microsoft.com/office/drawing/2014/chart" uri="{C3380CC4-5D6E-409C-BE32-E72D297353CC}">
              <c16:uniqueId val="{00000003-F6BE-4C28-9DCE-9D5DC20378BB}"/>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622191967324715E-2"/>
          <c:y val="6.181976491075316E-2"/>
          <c:w val="0.8876786929884275"/>
          <c:h val="0.8763604701784937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EA2-4E40-8521-F42BDF77841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EA2-4E40-8521-F42BDF778410}"/>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EA2-4E40-8521-F42BDF778410}"/>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EA2-4E40-8521-F42BDF778410}"/>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EA2-4E40-8521-F42BDF7784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67</c:v>
                </c:pt>
                <c:pt idx="1">
                  <c:v>159</c:v>
                </c:pt>
                <c:pt idx="2">
                  <c:v>154</c:v>
                </c:pt>
                <c:pt idx="3">
                  <c:v>150</c:v>
                </c:pt>
                <c:pt idx="4">
                  <c:v>166</c:v>
                </c:pt>
              </c:numCache>
            </c:numRef>
          </c:val>
          <c:extLst>
            <c:ext xmlns:c16="http://schemas.microsoft.com/office/drawing/2014/chart" uri="{C3380CC4-5D6E-409C-BE32-E72D297353CC}">
              <c16:uniqueId val="{00000005-2EA2-4E40-8521-F42BDF778410}"/>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EA2-4E40-8521-F42BDF77841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EA2-4E40-8521-F42BDF778410}"/>
                </c:ext>
              </c:extLst>
            </c:dLbl>
            <c:dLbl>
              <c:idx val="2"/>
              <c:layout>
                <c:manualLayout>
                  <c:x val="0"/>
                  <c:y val="-4.353504571179799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EA2-4E40-8521-F42BDF778410}"/>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EA2-4E40-8521-F42BDF778410}"/>
                </c:ext>
              </c:extLst>
            </c:dLbl>
            <c:dLbl>
              <c:idx val="4"/>
              <c:layout>
                <c:manualLayout>
                  <c:x val="0"/>
                  <c:y val="-4.353504571179799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EA2-4E40-8521-F42BDF7784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43</c:v>
                </c:pt>
                <c:pt idx="1">
                  <c:v>344</c:v>
                </c:pt>
                <c:pt idx="2">
                  <c:v>345</c:v>
                </c:pt>
                <c:pt idx="3">
                  <c:v>349</c:v>
                </c:pt>
                <c:pt idx="4">
                  <c:v>350</c:v>
                </c:pt>
              </c:numCache>
            </c:numRef>
          </c:val>
          <c:extLst>
            <c:ext xmlns:c16="http://schemas.microsoft.com/office/drawing/2014/chart" uri="{C3380CC4-5D6E-409C-BE32-E72D297353CC}">
              <c16:uniqueId val="{0000000B-2EA2-4E40-8521-F42BDF778410}"/>
            </c:ext>
          </c:extLst>
        </c:ser>
        <c:dLbls>
          <c:showLegendKey val="0"/>
          <c:showVal val="0"/>
          <c:showCatName val="0"/>
          <c:showSerName val="0"/>
          <c:showPercent val="0"/>
          <c:showBubbleSize val="0"/>
        </c:dLbls>
        <c:gapWidth val="60"/>
        <c:overlap val="100"/>
        <c:axId val="254311487"/>
        <c:axId val="1"/>
      </c:barChart>
      <c:catAx>
        <c:axId val="2543114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54311487"/>
        <c:crosses val="min"/>
        <c:crossBetween val="between"/>
        <c:majorUnit val="5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37645881960655"/>
          <c:y val="6.1075268817204299E-2"/>
          <c:w val="0.7852617539179727"/>
          <c:h val="0.8778494623655913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411182795698924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14-453F-BBA0-60B307ACA59F}"/>
                </c:ext>
              </c:extLst>
            </c:dLbl>
            <c:dLbl>
              <c:idx val="1"/>
              <c:layout>
                <c:manualLayout>
                  <c:x val="0"/>
                  <c:y val="-0.40430107526881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14-453F-BBA0-60B307ACA59F}"/>
                </c:ext>
              </c:extLst>
            </c:dLbl>
            <c:dLbl>
              <c:idx val="2"/>
              <c:layout>
                <c:manualLayout>
                  <c:x val="0"/>
                  <c:y val="-0.4098924731182795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14-453F-BBA0-60B307ACA59F}"/>
                </c:ext>
              </c:extLst>
            </c:dLbl>
            <c:dLbl>
              <c:idx val="3"/>
              <c:layout>
                <c:manualLayout>
                  <c:x val="0"/>
                  <c:y val="-0.418064516129032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14-453F-BBA0-60B307ACA59F}"/>
                </c:ext>
              </c:extLst>
            </c:dLbl>
            <c:dLbl>
              <c:idx val="4"/>
              <c:layout>
                <c:manualLayout>
                  <c:x val="0"/>
                  <c:y val="-0.430967741935483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14-453F-BBA0-60B307ACA59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8596</c:v>
                </c:pt>
                <c:pt idx="1">
                  <c:v>77224</c:v>
                </c:pt>
                <c:pt idx="2">
                  <c:v>78440</c:v>
                </c:pt>
                <c:pt idx="3">
                  <c:v>80072</c:v>
                </c:pt>
                <c:pt idx="4">
                  <c:v>82721</c:v>
                </c:pt>
              </c:numCache>
            </c:numRef>
          </c:val>
          <c:extLst>
            <c:ext xmlns:c16="http://schemas.microsoft.com/office/drawing/2014/chart" uri="{C3380CC4-5D6E-409C-BE32-E72D297353CC}">
              <c16:uniqueId val="{00000005-5614-453F-BBA0-60B307ACA59F}"/>
            </c:ext>
          </c:extLst>
        </c:ser>
        <c:dLbls>
          <c:showLegendKey val="0"/>
          <c:showVal val="0"/>
          <c:showCatName val="0"/>
          <c:showSerName val="0"/>
          <c:showPercent val="0"/>
          <c:showBubbleSize val="0"/>
        </c:dLbls>
        <c:gapWidth val="60"/>
        <c:overlap val="100"/>
        <c:axId val="1707468415"/>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6-5614-453F-BBA0-60B307ACA59F}"/>
              </c:ext>
            </c:extLst>
          </c:dPt>
          <c:dPt>
            <c:idx val="1"/>
            <c:marker>
              <c:symbol val="circle"/>
              <c:size val="6"/>
            </c:marker>
            <c:bubble3D val="0"/>
            <c:extLst>
              <c:ext xmlns:c16="http://schemas.microsoft.com/office/drawing/2014/chart" uri="{C3380CC4-5D6E-409C-BE32-E72D297353CC}">
                <c16:uniqueId val="{00000007-5614-453F-BBA0-60B307ACA59F}"/>
              </c:ext>
            </c:extLst>
          </c:dPt>
          <c:dPt>
            <c:idx val="2"/>
            <c:marker>
              <c:symbol val="circle"/>
              <c:size val="6"/>
            </c:marker>
            <c:bubble3D val="0"/>
            <c:extLst>
              <c:ext xmlns:c16="http://schemas.microsoft.com/office/drawing/2014/chart" uri="{C3380CC4-5D6E-409C-BE32-E72D297353CC}">
                <c16:uniqueId val="{00000008-5614-453F-BBA0-60B307ACA59F}"/>
              </c:ext>
            </c:extLst>
          </c:dPt>
          <c:dPt>
            <c:idx val="3"/>
            <c:marker>
              <c:symbol val="circle"/>
              <c:size val="6"/>
            </c:marker>
            <c:bubble3D val="0"/>
            <c:extLst>
              <c:ext xmlns:c16="http://schemas.microsoft.com/office/drawing/2014/chart" uri="{C3380CC4-5D6E-409C-BE32-E72D297353CC}">
                <c16:uniqueId val="{00000009-5614-453F-BBA0-60B307ACA59F}"/>
              </c:ext>
            </c:extLst>
          </c:dPt>
          <c:dPt>
            <c:idx val="4"/>
            <c:marker>
              <c:symbol val="circle"/>
              <c:size val="6"/>
            </c:marker>
            <c:bubble3D val="0"/>
            <c:extLst>
              <c:ext xmlns:c16="http://schemas.microsoft.com/office/drawing/2014/chart" uri="{C3380CC4-5D6E-409C-BE32-E72D297353CC}">
                <c16:uniqueId val="{0000000A-5614-453F-BBA0-60B307ACA59F}"/>
              </c:ext>
            </c:extLst>
          </c:dPt>
          <c:dLbls>
            <c:dLbl>
              <c:idx val="0"/>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14-453F-BBA0-60B307ACA59F}"/>
                </c:ext>
              </c:extLst>
            </c:dLbl>
            <c:dLbl>
              <c:idx val="1"/>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14-453F-BBA0-60B307ACA59F}"/>
                </c:ext>
              </c:extLst>
            </c:dLbl>
            <c:dLbl>
              <c:idx val="2"/>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14-453F-BBA0-60B307ACA59F}"/>
                </c:ext>
              </c:extLst>
            </c:dLbl>
            <c:dLbl>
              <c:idx val="3"/>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14-453F-BBA0-60B307ACA59F}"/>
                </c:ext>
              </c:extLst>
            </c:dLbl>
            <c:dLbl>
              <c:idx val="4"/>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14-453F-BBA0-60B307ACA59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4900000000000002</c:v>
                </c:pt>
                <c:pt idx="1">
                  <c:v>2.5</c:v>
                </c:pt>
                <c:pt idx="2">
                  <c:v>2.4300000000000002</c:v>
                </c:pt>
                <c:pt idx="3">
                  <c:v>2.37</c:v>
                </c:pt>
                <c:pt idx="4">
                  <c:v>2.34</c:v>
                </c:pt>
              </c:numCache>
            </c:numRef>
          </c:val>
          <c:smooth val="0"/>
          <c:extLst>
            <c:ext xmlns:c16="http://schemas.microsoft.com/office/drawing/2014/chart" uri="{C3380CC4-5D6E-409C-BE32-E72D297353CC}">
              <c16:uniqueId val="{0000000B-5614-453F-BBA0-60B307ACA59F}"/>
            </c:ext>
          </c:extLst>
        </c:ser>
        <c:dLbls>
          <c:showLegendKey val="0"/>
          <c:showVal val="0"/>
          <c:showCatName val="0"/>
          <c:showSerName val="0"/>
          <c:showPercent val="0"/>
          <c:showBubbleSize val="0"/>
        </c:dLbls>
        <c:marker val="1"/>
        <c:smooth val="0"/>
        <c:axId val="2"/>
        <c:axId val="3"/>
      </c:lineChart>
      <c:catAx>
        <c:axId val="17074684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07468415"/>
        <c:crosses val="min"/>
        <c:crossBetween val="between"/>
        <c:majorUnit val="1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66561214805442"/>
          <c:y val="9.4314079422382666E-2"/>
          <c:w val="0.78614362543498895"/>
          <c:h val="0.852888086642599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3"/>
            <c:marker>
              <c:symbol val="none"/>
            </c:marker>
            <c:bubble3D val="0"/>
            <c:extLst>
              <c:ext xmlns:c16="http://schemas.microsoft.com/office/drawing/2014/chart" uri="{C3380CC4-5D6E-409C-BE32-E72D297353CC}">
                <c16:uniqueId val="{00000000-0F0A-4A8C-B93F-F00C80DD4BAA}"/>
              </c:ext>
            </c:extLst>
          </c:dPt>
          <c:dLbls>
            <c:dLbl>
              <c:idx val="1"/>
              <c:layout>
                <c:manualLayout>
                  <c:x val="1.3919645681746282E-2"/>
                  <c:y val="-4.557761732851985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0A-4A8C-B93F-F00C80DD4BAA}"/>
                </c:ext>
              </c:extLst>
            </c:dLbl>
            <c:dLbl>
              <c:idx val="2"/>
              <c:layout>
                <c:manualLayout>
                  <c:x val="5.8209427396393544E-2"/>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0A-4A8C-B93F-F00C80DD4BAA}"/>
                </c:ext>
              </c:extLst>
            </c:dLbl>
            <c:dLbl>
              <c:idx val="4"/>
              <c:layout>
                <c:manualLayout>
                  <c:x val="-3.4166403037013605E-2"/>
                  <c:y val="-3.474729241877256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0A-4A8C-B93F-F00C80DD4BAA}"/>
                </c:ext>
              </c:extLst>
            </c:dLbl>
            <c:dLbl>
              <c:idx val="6"/>
              <c:layout>
                <c:manualLayout>
                  <c:x val="-3.037013603290098E-2"/>
                  <c:y val="-3.655234657039711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0A-4A8C-B93F-F00C80DD4BAA}"/>
                </c:ext>
              </c:extLst>
            </c:dLbl>
            <c:dLbl>
              <c:idx val="7"/>
              <c:layout>
                <c:manualLayout>
                  <c:x val="-3.037013603290098E-2"/>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0A-4A8C-B93F-F00C80DD4BAA}"/>
                </c:ext>
              </c:extLst>
            </c:dLbl>
            <c:dLbl>
              <c:idx val="9"/>
              <c:layout>
                <c:manualLayout>
                  <c:x val="-2.7839291363492565E-2"/>
                  <c:y val="-2.752707581227436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0A-4A8C-B93F-F00C80DD4BAA}"/>
                </c:ext>
              </c:extLst>
            </c:dLbl>
            <c:dLbl>
              <c:idx val="10"/>
              <c:layout>
                <c:manualLayout>
                  <c:x val="1.518506801645049E-2"/>
                  <c:y val="3.203971119133573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0A-4A8C-B93F-F00C80DD4BAA}"/>
                </c:ext>
              </c:extLst>
            </c:dLbl>
            <c:dLbl>
              <c:idx val="11"/>
              <c:layout>
                <c:manualLayout>
                  <c:x val="-2.530844669408415E-2"/>
                  <c:y val="-3.113718411552346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0A-4A8C-B93F-F00C80DD4BAA}"/>
                </c:ext>
              </c:extLst>
            </c:dLbl>
            <c:dLbl>
              <c:idx val="12"/>
              <c:layout>
                <c:manualLayout>
                  <c:x val="5.4413160392280925E-2"/>
                  <c:y val="1.398916967509025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0A-4A8C-B93F-F00C80DD4BAA}"/>
                </c:ext>
              </c:extLst>
            </c:dLbl>
            <c:dLbl>
              <c:idx val="14"/>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0A-4A8C-B93F-F00C80DD4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129792</c:v>
                </c:pt>
                <c:pt idx="1">
                  <c:v>134632</c:v>
                </c:pt>
                <c:pt idx="2">
                  <c:v>139701</c:v>
                </c:pt>
                <c:pt idx="3">
                  <c:v>150256</c:v>
                </c:pt>
                <c:pt idx="4">
                  <c:v>160811</c:v>
                </c:pt>
                <c:pt idx="5">
                  <c:v>172483</c:v>
                </c:pt>
                <c:pt idx="6">
                  <c:v>180821</c:v>
                </c:pt>
                <c:pt idx="7">
                  <c:v>185693</c:v>
                </c:pt>
                <c:pt idx="8">
                  <c:v>184565</c:v>
                </c:pt>
                <c:pt idx="9">
                  <c:v>199013</c:v>
                </c:pt>
                <c:pt idx="10">
                  <c:v>196701</c:v>
                </c:pt>
                <c:pt idx="11">
                  <c:v>201489</c:v>
                </c:pt>
                <c:pt idx="12">
                  <c:v>200558</c:v>
                </c:pt>
                <c:pt idx="13">
                  <c:v>218107</c:v>
                </c:pt>
                <c:pt idx="14">
                  <c:v>249475</c:v>
                </c:pt>
              </c:numCache>
            </c:numRef>
          </c:val>
          <c:smooth val="0"/>
          <c:extLst>
            <c:ext xmlns:c16="http://schemas.microsoft.com/office/drawing/2014/chart" uri="{C3380CC4-5D6E-409C-BE32-E72D297353CC}">
              <c16:uniqueId val="{0000000B-0F0A-4A8C-B93F-F00C80DD4BA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1"/>
              <c:layout>
                <c:manualLayout>
                  <c:x val="-2.1512179689971527E-2"/>
                  <c:y val="-3.790613718411552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F0A-4A8C-B93F-F00C80DD4BAA}"/>
                </c:ext>
              </c:extLst>
            </c:dLbl>
            <c:dLbl>
              <c:idx val="2"/>
              <c:layout>
                <c:manualLayout>
                  <c:x val="-1.518506801645049E-2"/>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F0A-4A8C-B93F-F00C80DD4BAA}"/>
                </c:ext>
              </c:extLst>
            </c:dLbl>
            <c:dLbl>
              <c:idx val="3"/>
              <c:layout>
                <c:manualLayout>
                  <c:x val="-1.7715912685858905E-2"/>
                  <c:y val="-3.655234657039711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F0A-4A8C-B93F-F00C80DD4BAA}"/>
                </c:ext>
              </c:extLst>
            </c:dLbl>
            <c:dLbl>
              <c:idx val="4"/>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F0A-4A8C-B93F-F00C80DD4BAA}"/>
                </c:ext>
              </c:extLst>
            </c:dLbl>
            <c:dLbl>
              <c:idx val="5"/>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F0A-4A8C-B93F-F00C80DD4BAA}"/>
                </c:ext>
              </c:extLst>
            </c:dLbl>
            <c:dLbl>
              <c:idx val="6"/>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F0A-4A8C-B93F-F00C80DD4BAA}"/>
                </c:ext>
              </c:extLst>
            </c:dLbl>
            <c:dLbl>
              <c:idx val="7"/>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F0A-4A8C-B93F-F00C80DD4BAA}"/>
                </c:ext>
              </c:extLst>
            </c:dLbl>
            <c:dLbl>
              <c:idx val="8"/>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F0A-4A8C-B93F-F00C80DD4BAA}"/>
                </c:ext>
              </c:extLst>
            </c:dLbl>
            <c:dLbl>
              <c:idx val="9"/>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F0A-4A8C-B93F-F00C80DD4BAA}"/>
                </c:ext>
              </c:extLst>
            </c:dLbl>
            <c:dLbl>
              <c:idx val="10"/>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F0A-4A8C-B93F-F00C80DD4BAA}"/>
                </c:ext>
              </c:extLst>
            </c:dLbl>
            <c:dLbl>
              <c:idx val="11"/>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F0A-4A8C-B93F-F00C80DD4BAA}"/>
                </c:ext>
              </c:extLst>
            </c:dLbl>
            <c:dLbl>
              <c:idx val="12"/>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F0A-4A8C-B93F-F00C80DD4BAA}"/>
                </c:ext>
              </c:extLst>
            </c:dLbl>
            <c:dLbl>
              <c:idx val="14"/>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F0A-4A8C-B93F-F00C80DD4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56459</c:v>
                </c:pt>
                <c:pt idx="1">
                  <c:v>59261</c:v>
                </c:pt>
                <c:pt idx="2">
                  <c:v>61516</c:v>
                </c:pt>
                <c:pt idx="3">
                  <c:v>67980</c:v>
                </c:pt>
                <c:pt idx="4">
                  <c:v>68747</c:v>
                </c:pt>
                <c:pt idx="5">
                  <c:v>73254</c:v>
                </c:pt>
                <c:pt idx="6">
                  <c:v>75740</c:v>
                </c:pt>
                <c:pt idx="7">
                  <c:v>82375</c:v>
                </c:pt>
                <c:pt idx="8">
                  <c:v>88023</c:v>
                </c:pt>
                <c:pt idx="9">
                  <c:v>94335</c:v>
                </c:pt>
                <c:pt idx="10">
                  <c:v>95336</c:v>
                </c:pt>
                <c:pt idx="11">
                  <c:v>100247</c:v>
                </c:pt>
                <c:pt idx="12">
                  <c:v>112023</c:v>
                </c:pt>
                <c:pt idx="13">
                  <c:v>113300</c:v>
                </c:pt>
                <c:pt idx="14">
                  <c:v>129772</c:v>
                </c:pt>
              </c:numCache>
            </c:numRef>
          </c:val>
          <c:smooth val="0"/>
          <c:extLst>
            <c:ext xmlns:c16="http://schemas.microsoft.com/office/drawing/2014/chart" uri="{C3380CC4-5D6E-409C-BE32-E72D297353CC}">
              <c16:uniqueId val="{00000019-0F0A-4A8C-B93F-F00C80DD4BAA}"/>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3"/>
            <c:marker>
              <c:symbol val="none"/>
            </c:marker>
            <c:bubble3D val="0"/>
            <c:extLst>
              <c:ext xmlns:c16="http://schemas.microsoft.com/office/drawing/2014/chart" uri="{C3380CC4-5D6E-409C-BE32-E72D297353CC}">
                <c16:uniqueId val="{0000001A-0F0A-4A8C-B93F-F00C80DD4BAA}"/>
              </c:ext>
            </c:extLst>
          </c:dPt>
          <c:dLbls>
            <c:dLbl>
              <c:idx val="1"/>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F0A-4A8C-B93F-F00C80DD4BAA}"/>
                </c:ext>
              </c:extLst>
            </c:dLbl>
            <c:dLbl>
              <c:idx val="2"/>
              <c:layout>
                <c:manualLayout>
                  <c:x val="2.024675735526732E-2"/>
                  <c:y val="-4.918772563176895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F0A-4A8C-B93F-F00C80DD4BAA}"/>
                </c:ext>
              </c:extLst>
            </c:dLbl>
            <c:dLbl>
              <c:idx val="4"/>
              <c:layout>
                <c:manualLayout>
                  <c:x val="-2.1512179689971527E-2"/>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F0A-4A8C-B93F-F00C80DD4BAA}"/>
                </c:ext>
              </c:extLst>
            </c:dLbl>
            <c:dLbl>
              <c:idx val="6"/>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F0A-4A8C-B93F-F00C80DD4BAA}"/>
                </c:ext>
              </c:extLst>
            </c:dLbl>
            <c:dLbl>
              <c:idx val="7"/>
              <c:layout>
                <c:manualLayout>
                  <c:x val="1.8981335020563112E-2"/>
                  <c:y val="-3.474729241877256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F0A-4A8C-B93F-F00C80DD4BAA}"/>
                </c:ext>
              </c:extLst>
            </c:dLbl>
            <c:dLbl>
              <c:idx val="8"/>
              <c:layout>
                <c:manualLayout>
                  <c:x val="1.012337867763366E-2"/>
                  <c:y val="-2.933212996389891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F0A-4A8C-B93F-F00C80DD4BAA}"/>
                </c:ext>
              </c:extLst>
            </c:dLbl>
            <c:dLbl>
              <c:idx val="9"/>
              <c:layout>
                <c:manualLayout>
                  <c:x val="1.2654223347042075E-2"/>
                  <c:y val="-3.835740072202165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F0A-4A8C-B93F-F00C80DD4BAA}"/>
                </c:ext>
              </c:extLst>
            </c:dLbl>
            <c:dLbl>
              <c:idx val="10"/>
              <c:layout>
                <c:manualLayout>
                  <c:x val="1.3919645681746282E-2"/>
                  <c:y val="-2.933212996389891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F0A-4A8C-B93F-F00C80DD4BAA}"/>
                </c:ext>
              </c:extLst>
            </c:dLbl>
            <c:dLbl>
              <c:idx val="11"/>
              <c:layout>
                <c:manualLayout>
                  <c:x val="1.1388801012337867E-2"/>
                  <c:y val="-4.918772563176895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F0A-4A8C-B93F-F00C80DD4BAA}"/>
                </c:ext>
              </c:extLst>
            </c:dLbl>
            <c:dLbl>
              <c:idx val="12"/>
              <c:layout>
                <c:manualLayout>
                  <c:x val="1.3919645681746282E-2"/>
                  <c:y val="-3.474729241877256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F0A-4A8C-B93F-F00C80DD4BAA}"/>
                </c:ext>
              </c:extLst>
            </c:dLbl>
            <c:dLbl>
              <c:idx val="14"/>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F0A-4A8C-B93F-F00C80DD4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0">
                  <c:v>14928</c:v>
                </c:pt>
                <c:pt idx="1">
                  <c:v>15317</c:v>
                </c:pt>
                <c:pt idx="2">
                  <c:v>15590</c:v>
                </c:pt>
                <c:pt idx="3">
                  <c:v>18614.5</c:v>
                </c:pt>
                <c:pt idx="4">
                  <c:v>21639</c:v>
                </c:pt>
                <c:pt idx="5">
                  <c:v>23624</c:v>
                </c:pt>
                <c:pt idx="6">
                  <c:v>25119</c:v>
                </c:pt>
                <c:pt idx="7">
                  <c:v>28312</c:v>
                </c:pt>
                <c:pt idx="8">
                  <c:v>29125</c:v>
                </c:pt>
                <c:pt idx="9">
                  <c:v>31872</c:v>
                </c:pt>
                <c:pt idx="10">
                  <c:v>27529</c:v>
                </c:pt>
                <c:pt idx="11">
                  <c:v>30840</c:v>
                </c:pt>
                <c:pt idx="12">
                  <c:v>34040</c:v>
                </c:pt>
                <c:pt idx="13">
                  <c:v>36810</c:v>
                </c:pt>
                <c:pt idx="14">
                  <c:v>46856</c:v>
                </c:pt>
              </c:numCache>
            </c:numRef>
          </c:val>
          <c:smooth val="0"/>
          <c:extLst>
            <c:ext xmlns:c16="http://schemas.microsoft.com/office/drawing/2014/chart" uri="{C3380CC4-5D6E-409C-BE32-E72D297353CC}">
              <c16:uniqueId val="{00000026-0F0A-4A8C-B93F-F00C80DD4BAA}"/>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9"/>
              <c:layout>
                <c:manualLayout>
                  <c:x val="-1.012337867763366E-2"/>
                  <c:y val="3.519855595667870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F0A-4A8C-B93F-F00C80DD4BAA}"/>
                </c:ext>
              </c:extLst>
            </c:dLbl>
            <c:dLbl>
              <c:idx val="10"/>
              <c:layout>
                <c:manualLayout>
                  <c:x val="-1.2654223347042075E-3"/>
                  <c:y val="3.158844765342960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F0A-4A8C-B93F-F00C80DD4BAA}"/>
                </c:ext>
              </c:extLst>
            </c:dLbl>
            <c:dLbl>
              <c:idx val="12"/>
              <c:layout>
                <c:manualLayout>
                  <c:x val="6.9598228408731411E-3"/>
                  <c:y val="5.009025270758122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F0A-4A8C-B93F-F00C80DD4BAA}"/>
                </c:ext>
              </c:extLst>
            </c:dLbl>
            <c:dLbl>
              <c:idx val="13"/>
              <c:layout>
                <c:manualLayout>
                  <c:x val="1.3919645681746282E-2"/>
                  <c:y val="2.888086642599278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F0A-4A8C-B93F-F00C80DD4BAA}"/>
                </c:ext>
              </c:extLst>
            </c:dLbl>
            <c:dLbl>
              <c:idx val="14"/>
              <c:layout>
                <c:manualLayout>
                  <c:x val="3.669724770642202E-2"/>
                  <c:y val="3.023465703971119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F0A-4A8C-B93F-F00C80DD4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9160</c:v>
                </c:pt>
                <c:pt idx="1">
                  <c:v>9965</c:v>
                </c:pt>
                <c:pt idx="2">
                  <c:v>10002</c:v>
                </c:pt>
                <c:pt idx="3">
                  <c:v>12495</c:v>
                </c:pt>
                <c:pt idx="4">
                  <c:v>12785</c:v>
                </c:pt>
                <c:pt idx="5">
                  <c:v>13502</c:v>
                </c:pt>
                <c:pt idx="6">
                  <c:v>13935</c:v>
                </c:pt>
                <c:pt idx="7">
                  <c:v>15699</c:v>
                </c:pt>
                <c:pt idx="8">
                  <c:v>16752</c:v>
                </c:pt>
                <c:pt idx="9">
                  <c:v>18811</c:v>
                </c:pt>
                <c:pt idx="10">
                  <c:v>19622</c:v>
                </c:pt>
                <c:pt idx="11">
                  <c:v>22739</c:v>
                </c:pt>
                <c:pt idx="12">
                  <c:v>23897</c:v>
                </c:pt>
                <c:pt idx="13">
                  <c:v>25970</c:v>
                </c:pt>
                <c:pt idx="14">
                  <c:v>33751</c:v>
                </c:pt>
              </c:numCache>
            </c:numRef>
          </c:val>
          <c:smooth val="0"/>
          <c:extLst>
            <c:ext xmlns:c16="http://schemas.microsoft.com/office/drawing/2014/chart" uri="{C3380CC4-5D6E-409C-BE32-E72D297353CC}">
              <c16:uniqueId val="{0000002C-0F0A-4A8C-B93F-F00C80DD4BAA}"/>
            </c:ext>
          </c:extLst>
        </c:ser>
        <c:dLbls>
          <c:showLegendKey val="0"/>
          <c:showVal val="0"/>
          <c:showCatName val="0"/>
          <c:showSerName val="0"/>
          <c:showPercent val="0"/>
          <c:showBubbleSize val="0"/>
        </c:dLbls>
        <c:marker val="1"/>
        <c:smooth val="0"/>
        <c:axId val="531099840"/>
        <c:axId val="1"/>
      </c:lineChart>
      <c:catAx>
        <c:axId val="53109984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31099840"/>
        <c:crosses val="min"/>
        <c:crossBetween val="midCat"/>
        <c:majorUnit val="5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105263157894737E-2"/>
          <c:y val="4.9872122762148335E-2"/>
          <c:w val="0.8856140350877193"/>
          <c:h val="0.90025575447570327"/>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3"/>
            <c:marker>
              <c:symbol val="none"/>
            </c:marker>
            <c:bubble3D val="0"/>
            <c:extLst>
              <c:ext xmlns:c16="http://schemas.microsoft.com/office/drawing/2014/chart" uri="{C3380CC4-5D6E-409C-BE32-E72D297353CC}">
                <c16:uniqueId val="{00000000-9FF1-41E1-BE3F-537855409E4A}"/>
              </c:ext>
            </c:extLst>
          </c:dPt>
          <c:dLbls>
            <c:dLbl>
              <c:idx val="0"/>
              <c:layout>
                <c:manualLayout>
                  <c:x val="3.2280701754385965E-2"/>
                  <c:y val="4.0920716112531973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F1-41E1-BE3F-537855409E4A}"/>
                </c:ext>
              </c:extLst>
            </c:dLbl>
            <c:dLbl>
              <c:idx val="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F1-41E1-BE3F-537855409E4A}"/>
                </c:ext>
              </c:extLst>
            </c:dLbl>
            <c:dLbl>
              <c:idx val="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F1-41E1-BE3F-537855409E4A}"/>
                </c:ext>
              </c:extLst>
            </c:dLbl>
            <c:dLbl>
              <c:idx val="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FF1-41E1-BE3F-537855409E4A}"/>
                </c:ext>
              </c:extLst>
            </c:dLbl>
            <c:dLbl>
              <c:idx val="5"/>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FF1-41E1-BE3F-537855409E4A}"/>
                </c:ext>
              </c:extLst>
            </c:dLbl>
            <c:dLbl>
              <c:idx val="6"/>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FF1-41E1-BE3F-537855409E4A}"/>
                </c:ext>
              </c:extLst>
            </c:dLbl>
            <c:dLbl>
              <c:idx val="7"/>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FF1-41E1-BE3F-537855409E4A}"/>
                </c:ext>
              </c:extLst>
            </c:dLbl>
            <c:dLbl>
              <c:idx val="8"/>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FF1-41E1-BE3F-537855409E4A}"/>
                </c:ext>
              </c:extLst>
            </c:dLbl>
            <c:dLbl>
              <c:idx val="9"/>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FF1-41E1-BE3F-537855409E4A}"/>
                </c:ext>
              </c:extLst>
            </c:dLbl>
            <c:dLbl>
              <c:idx val="10"/>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FF1-41E1-BE3F-537855409E4A}"/>
                </c:ext>
              </c:extLst>
            </c:dLbl>
            <c:dLbl>
              <c:idx val="1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FF1-41E1-BE3F-537855409E4A}"/>
                </c:ext>
              </c:extLst>
            </c:dLbl>
            <c:dLbl>
              <c:idx val="1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FF1-41E1-BE3F-537855409E4A}"/>
                </c:ext>
              </c:extLst>
            </c:dLbl>
            <c:dLbl>
              <c:idx val="13"/>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FF1-41E1-BE3F-537855409E4A}"/>
                </c:ext>
              </c:extLst>
            </c:dLbl>
            <c:dLbl>
              <c:idx val="1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FF1-41E1-BE3F-537855409E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51.59</c:v>
                </c:pt>
                <c:pt idx="1">
                  <c:v>51.57</c:v>
                </c:pt>
                <c:pt idx="2">
                  <c:v>51.62</c:v>
                </c:pt>
                <c:pt idx="3">
                  <c:v>53.54</c:v>
                </c:pt>
                <c:pt idx="4">
                  <c:v>55.46</c:v>
                </c:pt>
                <c:pt idx="5">
                  <c:v>57.54</c:v>
                </c:pt>
                <c:pt idx="6">
                  <c:v>58.87</c:v>
                </c:pt>
                <c:pt idx="7">
                  <c:v>60.32</c:v>
                </c:pt>
                <c:pt idx="8">
                  <c:v>60.78</c:v>
                </c:pt>
                <c:pt idx="9">
                  <c:v>65.31</c:v>
                </c:pt>
                <c:pt idx="10">
                  <c:v>62.3</c:v>
                </c:pt>
                <c:pt idx="11">
                  <c:v>65.400000000000006</c:v>
                </c:pt>
                <c:pt idx="12">
                  <c:v>62.4</c:v>
                </c:pt>
                <c:pt idx="13">
                  <c:v>64.7</c:v>
                </c:pt>
                <c:pt idx="14">
                  <c:v>70.67</c:v>
                </c:pt>
              </c:numCache>
            </c:numRef>
          </c:val>
          <c:smooth val="0"/>
          <c:extLst>
            <c:ext xmlns:c16="http://schemas.microsoft.com/office/drawing/2014/chart" uri="{C3380CC4-5D6E-409C-BE32-E72D297353CC}">
              <c16:uniqueId val="{0000000F-9FF1-41E1-BE3F-537855409E4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2280701754385965E-2"/>
                  <c:y val="4.0920716112531973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FF1-41E1-BE3F-537855409E4A}"/>
                </c:ext>
              </c:extLst>
            </c:dLbl>
            <c:dLbl>
              <c:idx val="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FF1-41E1-BE3F-537855409E4A}"/>
                </c:ext>
              </c:extLst>
            </c:dLbl>
            <c:dLbl>
              <c:idx val="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FF1-41E1-BE3F-537855409E4A}"/>
                </c:ext>
              </c:extLst>
            </c:dLbl>
            <c:dLbl>
              <c:idx val="3"/>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FF1-41E1-BE3F-537855409E4A}"/>
                </c:ext>
              </c:extLst>
            </c:dLbl>
            <c:dLbl>
              <c:idx val="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FF1-41E1-BE3F-537855409E4A}"/>
                </c:ext>
              </c:extLst>
            </c:dLbl>
            <c:dLbl>
              <c:idx val="5"/>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FF1-41E1-BE3F-537855409E4A}"/>
                </c:ext>
              </c:extLst>
            </c:dLbl>
            <c:dLbl>
              <c:idx val="6"/>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FF1-41E1-BE3F-537855409E4A}"/>
                </c:ext>
              </c:extLst>
            </c:dLbl>
            <c:dLbl>
              <c:idx val="7"/>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FF1-41E1-BE3F-537855409E4A}"/>
                </c:ext>
              </c:extLst>
            </c:dLbl>
            <c:dLbl>
              <c:idx val="8"/>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FF1-41E1-BE3F-537855409E4A}"/>
                </c:ext>
              </c:extLst>
            </c:dLbl>
            <c:dLbl>
              <c:idx val="9"/>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FF1-41E1-BE3F-537855409E4A}"/>
                </c:ext>
              </c:extLst>
            </c:dLbl>
            <c:dLbl>
              <c:idx val="10"/>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FF1-41E1-BE3F-537855409E4A}"/>
                </c:ext>
              </c:extLst>
            </c:dLbl>
            <c:dLbl>
              <c:idx val="1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FF1-41E1-BE3F-537855409E4A}"/>
                </c:ext>
              </c:extLst>
            </c:dLbl>
            <c:dLbl>
              <c:idx val="1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FF1-41E1-BE3F-537855409E4A}"/>
                </c:ext>
              </c:extLst>
            </c:dLbl>
            <c:dLbl>
              <c:idx val="13"/>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FF1-41E1-BE3F-537855409E4A}"/>
                </c:ext>
              </c:extLst>
            </c:dLbl>
            <c:dLbl>
              <c:idx val="1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FF1-41E1-BE3F-537855409E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22.44</c:v>
                </c:pt>
                <c:pt idx="1">
                  <c:v>22.7</c:v>
                </c:pt>
                <c:pt idx="2">
                  <c:v>22.73</c:v>
                </c:pt>
                <c:pt idx="3">
                  <c:v>24.26</c:v>
                </c:pt>
                <c:pt idx="4">
                  <c:v>23.71</c:v>
                </c:pt>
                <c:pt idx="5">
                  <c:v>24.44</c:v>
                </c:pt>
                <c:pt idx="6">
                  <c:v>24.66</c:v>
                </c:pt>
                <c:pt idx="7">
                  <c:v>26.76</c:v>
                </c:pt>
                <c:pt idx="8">
                  <c:v>28.99</c:v>
                </c:pt>
                <c:pt idx="9">
                  <c:v>30.96</c:v>
                </c:pt>
                <c:pt idx="10">
                  <c:v>30.2</c:v>
                </c:pt>
                <c:pt idx="11">
                  <c:v>32.4</c:v>
                </c:pt>
                <c:pt idx="12">
                  <c:v>32.700000000000003</c:v>
                </c:pt>
                <c:pt idx="13">
                  <c:v>33.700000000000003</c:v>
                </c:pt>
                <c:pt idx="14">
                  <c:v>36.76</c:v>
                </c:pt>
              </c:numCache>
            </c:numRef>
          </c:val>
          <c:smooth val="0"/>
          <c:extLst>
            <c:ext xmlns:c16="http://schemas.microsoft.com/office/drawing/2014/chart" uri="{C3380CC4-5D6E-409C-BE32-E72D297353CC}">
              <c16:uniqueId val="{0000001F-9FF1-41E1-BE3F-537855409E4A}"/>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3"/>
            <c:marker>
              <c:symbol val="none"/>
            </c:marker>
            <c:bubble3D val="0"/>
            <c:extLst>
              <c:ext xmlns:c16="http://schemas.microsoft.com/office/drawing/2014/chart" uri="{C3380CC4-5D6E-409C-BE32-E72D297353CC}">
                <c16:uniqueId val="{00000020-9FF1-41E1-BE3F-537855409E4A}"/>
              </c:ext>
            </c:extLst>
          </c:dPt>
          <c:dLbls>
            <c:dLbl>
              <c:idx val="0"/>
              <c:layout>
                <c:manualLayout>
                  <c:x val="2.5964912280701753E-2"/>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FF1-41E1-BE3F-537855409E4A}"/>
                </c:ext>
              </c:extLst>
            </c:dLbl>
            <c:dLbl>
              <c:idx val="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FF1-41E1-BE3F-537855409E4A}"/>
                </c:ext>
              </c:extLst>
            </c:dLbl>
            <c:dLbl>
              <c:idx val="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FF1-41E1-BE3F-537855409E4A}"/>
                </c:ext>
              </c:extLst>
            </c:dLbl>
            <c:dLbl>
              <c:idx val="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FF1-41E1-BE3F-537855409E4A}"/>
                </c:ext>
              </c:extLst>
            </c:dLbl>
            <c:dLbl>
              <c:idx val="5"/>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FF1-41E1-BE3F-537855409E4A}"/>
                </c:ext>
              </c:extLst>
            </c:dLbl>
            <c:dLbl>
              <c:idx val="6"/>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9FF1-41E1-BE3F-537855409E4A}"/>
                </c:ext>
              </c:extLst>
            </c:dLbl>
            <c:dLbl>
              <c:idx val="7"/>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9FF1-41E1-BE3F-537855409E4A}"/>
                </c:ext>
              </c:extLst>
            </c:dLbl>
            <c:dLbl>
              <c:idx val="8"/>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9FF1-41E1-BE3F-537855409E4A}"/>
                </c:ext>
              </c:extLst>
            </c:dLbl>
            <c:dLbl>
              <c:idx val="9"/>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9FF1-41E1-BE3F-537855409E4A}"/>
                </c:ext>
              </c:extLst>
            </c:dLbl>
            <c:dLbl>
              <c:idx val="10"/>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9FF1-41E1-BE3F-537855409E4A}"/>
                </c:ext>
              </c:extLst>
            </c:dLbl>
            <c:dLbl>
              <c:idx val="1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9FF1-41E1-BE3F-537855409E4A}"/>
                </c:ext>
              </c:extLst>
            </c:dLbl>
            <c:dLbl>
              <c:idx val="1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9FF1-41E1-BE3F-537855409E4A}"/>
                </c:ext>
              </c:extLst>
            </c:dLbl>
            <c:dLbl>
              <c:idx val="13"/>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9FF1-41E1-BE3F-537855409E4A}"/>
                </c:ext>
              </c:extLst>
            </c:dLbl>
            <c:dLbl>
              <c:idx val="1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9FF1-41E1-BE3F-537855409E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0">
                  <c:v>5.93</c:v>
                </c:pt>
                <c:pt idx="1">
                  <c:v>5.87</c:v>
                </c:pt>
                <c:pt idx="2">
                  <c:v>5.76</c:v>
                </c:pt>
                <c:pt idx="3">
                  <c:v>6.6099999999999994</c:v>
                </c:pt>
                <c:pt idx="4">
                  <c:v>7.46</c:v>
                </c:pt>
                <c:pt idx="5">
                  <c:v>7.88</c:v>
                </c:pt>
                <c:pt idx="6">
                  <c:v>8.18</c:v>
                </c:pt>
                <c:pt idx="7">
                  <c:v>9.1999999999999993</c:v>
                </c:pt>
                <c:pt idx="8">
                  <c:v>9.59</c:v>
                </c:pt>
                <c:pt idx="9">
                  <c:v>10.46</c:v>
                </c:pt>
                <c:pt idx="10">
                  <c:v>8.6999999999999993</c:v>
                </c:pt>
                <c:pt idx="11">
                  <c:v>10</c:v>
                </c:pt>
                <c:pt idx="12">
                  <c:v>10.6</c:v>
                </c:pt>
                <c:pt idx="13">
                  <c:v>10.9</c:v>
                </c:pt>
                <c:pt idx="14">
                  <c:v>13.3</c:v>
                </c:pt>
              </c:numCache>
            </c:numRef>
          </c:val>
          <c:smooth val="0"/>
          <c:extLst>
            <c:ext xmlns:c16="http://schemas.microsoft.com/office/drawing/2014/chart" uri="{C3380CC4-5D6E-409C-BE32-E72D297353CC}">
              <c16:uniqueId val="{0000002F-9FF1-41E1-BE3F-537855409E4A}"/>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1"/>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9FF1-41E1-BE3F-537855409E4A}"/>
                </c:ext>
              </c:extLst>
            </c:dLbl>
            <c:dLbl>
              <c:idx val="2"/>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9FF1-41E1-BE3F-537855409E4A}"/>
                </c:ext>
              </c:extLst>
            </c:dLbl>
            <c:dLbl>
              <c:idx val="3"/>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9FF1-41E1-BE3F-537855409E4A}"/>
                </c:ext>
              </c:extLst>
            </c:dLbl>
            <c:dLbl>
              <c:idx val="4"/>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9FF1-41E1-BE3F-537855409E4A}"/>
                </c:ext>
              </c:extLst>
            </c:dLbl>
            <c:dLbl>
              <c:idx val="5"/>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9FF1-41E1-BE3F-537855409E4A}"/>
                </c:ext>
              </c:extLst>
            </c:dLbl>
            <c:dLbl>
              <c:idx val="6"/>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9FF1-41E1-BE3F-537855409E4A}"/>
                </c:ext>
              </c:extLst>
            </c:dLbl>
            <c:dLbl>
              <c:idx val="7"/>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9FF1-41E1-BE3F-537855409E4A}"/>
                </c:ext>
              </c:extLst>
            </c:dLbl>
            <c:dLbl>
              <c:idx val="8"/>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9FF1-41E1-BE3F-537855409E4A}"/>
                </c:ext>
              </c:extLst>
            </c:dLbl>
            <c:dLbl>
              <c:idx val="9"/>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9FF1-41E1-BE3F-537855409E4A}"/>
                </c:ext>
              </c:extLst>
            </c:dLbl>
            <c:dLbl>
              <c:idx val="10"/>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9FF1-41E1-BE3F-537855409E4A}"/>
                </c:ext>
              </c:extLst>
            </c:dLbl>
            <c:dLbl>
              <c:idx val="11"/>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9FF1-41E1-BE3F-537855409E4A}"/>
                </c:ext>
              </c:extLst>
            </c:dLbl>
            <c:dLbl>
              <c:idx val="12"/>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9FF1-41E1-BE3F-537855409E4A}"/>
                </c:ext>
              </c:extLst>
            </c:dLbl>
            <c:dLbl>
              <c:idx val="13"/>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9FF1-41E1-BE3F-537855409E4A}"/>
                </c:ext>
              </c:extLst>
            </c:dLbl>
            <c:dLbl>
              <c:idx val="14"/>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9FF1-41E1-BE3F-537855409E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3.64</c:v>
                </c:pt>
                <c:pt idx="1">
                  <c:v>3.82</c:v>
                </c:pt>
                <c:pt idx="2">
                  <c:v>3.7</c:v>
                </c:pt>
                <c:pt idx="3">
                  <c:v>4.46</c:v>
                </c:pt>
                <c:pt idx="4">
                  <c:v>4.41</c:v>
                </c:pt>
                <c:pt idx="5">
                  <c:v>4.5</c:v>
                </c:pt>
                <c:pt idx="6">
                  <c:v>4.54</c:v>
                </c:pt>
                <c:pt idx="7">
                  <c:v>5.0999999999999996</c:v>
                </c:pt>
                <c:pt idx="8">
                  <c:v>5.52</c:v>
                </c:pt>
                <c:pt idx="9">
                  <c:v>6.17</c:v>
                </c:pt>
                <c:pt idx="10">
                  <c:v>6.2</c:v>
                </c:pt>
                <c:pt idx="11">
                  <c:v>7.4</c:v>
                </c:pt>
                <c:pt idx="12">
                  <c:v>7.4</c:v>
                </c:pt>
                <c:pt idx="13">
                  <c:v>7.7</c:v>
                </c:pt>
                <c:pt idx="14">
                  <c:v>9.5</c:v>
                </c:pt>
              </c:numCache>
            </c:numRef>
          </c:val>
          <c:smooth val="0"/>
          <c:extLst>
            <c:ext xmlns:c16="http://schemas.microsoft.com/office/drawing/2014/chart" uri="{C3380CC4-5D6E-409C-BE32-E72D297353CC}">
              <c16:uniqueId val="{0000003E-9FF1-41E1-BE3F-537855409E4A}"/>
            </c:ext>
          </c:extLst>
        </c:ser>
        <c:dLbls>
          <c:showLegendKey val="0"/>
          <c:showVal val="0"/>
          <c:showCatName val="0"/>
          <c:showSerName val="0"/>
          <c:showPercent val="0"/>
          <c:showBubbleSize val="0"/>
        </c:dLbls>
        <c:marker val="1"/>
        <c:smooth val="0"/>
        <c:axId val="1178396895"/>
        <c:axId val="1"/>
      </c:lineChart>
      <c:catAx>
        <c:axId val="11783968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78396895"/>
        <c:crosses val="min"/>
        <c:crossBetween val="midCat"/>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120" noProof="1"/>
              <a:t>医師</a:t>
            </a:r>
            <a:endParaRPr lang="zh-CN" altLang="en-US" sz="1120" dirty="0"/>
          </a:p>
        </c:rich>
      </c:tx>
      <c:layout>
        <c:manualLayout>
          <c:xMode val="edge"/>
          <c:yMode val="edge"/>
          <c:x val="0.36730851851851848"/>
          <c:y val="2.3515905640114063E-2"/>
        </c:manualLayout>
      </c:layout>
      <c:overlay val="0"/>
      <c:spPr>
        <a:noFill/>
        <a:ln>
          <a:noFill/>
        </a:ln>
        <a:effectLst/>
      </c:sp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別医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E0F6-49E3-9278-42FF18A3141D}"/>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E0F6-49E3-9278-42FF18A3141D}"/>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E0F6-49E3-9278-42FF18A3141D}"/>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E0F6-49E3-9278-42FF18A3141D}"/>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E0F6-49E3-9278-42FF18A3141D}"/>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E0F6-49E3-9278-42FF18A3141D}"/>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E0F6-49E3-9278-42FF18A3141D}"/>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E0F6-49E3-9278-42FF18A3141D}"/>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E0F6-49E3-9278-42FF18A3141D}"/>
              </c:ext>
            </c:extLst>
          </c:dPt>
          <c:dLbls>
            <c:dLbl>
              <c:idx val="0"/>
              <c:dLblPos val="bestFit"/>
              <c:showLegendKey val="0"/>
              <c:showVal val="0"/>
              <c:showCatName val="1"/>
              <c:showSerName val="0"/>
              <c:showPercent val="1"/>
              <c:showBubbleSize val="0"/>
              <c:extLst>
                <c:ext xmlns:c15="http://schemas.microsoft.com/office/drawing/2012/chart" uri="{CE6537A1-D6FC-4f65-9D91-7224C49458BB}">
                  <c15:layout>
                    <c:manualLayout>
                      <c:w val="0.39863888888888888"/>
                      <c:h val="0.14403492204569862"/>
                    </c:manualLayout>
                  </c15:layout>
                </c:ext>
                <c:ext xmlns:c16="http://schemas.microsoft.com/office/drawing/2014/chart" uri="{C3380CC4-5D6E-409C-BE32-E72D297353CC}">
                  <c16:uniqueId val="{00000001-E0F6-49E3-9278-42FF18A3141D}"/>
                </c:ext>
              </c:extLst>
            </c:dLbl>
            <c:dLbl>
              <c:idx val="1"/>
              <c:layout>
                <c:manualLayout>
                  <c:x val="0.12229629629629629"/>
                  <c:y val="-0.10287375476798874"/>
                </c:manualLayout>
              </c:layout>
              <c:spPr>
                <a:noFill/>
                <a:ln>
                  <a:noFill/>
                </a:ln>
                <a:effectLst/>
              </c:spPr>
              <c:txPr>
                <a:bodyPr wrap="square" lIns="38100" tIns="19050" rIns="38100" bIns="19050" anchor="ctr">
                  <a:noAutofit/>
                </a:bodyPr>
                <a:lstStyle/>
                <a:p>
                  <a:pPr>
                    <a:defRPr lang="ja-JP"/>
                  </a:pPr>
                  <a:endParaRPr lang="ja-JP"/>
                </a:p>
              </c:txPr>
              <c:dLblPos val="bestFit"/>
              <c:showLegendKey val="0"/>
              <c:showVal val="0"/>
              <c:showCatName val="1"/>
              <c:showSerName val="0"/>
              <c:showPercent val="1"/>
              <c:showBubbleSize val="0"/>
              <c:extLst>
                <c:ext xmlns:c15="http://schemas.microsoft.com/office/drawing/2012/chart" uri="{CE6537A1-D6FC-4f65-9D91-7224C49458BB}">
                  <c15:layout>
                    <c:manualLayout>
                      <c:w val="0.23518518518518519"/>
                      <c:h val="0.13521645743065586"/>
                    </c:manualLayout>
                  </c15:layout>
                </c:ext>
                <c:ext xmlns:c16="http://schemas.microsoft.com/office/drawing/2014/chart" uri="{C3380CC4-5D6E-409C-BE32-E72D297353CC}">
                  <c16:uniqueId val="{00000003-E0F6-49E3-9278-42FF18A3141D}"/>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1"/>
            <c:showSerName val="0"/>
            <c:showPercent val="0"/>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42.5</c:v>
                </c:pt>
                <c:pt idx="1">
                  <c:v>57.4</c:v>
                </c:pt>
              </c:numCache>
            </c:numRef>
          </c:val>
          <c:extLst>
            <c:ext xmlns:c16="http://schemas.microsoft.com/office/drawing/2014/chart" uri="{C3380CC4-5D6E-409C-BE32-E72D297353CC}">
              <c16:uniqueId val="{00000012-E0F6-49E3-9278-42FF18A3141D}"/>
            </c:ext>
          </c:extLst>
        </c:ser>
        <c:ser>
          <c:idx val="1"/>
          <c:order val="1"/>
          <c:tx>
            <c:strRef>
              <c:f>Sheet1!$C$1</c:f>
              <c:strCache>
                <c:ptCount val="1"/>
                <c:pt idx="0">
                  <c:v>Column1</c:v>
                </c:pt>
              </c:strCache>
            </c:strRef>
          </c:tx>
          <c:dPt>
            <c:idx val="0"/>
            <c:bubble3D val="0"/>
            <c:spPr>
              <a:solidFill>
                <a:schemeClr val="accent2">
                  <a:shade val="76000"/>
                </a:schemeClr>
              </a:solidFill>
              <a:ln>
                <a:noFill/>
              </a:ln>
              <a:effectLst/>
            </c:spPr>
            <c:extLst>
              <c:ext xmlns:c16="http://schemas.microsoft.com/office/drawing/2014/chart" uri="{C3380CC4-5D6E-409C-BE32-E72D297353CC}">
                <c16:uniqueId val="{00000014-E0F6-49E3-9278-42FF18A3141D}"/>
              </c:ext>
            </c:extLst>
          </c:dPt>
          <c:dPt>
            <c:idx val="1"/>
            <c:bubble3D val="0"/>
            <c:spPr>
              <a:solidFill>
                <a:schemeClr val="accent2">
                  <a:tint val="77000"/>
                </a:schemeClr>
              </a:solidFill>
              <a:ln>
                <a:noFill/>
              </a:ln>
              <a:effectLst/>
            </c:spPr>
            <c:extLst>
              <c:ext xmlns:c16="http://schemas.microsoft.com/office/drawing/2014/chart" uri="{C3380CC4-5D6E-409C-BE32-E72D297353CC}">
                <c16:uniqueId val="{00000016-E0F6-49E3-9278-42FF18A3141D}"/>
              </c:ext>
            </c:extLst>
          </c:dPt>
          <c:dLbls>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C$2:$C$3</c:f>
              <c:numCache>
                <c:formatCode>0.00%</c:formatCode>
                <c:ptCount val="2"/>
                <c:pt idx="0">
                  <c:v>0.42499999999999999</c:v>
                </c:pt>
                <c:pt idx="1">
                  <c:v>0.57399999999999995</c:v>
                </c:pt>
              </c:numCache>
            </c:numRef>
          </c:val>
          <c:extLst>
            <c:ext xmlns:c16="http://schemas.microsoft.com/office/drawing/2014/chart" uri="{C3380CC4-5D6E-409C-BE32-E72D297353CC}">
              <c16:uniqueId val="{00000017-E0F6-49E3-9278-42FF18A3141D}"/>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120" noProof="1"/>
              <a:t>看護師</a:t>
            </a:r>
            <a:endParaRPr lang="zh-TW" altLang="en-US" sz="1120" noProof="1"/>
          </a:p>
        </c:rich>
      </c:tx>
      <c:layout>
        <c:manualLayout>
          <c:xMode val="edge"/>
          <c:yMode val="edge"/>
          <c:x val="0.41415740740740742"/>
          <c:y val="2.3515912897305515E-2"/>
        </c:manualLayout>
      </c:layout>
      <c:overlay val="0"/>
      <c:spPr>
        <a:noFill/>
        <a:ln>
          <a:noFill/>
        </a:ln>
        <a:effectLst/>
      </c:spPr>
      <c:txPr>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endParaRPr lang="zh-TW" altLang="en-US"/>
        </a:p>
      </c:tx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別看護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8BD0-401B-943A-2DC2FEDFB469}"/>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8BD0-401B-943A-2DC2FEDFB469}"/>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8BD0-401B-943A-2DC2FEDFB469}"/>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8BD0-401B-943A-2DC2FEDFB469}"/>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8BD0-401B-943A-2DC2FEDFB469}"/>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8BD0-401B-943A-2DC2FEDFB469}"/>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8BD0-401B-943A-2DC2FEDFB469}"/>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8BD0-401B-943A-2DC2FEDFB469}"/>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8BD0-401B-943A-2DC2FEDFB469}"/>
              </c:ext>
            </c:extLst>
          </c:dPt>
          <c:dLbls>
            <c:dLbl>
              <c:idx val="0"/>
              <c:dLblPos val="bestFit"/>
              <c:showLegendKey val="0"/>
              <c:showVal val="0"/>
              <c:showCatName val="1"/>
              <c:showSerName val="0"/>
              <c:showPercent val="1"/>
              <c:showBubbleSize val="0"/>
              <c:extLst>
                <c:ext xmlns:c15="http://schemas.microsoft.com/office/drawing/2012/chart" uri="{CE6537A1-D6FC-4f65-9D91-7224C49458BB}">
                  <c15:layout>
                    <c:manualLayout>
                      <c:w val="0.3932222222222222"/>
                      <c:h val="0.14403496649599626"/>
                    </c:manualLayout>
                  </c15:layout>
                </c:ext>
                <c:ext xmlns:c16="http://schemas.microsoft.com/office/drawing/2014/chart" uri="{C3380CC4-5D6E-409C-BE32-E72D297353CC}">
                  <c16:uniqueId val="{00000001-8BD0-401B-943A-2DC2FEDFB469}"/>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43</c:v>
                </c:pt>
                <c:pt idx="1">
                  <c:v>57</c:v>
                </c:pt>
              </c:numCache>
            </c:numRef>
          </c:val>
          <c:extLst>
            <c:ext xmlns:c16="http://schemas.microsoft.com/office/drawing/2014/chart" uri="{C3380CC4-5D6E-409C-BE32-E72D297353CC}">
              <c16:uniqueId val="{00000012-8BD0-401B-943A-2DC2FEDFB469}"/>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082219938335044E-2"/>
          <c:y val="0.17460317460317459"/>
          <c:w val="0.92274751627269613"/>
          <c:h val="0.6928104575163398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17"/>
              <c:layout>
                <c:manualLayout>
                  <c:x val="0"/>
                  <c:y val="-0.2726423902894490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3D-48F2-9814-68762B8EFE8E}"/>
                </c:ext>
              </c:extLst>
            </c:dLbl>
            <c:dLbl>
              <c:idx val="18"/>
              <c:layout>
                <c:manualLayout>
                  <c:x val="0"/>
                  <c:y val="-0.2698412698412698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3D-48F2-9814-68762B8EFE8E}"/>
                </c:ext>
              </c:extLst>
            </c:dLbl>
            <c:dLbl>
              <c:idx val="19"/>
              <c:layout>
                <c:manualLayout>
                  <c:x val="0"/>
                  <c:y val="-0.2707749766573295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3D-48F2-9814-68762B8EFE8E}"/>
                </c:ext>
              </c:extLst>
            </c:dLbl>
            <c:dLbl>
              <c:idx val="20"/>
              <c:layout>
                <c:manualLayout>
                  <c:x val="0"/>
                  <c:y val="-0.274509803921568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3D-48F2-9814-68762B8EFE8E}"/>
                </c:ext>
              </c:extLst>
            </c:dLbl>
            <c:dLbl>
              <c:idx val="21"/>
              <c:layout>
                <c:manualLayout>
                  <c:x val="0"/>
                  <c:y val="-0.2763772175536881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3D-48F2-9814-68762B8EFE8E}"/>
                </c:ext>
              </c:extLst>
            </c:dLbl>
            <c:dLbl>
              <c:idx val="26"/>
              <c:layout>
                <c:manualLayout>
                  <c:x val="0"/>
                  <c:y val="-0.3193277310924369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3D-48F2-9814-68762B8EFE8E}"/>
                </c:ext>
              </c:extLst>
            </c:dLbl>
            <c:dLbl>
              <c:idx val="27"/>
              <c:layout>
                <c:manualLayout>
                  <c:x val="0"/>
                  <c:y val="-0.354808590102707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3D-48F2-9814-68762B8EFE8E}"/>
                </c:ext>
              </c:extLst>
            </c:dLbl>
            <c:dLbl>
              <c:idx val="28"/>
              <c:layout>
                <c:manualLayout>
                  <c:x val="0"/>
                  <c:y val="-0.3902894491129785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3D-48F2-9814-68762B8EFE8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6.177721999999999</c:v>
                </c:pt>
                <c:pt idx="1">
                  <c:v>17.041397</c:v>
                </c:pt>
                <c:pt idx="2">
                  <c:v>17.910909499999999</c:v>
                </c:pt>
                <c:pt idx="3">
                  <c:v>18.786766499999999</c:v>
                </c:pt>
                <c:pt idx="4">
                  <c:v>19.66948</c:v>
                </c:pt>
                <c:pt idx="5">
                  <c:v>20.559889999999999</c:v>
                </c:pt>
                <c:pt idx="6">
                  <c:v>21.459143999999998</c:v>
                </c:pt>
                <c:pt idx="7">
                  <c:v>22.368312499999998</c:v>
                </c:pt>
                <c:pt idx="8">
                  <c:v>23.2878775</c:v>
                </c:pt>
                <c:pt idx="9">
                  <c:v>24.217653500000001</c:v>
                </c:pt>
                <c:pt idx="10">
                  <c:v>25.157128499999999</c:v>
                </c:pt>
                <c:pt idx="11">
                  <c:v>26.105644999999999</c:v>
                </c:pt>
                <c:pt idx="12">
                  <c:v>27.0624425</c:v>
                </c:pt>
                <c:pt idx="13">
                  <c:v>28.026825500000001</c:v>
                </c:pt>
                <c:pt idx="14">
                  <c:v>28.9981285</c:v>
                </c:pt>
                <c:pt idx="15">
                  <c:v>29.974938000000002</c:v>
                </c:pt>
                <c:pt idx="16">
                  <c:v>30.7178085</c:v>
                </c:pt>
                <c:pt idx="17">
                  <c:v>30.782402000000001</c:v>
                </c:pt>
                <c:pt idx="18">
                  <c:v>30.3651205</c:v>
                </c:pt>
                <c:pt idx="19">
                  <c:v>30.472811499999999</c:v>
                </c:pt>
                <c:pt idx="20">
                  <c:v>30.991206999999999</c:v>
                </c:pt>
                <c:pt idx="21">
                  <c:v>31.328374499999999</c:v>
                </c:pt>
                <c:pt idx="22">
                  <c:v>32.175351499999998</c:v>
                </c:pt>
                <c:pt idx="23">
                  <c:v>33.264291999999998</c:v>
                </c:pt>
                <c:pt idx="24">
                  <c:v>33.962756499999998</c:v>
                </c:pt>
                <c:pt idx="25">
                  <c:v>34.566327999999999</c:v>
                </c:pt>
                <c:pt idx="26">
                  <c:v>37.443751499999998</c:v>
                </c:pt>
                <c:pt idx="27">
                  <c:v>42.592205499999999</c:v>
                </c:pt>
                <c:pt idx="28">
                  <c:v>47.693909499999997</c:v>
                </c:pt>
              </c:numCache>
            </c:numRef>
          </c:val>
          <c:extLst>
            <c:ext xmlns:c16="http://schemas.microsoft.com/office/drawing/2014/chart" uri="{C3380CC4-5D6E-409C-BE32-E72D297353CC}">
              <c16:uniqueId val="{00000008-713D-48F2-9814-68762B8EFE8E}"/>
            </c:ext>
          </c:extLst>
        </c:ser>
        <c:dLbls>
          <c:showLegendKey val="0"/>
          <c:showVal val="0"/>
          <c:showCatName val="0"/>
          <c:showSerName val="0"/>
          <c:showPercent val="0"/>
          <c:showBubbleSize val="0"/>
        </c:dLbls>
        <c:gapWidth val="60"/>
        <c:overlap val="100"/>
        <c:axId val="1642897376"/>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13D-48F2-9814-68762B8EFE8E}"/>
                </c:ext>
              </c:extLst>
            </c:dLbl>
            <c:dLbl>
              <c:idx val="1"/>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3D-48F2-9814-68762B8EFE8E}"/>
                </c:ext>
              </c:extLst>
            </c:dLbl>
            <c:dLbl>
              <c:idx val="2"/>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13D-48F2-9814-68762B8EFE8E}"/>
                </c:ext>
              </c:extLst>
            </c:dLbl>
            <c:dLbl>
              <c:idx val="3"/>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3D-48F2-9814-68762B8EFE8E}"/>
                </c:ext>
              </c:extLst>
            </c:dLbl>
            <c:dLbl>
              <c:idx val="4"/>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3D-48F2-9814-68762B8EFE8E}"/>
                </c:ext>
              </c:extLst>
            </c:dLbl>
            <c:dLbl>
              <c:idx val="5"/>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13D-48F2-9814-68762B8EFE8E}"/>
                </c:ext>
              </c:extLst>
            </c:dLbl>
            <c:dLbl>
              <c:idx val="6"/>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13D-48F2-9814-68762B8EFE8E}"/>
                </c:ext>
              </c:extLst>
            </c:dLbl>
            <c:dLbl>
              <c:idx val="7"/>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13D-48F2-9814-68762B8EFE8E}"/>
                </c:ext>
              </c:extLst>
            </c:dLbl>
            <c:dLbl>
              <c:idx val="8"/>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13D-48F2-9814-68762B8EFE8E}"/>
                </c:ext>
              </c:extLst>
            </c:dLbl>
            <c:dLbl>
              <c:idx val="9"/>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13D-48F2-9814-68762B8EFE8E}"/>
                </c:ext>
              </c:extLst>
            </c:dLbl>
            <c:dLbl>
              <c:idx val="10"/>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13D-48F2-9814-68762B8EFE8E}"/>
                </c:ext>
              </c:extLst>
            </c:dLbl>
            <c:dLbl>
              <c:idx val="11"/>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13D-48F2-9814-68762B8EFE8E}"/>
                </c:ext>
              </c:extLst>
            </c:dLbl>
            <c:dLbl>
              <c:idx val="12"/>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13D-48F2-9814-68762B8EFE8E}"/>
                </c:ext>
              </c:extLst>
            </c:dLbl>
            <c:dLbl>
              <c:idx val="13"/>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13D-48F2-9814-68762B8EFE8E}"/>
                </c:ext>
              </c:extLst>
            </c:dLbl>
            <c:dLbl>
              <c:idx val="14"/>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13D-48F2-9814-68762B8EFE8E}"/>
                </c:ext>
              </c:extLst>
            </c:dLbl>
            <c:dLbl>
              <c:idx val="15"/>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13D-48F2-9814-68762B8EFE8E}"/>
                </c:ext>
              </c:extLst>
            </c:dLbl>
            <c:dLbl>
              <c:idx val="20"/>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13D-48F2-9814-68762B8EFE8E}"/>
                </c:ext>
              </c:extLst>
            </c:dLbl>
            <c:dLbl>
              <c:idx val="21"/>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13D-48F2-9814-68762B8EFE8E}"/>
                </c:ext>
              </c:extLst>
            </c:dLbl>
            <c:dLbl>
              <c:idx val="22"/>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13D-48F2-9814-68762B8EFE8E}"/>
                </c:ext>
              </c:extLst>
            </c:dLbl>
            <c:dLbl>
              <c:idx val="24"/>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13D-48F2-9814-68762B8EFE8E}"/>
                </c:ext>
              </c:extLst>
            </c:dLbl>
            <c:dLbl>
              <c:idx val="25"/>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13D-48F2-9814-68762B8EFE8E}"/>
                </c:ext>
              </c:extLst>
            </c:dLbl>
            <c:dLbl>
              <c:idx val="26"/>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13D-48F2-9814-68762B8EFE8E}"/>
                </c:ext>
              </c:extLst>
            </c:dLbl>
            <c:dLbl>
              <c:idx val="27"/>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13D-48F2-9814-68762B8EFE8E}"/>
                </c:ext>
              </c:extLst>
            </c:dLbl>
            <c:dLbl>
              <c:idx val="28"/>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13D-48F2-9814-68762B8EFE8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5.3230000000000004</c:v>
                </c:pt>
                <c:pt idx="1">
                  <c:v>5.085</c:v>
                </c:pt>
                <c:pt idx="2">
                  <c:v>4.8730000000000002</c:v>
                </c:pt>
                <c:pt idx="3">
                  <c:v>4.68</c:v>
                </c:pt>
                <c:pt idx="4">
                  <c:v>4.5069999999999997</c:v>
                </c:pt>
                <c:pt idx="5">
                  <c:v>4.351</c:v>
                </c:pt>
                <c:pt idx="6">
                  <c:v>4.2130000000000001</c:v>
                </c:pt>
                <c:pt idx="7">
                  <c:v>4.0880000000000001</c:v>
                </c:pt>
                <c:pt idx="8">
                  <c:v>3.972</c:v>
                </c:pt>
                <c:pt idx="9">
                  <c:v>3.86</c:v>
                </c:pt>
                <c:pt idx="10">
                  <c:v>3.754</c:v>
                </c:pt>
                <c:pt idx="11">
                  <c:v>3.65</c:v>
                </c:pt>
                <c:pt idx="12">
                  <c:v>3.55</c:v>
                </c:pt>
                <c:pt idx="13">
                  <c:v>3.4540000000000002</c:v>
                </c:pt>
                <c:pt idx="14">
                  <c:v>3.3610000000000002</c:v>
                </c:pt>
                <c:pt idx="15">
                  <c:v>3.266</c:v>
                </c:pt>
                <c:pt idx="16">
                  <c:v>1.65</c:v>
                </c:pt>
                <c:pt idx="17">
                  <c:v>-1.226</c:v>
                </c:pt>
                <c:pt idx="18">
                  <c:v>-1.5049999999999999</c:v>
                </c:pt>
                <c:pt idx="19">
                  <c:v>2.2069999999999999</c:v>
                </c:pt>
                <c:pt idx="20">
                  <c:v>1.1759999999999999</c:v>
                </c:pt>
                <c:pt idx="21">
                  <c:v>0.98899999999999999</c:v>
                </c:pt>
                <c:pt idx="22">
                  <c:v>4.3019999999999996</c:v>
                </c:pt>
                <c:pt idx="23">
                  <c:v>2.387</c:v>
                </c:pt>
                <c:pt idx="24">
                  <c:v>1.776</c:v>
                </c:pt>
                <c:pt idx="25">
                  <c:v>1.748</c:v>
                </c:pt>
                <c:pt idx="26">
                  <c:v>1.367</c:v>
                </c:pt>
                <c:pt idx="27">
                  <c:v>1.2090000000000001</c:v>
                </c:pt>
                <c:pt idx="28">
                  <c:v>1.0580000000000001</c:v>
                </c:pt>
              </c:numCache>
            </c:numRef>
          </c:val>
          <c:smooth val="0"/>
          <c:extLst>
            <c:ext xmlns:c16="http://schemas.microsoft.com/office/drawing/2014/chart" uri="{C3380CC4-5D6E-409C-BE32-E72D297353CC}">
              <c16:uniqueId val="{00000021-713D-48F2-9814-68762B8EFE8E}"/>
            </c:ext>
          </c:extLst>
        </c:ser>
        <c:dLbls>
          <c:showLegendKey val="0"/>
          <c:showVal val="0"/>
          <c:showCatName val="0"/>
          <c:showSerName val="0"/>
          <c:showPercent val="0"/>
          <c:showBubbleSize val="0"/>
        </c:dLbls>
        <c:marker val="1"/>
        <c:smooth val="0"/>
        <c:axId val="2"/>
        <c:axId val="3"/>
      </c:lineChart>
      <c:catAx>
        <c:axId val="1642897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2897376"/>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6"/>
          <c:min val="-2"/>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120" noProof="1"/>
              <a:t>薬剤師</a:t>
            </a:r>
            <a:endParaRPr lang="zh-CN" altLang="en-US" sz="1120" noProof="1"/>
          </a:p>
        </c:rich>
      </c:tx>
      <c:layout>
        <c:manualLayout>
          <c:xMode val="edge"/>
          <c:yMode val="edge"/>
          <c:x val="0.38174888888888936"/>
          <c:y val="2.3515920154501439E-2"/>
        </c:manualLayout>
      </c:layout>
      <c:overlay val="0"/>
      <c:spPr>
        <a:noFill/>
        <a:ln>
          <a:noFill/>
        </a:ln>
        <a:effectLst/>
      </c:spPr>
      <c:txPr>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endParaRPr lang="zh-CN" altLang="en-US"/>
        </a:p>
      </c:tx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薬剤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D2F4-4F8E-A8CC-4CC67FA21867}"/>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D2F4-4F8E-A8CC-4CC67FA21867}"/>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D2F4-4F8E-A8CC-4CC67FA21867}"/>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D2F4-4F8E-A8CC-4CC67FA21867}"/>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D2F4-4F8E-A8CC-4CC67FA21867}"/>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D2F4-4F8E-A8CC-4CC67FA21867}"/>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D2F4-4F8E-A8CC-4CC67FA21867}"/>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D2F4-4F8E-A8CC-4CC67FA21867}"/>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D2F4-4F8E-A8CC-4CC67FA21867}"/>
              </c:ext>
            </c:extLst>
          </c:dPt>
          <c:dLbls>
            <c:dLbl>
              <c:idx val="0"/>
              <c:dLblPos val="bestFit"/>
              <c:showLegendKey val="0"/>
              <c:showVal val="0"/>
              <c:showCatName val="1"/>
              <c:showSerName val="0"/>
              <c:showPercent val="1"/>
              <c:showBubbleSize val="0"/>
              <c:extLst>
                <c:ext xmlns:c15="http://schemas.microsoft.com/office/drawing/2012/chart" uri="{CE6537A1-D6FC-4f65-9D91-7224C49458BB}">
                  <c15:layout>
                    <c:manualLayout>
                      <c:w val="0.39674999999999999"/>
                      <c:h val="0.14403501094632135"/>
                    </c:manualLayout>
                  </c15:layout>
                </c:ext>
                <c:ext xmlns:c16="http://schemas.microsoft.com/office/drawing/2014/chart" uri="{C3380CC4-5D6E-409C-BE32-E72D297353CC}">
                  <c16:uniqueId val="{00000001-D2F4-4F8E-A8CC-4CC67FA21867}"/>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47.5</c:v>
                </c:pt>
                <c:pt idx="1">
                  <c:v>52.4</c:v>
                </c:pt>
              </c:numCache>
            </c:numRef>
          </c:val>
          <c:extLst>
            <c:ext xmlns:c16="http://schemas.microsoft.com/office/drawing/2014/chart" uri="{C3380CC4-5D6E-409C-BE32-E72D297353CC}">
              <c16:uniqueId val="{00000012-D2F4-4F8E-A8CC-4CC67FA21867}"/>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551357733175918E-2"/>
          <c:y val="9.9538224730631092E-2"/>
          <c:w val="0.92148760330578516"/>
          <c:h val="0.80092355053873776"/>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B781-47A0-985B-B2F05D2CEEBA}"/>
              </c:ext>
            </c:extLst>
          </c:dPt>
          <c:dPt>
            <c:idx val="1"/>
            <c:bubble3D val="0"/>
            <c:spPr>
              <a:solidFill>
                <a:srgbClr val="0064C8"/>
              </a:solidFill>
              <a:ln>
                <a:noFill/>
              </a:ln>
            </c:spPr>
            <c:extLst>
              <c:ext xmlns:c16="http://schemas.microsoft.com/office/drawing/2014/chart" uri="{C3380CC4-5D6E-409C-BE32-E72D297353CC}">
                <c16:uniqueId val="{00000001-B781-47A0-985B-B2F05D2CEEBA}"/>
              </c:ext>
            </c:extLst>
          </c:dPt>
          <c:dPt>
            <c:idx val="2"/>
            <c:bubble3D val="0"/>
            <c:spPr>
              <a:solidFill>
                <a:srgbClr val="1F497D"/>
              </a:solidFill>
              <a:ln>
                <a:noFill/>
              </a:ln>
            </c:spPr>
            <c:extLst>
              <c:ext xmlns:c16="http://schemas.microsoft.com/office/drawing/2014/chart" uri="{C3380CC4-5D6E-409C-BE32-E72D297353CC}">
                <c16:uniqueId val="{00000002-B781-47A0-985B-B2F05D2CEEBA}"/>
              </c:ext>
            </c:extLst>
          </c:dPt>
          <c:dPt>
            <c:idx val="3"/>
            <c:bubble3D val="0"/>
            <c:spPr>
              <a:solidFill>
                <a:srgbClr val="C0E6F4"/>
              </a:solidFill>
              <a:ln>
                <a:noFill/>
              </a:ln>
            </c:spPr>
            <c:extLst>
              <c:ext xmlns:c16="http://schemas.microsoft.com/office/drawing/2014/chart" uri="{C3380CC4-5D6E-409C-BE32-E72D297353CC}">
                <c16:uniqueId val="{00000003-B781-47A0-985B-B2F05D2CEEBA}"/>
              </c:ext>
            </c:extLst>
          </c:dPt>
          <c:dPt>
            <c:idx val="4"/>
            <c:bubble3D val="0"/>
            <c:spPr>
              <a:solidFill>
                <a:srgbClr val="80CCE8"/>
              </a:solidFill>
              <a:ln>
                <a:noFill/>
              </a:ln>
            </c:spPr>
            <c:extLst>
              <c:ext xmlns:c16="http://schemas.microsoft.com/office/drawing/2014/chart" uri="{C3380CC4-5D6E-409C-BE32-E72D297353CC}">
                <c16:uniqueId val="{00000004-B781-47A0-985B-B2F05D2CEEBA}"/>
              </c:ext>
            </c:extLst>
          </c:dPt>
          <c:dPt>
            <c:idx val="5"/>
            <c:bubble3D val="0"/>
            <c:spPr>
              <a:solidFill>
                <a:srgbClr val="364D6E"/>
              </a:solidFill>
              <a:ln>
                <a:noFill/>
              </a:ln>
            </c:spPr>
            <c:extLst>
              <c:ext xmlns:c16="http://schemas.microsoft.com/office/drawing/2014/chart" uri="{C3380CC4-5D6E-409C-BE32-E72D297353CC}">
                <c16:uniqueId val="{00000005-B781-47A0-985B-B2F05D2CEEBA}"/>
              </c:ext>
            </c:extLst>
          </c:dPt>
          <c:dPt>
            <c:idx val="6"/>
            <c:bubble3D val="0"/>
            <c:spPr>
              <a:solidFill>
                <a:srgbClr val="9DB1CF"/>
              </a:solidFill>
              <a:ln>
                <a:noFill/>
              </a:ln>
            </c:spPr>
            <c:extLst>
              <c:ext xmlns:c16="http://schemas.microsoft.com/office/drawing/2014/chart" uri="{C3380CC4-5D6E-409C-BE32-E72D297353CC}">
                <c16:uniqueId val="{00000006-B781-47A0-985B-B2F05D2CEEBA}"/>
              </c:ext>
            </c:extLst>
          </c:dPt>
          <c:dPt>
            <c:idx val="7"/>
            <c:bubble3D val="0"/>
            <c:spPr>
              <a:solidFill>
                <a:srgbClr val="DFE5EF"/>
              </a:solidFill>
              <a:ln>
                <a:noFill/>
              </a:ln>
            </c:spPr>
            <c:extLst>
              <c:ext xmlns:c16="http://schemas.microsoft.com/office/drawing/2014/chart" uri="{C3380CC4-5D6E-409C-BE32-E72D297353CC}">
                <c16:uniqueId val="{00000007-B781-47A0-985B-B2F05D2CEEBA}"/>
              </c:ext>
            </c:extLst>
          </c:dPt>
          <c:dPt>
            <c:idx val="8"/>
            <c:bubble3D val="0"/>
            <c:spPr>
              <a:solidFill>
                <a:schemeClr val="accent2"/>
              </a:solidFill>
              <a:ln>
                <a:noFill/>
              </a:ln>
            </c:spPr>
            <c:extLst>
              <c:ext xmlns:c16="http://schemas.microsoft.com/office/drawing/2014/chart" uri="{C3380CC4-5D6E-409C-BE32-E72D297353CC}">
                <c16:uniqueId val="{00000008-B781-47A0-985B-B2F05D2CEEBA}"/>
              </c:ext>
            </c:extLst>
          </c:dPt>
          <c:dLbls>
            <c:dLbl>
              <c:idx val="0"/>
              <c:layout>
                <c:manualLayout>
                  <c:x val="0.1204250295159386"/>
                  <c:y val="-8.6198050282196001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81-47A0-985B-B2F05D2CEEBA}"/>
                </c:ext>
              </c:extLst>
            </c:dLbl>
            <c:dLbl>
              <c:idx val="1"/>
              <c:layout>
                <c:manualLayout>
                  <c:x val="8.9728453364816996E-2"/>
                  <c:y val="0.12006157003591586"/>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81-47A0-985B-B2F05D2CEEBA}"/>
                </c:ext>
              </c:extLst>
            </c:dLbl>
            <c:dLbl>
              <c:idx val="2"/>
              <c:layout>
                <c:manualLayout>
                  <c:x val="-8.5596221959858318E-2"/>
                  <c:y val="0.1318624935864546"/>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81-47A0-985B-B2F05D2CEEBA}"/>
                </c:ext>
              </c:extLst>
            </c:dLbl>
            <c:dLbl>
              <c:idx val="3"/>
              <c:layout>
                <c:manualLayout>
                  <c:x val="-0.13636363636363635"/>
                  <c:y val="8.311954848640328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781-47A0-985B-B2F05D2CEEBA}"/>
                </c:ext>
              </c:extLst>
            </c:dLbl>
            <c:dLbl>
              <c:idx val="4"/>
              <c:layout>
                <c:manualLayout>
                  <c:x val="-0.15938606847697756"/>
                  <c:y val="4.3612108773730118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781-47A0-985B-B2F05D2CEEBA}"/>
                </c:ext>
              </c:extLst>
            </c:dLbl>
            <c:dLbl>
              <c:idx val="5"/>
              <c:layout>
                <c:manualLayout>
                  <c:x val="-0.16942148760330578"/>
                  <c:y val="1.1800923550538737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81-47A0-985B-B2F05D2CEEBA}"/>
                </c:ext>
              </c:extLst>
            </c:dLbl>
            <c:dLbl>
              <c:idx val="8"/>
              <c:layout>
                <c:manualLayout>
                  <c:x val="-9.9763872491145225E-2"/>
                  <c:y val="-0.11082606464853771"/>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781-47A0-985B-B2F05D2CEEB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9</c:f>
              <c:numCache>
                <c:formatCode>General</c:formatCode>
                <c:ptCount val="9"/>
                <c:pt idx="0">
                  <c:v>28.091603053435112</c:v>
                </c:pt>
                <c:pt idx="1">
                  <c:v>25.496183206106871</c:v>
                </c:pt>
                <c:pt idx="2">
                  <c:v>9.1603053435114496</c:v>
                </c:pt>
                <c:pt idx="3">
                  <c:v>5.0381679389312977</c:v>
                </c:pt>
                <c:pt idx="4">
                  <c:v>4.7328244274809164</c:v>
                </c:pt>
                <c:pt idx="5">
                  <c:v>2.4427480916030535</c:v>
                </c:pt>
                <c:pt idx="6">
                  <c:v>2.2900763358778624</c:v>
                </c:pt>
                <c:pt idx="7">
                  <c:v>1.5267175572519083</c:v>
                </c:pt>
                <c:pt idx="8">
                  <c:v>21.221374045801529</c:v>
                </c:pt>
              </c:numCache>
            </c:numRef>
          </c:val>
          <c:extLst>
            <c:ext xmlns:c16="http://schemas.microsoft.com/office/drawing/2014/chart" uri="{C3380CC4-5D6E-409C-BE32-E72D297353CC}">
              <c16:uniqueId val="{00000009-B781-47A0-985B-B2F05D2CEEB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434460016488046E-2"/>
          <c:y val="4.7291835084882779E-2"/>
          <c:w val="0.95713107996702396"/>
          <c:h val="0.90541632983023446"/>
        </c:manualLayout>
      </c:layout>
      <c:barChart>
        <c:barDir val="col"/>
        <c:grouping val="stacked"/>
        <c:varyColors val="0"/>
        <c:ser>
          <c:idx val="0"/>
          <c:order val="0"/>
          <c:spPr>
            <a:solidFill>
              <a:srgbClr val="DFE5EF"/>
            </a:solidFill>
            <a:ln>
              <a:noFill/>
            </a:ln>
          </c:spPr>
          <c:invertIfNegative val="0"/>
          <c:dLbls>
            <c:dLbl>
              <c:idx val="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CF-462A-9C50-C6A8553D2F5E}"/>
                </c:ext>
              </c:extLst>
            </c:dLbl>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CF-462A-9C50-C6A8553D2F5E}"/>
                </c:ext>
              </c:extLst>
            </c:dLbl>
            <c:dLbl>
              <c:idx val="3"/>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698</c:v>
                </c:pt>
                <c:pt idx="1">
                  <c:v>1.845</c:v>
                </c:pt>
                <c:pt idx="2">
                  <c:v>2.109</c:v>
                </c:pt>
                <c:pt idx="3">
                  <c:v>2.282</c:v>
                </c:pt>
                <c:pt idx="4">
                  <c:v>2.4630000000000001</c:v>
                </c:pt>
                <c:pt idx="5">
                  <c:v>2.8164999999999996</c:v>
                </c:pt>
              </c:numCache>
            </c:numRef>
          </c:val>
          <c:extLst>
            <c:ext xmlns:c16="http://schemas.microsoft.com/office/drawing/2014/chart" uri="{C3380CC4-5D6E-409C-BE32-E72D297353CC}">
              <c16:uniqueId val="{00000005-F1CF-462A-9C50-C6A8553D2F5E}"/>
            </c:ext>
          </c:extLst>
        </c:ser>
        <c:ser>
          <c:idx val="1"/>
          <c:order val="1"/>
          <c:spPr>
            <a:solidFill>
              <a:srgbClr val="4C6C9C"/>
            </a:solidFill>
            <a:ln>
              <a:noFill/>
            </a:ln>
          </c:spPr>
          <c:invertIfNegative val="0"/>
          <c:dLbls>
            <c:dLbl>
              <c:idx val="0"/>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1CF-462A-9C50-C6A8553D2F5E}"/>
                </c:ext>
              </c:extLst>
            </c:dLbl>
            <c:dLbl>
              <c:idx val="1"/>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1CF-462A-9C50-C6A8553D2F5E}"/>
                </c:ext>
              </c:extLst>
            </c:dLbl>
            <c:dLbl>
              <c:idx val="2"/>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1CF-462A-9C50-C6A8553D2F5E}"/>
                </c:ext>
              </c:extLst>
            </c:dLbl>
            <c:dLbl>
              <c:idx val="3"/>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1019999999999999</c:v>
                </c:pt>
                <c:pt idx="1">
                  <c:v>1.135</c:v>
                </c:pt>
                <c:pt idx="2">
                  <c:v>1.2640000000000002</c:v>
                </c:pt>
                <c:pt idx="3">
                  <c:v>1.7069999999999999</c:v>
                </c:pt>
                <c:pt idx="4">
                  <c:v>1.87</c:v>
                </c:pt>
                <c:pt idx="5">
                  <c:v>2.5700000000000003</c:v>
                </c:pt>
              </c:numCache>
            </c:numRef>
          </c:val>
          <c:extLst>
            <c:ext xmlns:c16="http://schemas.microsoft.com/office/drawing/2014/chart" uri="{C3380CC4-5D6E-409C-BE32-E72D297353CC}">
              <c16:uniqueId val="{0000000C-F1CF-462A-9C50-C6A8553D2F5E}"/>
            </c:ext>
          </c:extLst>
        </c:ser>
        <c:ser>
          <c:idx val="2"/>
          <c:order val="2"/>
          <c:spPr>
            <a:solidFill>
              <a:schemeClr val="accent3"/>
            </a:solidFill>
            <a:ln>
              <a:noFill/>
            </a:ln>
          </c:spPr>
          <c:invertIfNegative val="0"/>
          <c:dLbls>
            <c:dLbl>
              <c:idx val="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1CF-462A-9C50-C6A8553D2F5E}"/>
                </c:ext>
              </c:extLst>
            </c:dLbl>
            <c:dLbl>
              <c:idx val="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1CF-462A-9C50-C6A8553D2F5E}"/>
                </c:ext>
              </c:extLst>
            </c:dLbl>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1CF-462A-9C50-C6A8553D2F5E}"/>
                </c:ext>
              </c:extLst>
            </c:dLbl>
            <c:dLbl>
              <c:idx val="3"/>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1CF-462A-9C50-C6A8553D2F5E}"/>
                </c:ext>
              </c:extLst>
            </c:dLbl>
            <c:dLbl>
              <c:idx val="5"/>
              <c:layout>
                <c:manualLayout>
                  <c:x val="0"/>
                  <c:y val="-4.0420371867421178E-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9.4229999999999983</c:v>
                </c:pt>
                <c:pt idx="1">
                  <c:v>8.6029999999999998</c:v>
                </c:pt>
                <c:pt idx="2">
                  <c:v>8.3580000000000005</c:v>
                </c:pt>
                <c:pt idx="3">
                  <c:v>8.161999999999999</c:v>
                </c:pt>
                <c:pt idx="4">
                  <c:v>10.34</c:v>
                </c:pt>
                <c:pt idx="5">
                  <c:v>14.279000000000002</c:v>
                </c:pt>
              </c:numCache>
            </c:numRef>
          </c:val>
          <c:extLst>
            <c:ext xmlns:c16="http://schemas.microsoft.com/office/drawing/2014/chart" uri="{C3380CC4-5D6E-409C-BE32-E72D297353CC}">
              <c16:uniqueId val="{00000013-F1CF-462A-9C50-C6A8553D2F5E}"/>
            </c:ext>
          </c:extLst>
        </c:ser>
        <c:ser>
          <c:idx val="3"/>
          <c:order val="3"/>
          <c:spPr>
            <a:solidFill>
              <a:schemeClr val="accent2"/>
            </a:solidFill>
            <a:ln>
              <a:noFill/>
            </a:ln>
          </c:spPr>
          <c:invertIfNegative val="0"/>
          <c:val>
            <c:numRef>
              <c:f>Sheet1!$A$4:$F$4</c:f>
              <c:numCache>
                <c:formatCode>General</c:formatCode>
                <c:ptCount val="6"/>
                <c:pt idx="0">
                  <c:v>0.54499999999999993</c:v>
                </c:pt>
                <c:pt idx="1">
                  <c:v>0.65399999999999991</c:v>
                </c:pt>
                <c:pt idx="2">
                  <c:v>0.6899999999999995</c:v>
                </c:pt>
                <c:pt idx="3">
                  <c:v>0.69699999999999918</c:v>
                </c:pt>
                <c:pt idx="4">
                  <c:v>0.69200000000000017</c:v>
                </c:pt>
                <c:pt idx="5">
                  <c:v>0.72050000000000125</c:v>
                </c:pt>
              </c:numCache>
            </c:numRef>
          </c:val>
          <c:extLst>
            <c:ext xmlns:c16="http://schemas.microsoft.com/office/drawing/2014/chart" uri="{C3380CC4-5D6E-409C-BE32-E72D297353CC}">
              <c16:uniqueId val="{00000014-F1CF-462A-9C50-C6A8553D2F5E}"/>
            </c:ext>
          </c:extLst>
        </c:ser>
        <c:ser>
          <c:idx val="4"/>
          <c:order val="4"/>
          <c:spPr>
            <a:solidFill>
              <a:srgbClr val="3D6E81"/>
            </a:solidFill>
            <a:ln>
              <a:noFill/>
            </a:ln>
          </c:spPr>
          <c:invertIfNegative val="0"/>
          <c:dLbls>
            <c:dLbl>
              <c:idx val="0"/>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1CF-462A-9C50-C6A8553D2F5E}"/>
                </c:ext>
              </c:extLst>
            </c:dLbl>
            <c:dLbl>
              <c:idx val="1"/>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1CF-462A-9C50-C6A8553D2F5E}"/>
                </c:ext>
              </c:extLst>
            </c:dLbl>
            <c:dLbl>
              <c:idx val="2"/>
              <c:layout>
                <c:manualLayout>
                  <c:x val="0"/>
                  <c:y val="-4.0420371867421178E-4"/>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1CF-462A-9C50-C6A8553D2F5E}"/>
                </c:ext>
              </c:extLst>
            </c:dLbl>
            <c:dLbl>
              <c:idx val="3"/>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19.89</c:v>
                </c:pt>
                <c:pt idx="1">
                  <c:v>22.47</c:v>
                </c:pt>
                <c:pt idx="2">
                  <c:v>22.840000000000003</c:v>
                </c:pt>
                <c:pt idx="3">
                  <c:v>25.11</c:v>
                </c:pt>
                <c:pt idx="4">
                  <c:v>31.83</c:v>
                </c:pt>
                <c:pt idx="5">
                  <c:v>38.6</c:v>
                </c:pt>
              </c:numCache>
            </c:numRef>
          </c:val>
          <c:extLst>
            <c:ext xmlns:c16="http://schemas.microsoft.com/office/drawing/2014/chart" uri="{C3380CC4-5D6E-409C-BE32-E72D297353CC}">
              <c16:uniqueId val="{0000001B-F1CF-462A-9C50-C6A8553D2F5E}"/>
            </c:ext>
          </c:extLst>
        </c:ser>
        <c:ser>
          <c:idx val="5"/>
          <c:order val="5"/>
          <c:spPr>
            <a:solidFill>
              <a:srgbClr val="0064C8"/>
            </a:solidFill>
            <a:ln>
              <a:noFill/>
            </a:ln>
          </c:spPr>
          <c:invertIfNegative val="0"/>
          <c:dLbls>
            <c:dLbl>
              <c:idx val="0"/>
              <c:layout>
                <c:manualLayout>
                  <c:x val="7.0074196207749379E-2"/>
                  <c:y val="2.46564268391269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1CF-462A-9C50-C6A8553D2F5E}"/>
                </c:ext>
              </c:extLst>
            </c:dLbl>
            <c:dLbl>
              <c:idx val="3"/>
              <c:layout>
                <c:manualLayout>
                  <c:x val="7.0074196207749379E-2"/>
                  <c:y val="1.818916734033953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1CF-462A-9C50-C6A8553D2F5E}"/>
                </c:ext>
              </c:extLst>
            </c:dLbl>
            <c:dLbl>
              <c:idx val="4"/>
              <c:layout>
                <c:manualLayout>
                  <c:x val="7.0074196207749379E-2"/>
                  <c:y val="-4.0420371867421178E-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F$6</c:f>
              <c:numCache>
                <c:formatCode>General</c:formatCode>
                <c:ptCount val="6"/>
                <c:pt idx="0">
                  <c:v>0.70199999999999818</c:v>
                </c:pt>
                <c:pt idx="1">
                  <c:v>1.1980000000000004</c:v>
                </c:pt>
                <c:pt idx="2">
                  <c:v>1.0619999999999976</c:v>
                </c:pt>
                <c:pt idx="3">
                  <c:v>1.0020000000000024</c:v>
                </c:pt>
                <c:pt idx="4">
                  <c:v>1.5940000000000012</c:v>
                </c:pt>
                <c:pt idx="5">
                  <c:v>2.1910000000000025</c:v>
                </c:pt>
              </c:numCache>
            </c:numRef>
          </c:val>
          <c:extLst>
            <c:ext xmlns:c16="http://schemas.microsoft.com/office/drawing/2014/chart" uri="{C3380CC4-5D6E-409C-BE32-E72D297353CC}">
              <c16:uniqueId val="{00000020-F1CF-462A-9C50-C6A8553D2F5E}"/>
            </c:ext>
          </c:extLst>
        </c:ser>
        <c:ser>
          <c:idx val="6"/>
          <c:order val="6"/>
          <c:spPr>
            <a:solidFill>
              <a:srgbClr val="1F497D"/>
            </a:solidFill>
            <a:ln>
              <a:noFill/>
            </a:ln>
          </c:spPr>
          <c:invertIfNegative val="0"/>
          <c:dLbls>
            <c:dLbl>
              <c:idx val="0"/>
              <c:layout>
                <c:manualLayout>
                  <c:x val="7.0074196207749379E-2"/>
                  <c:y val="2.0210185933710592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1CF-462A-9C50-C6A8553D2F5E}"/>
                </c:ext>
              </c:extLst>
            </c:dLbl>
            <c:dLbl>
              <c:idx val="1"/>
              <c:layout>
                <c:manualLayout>
                  <c:x val="7.0074196207749379E-2"/>
                  <c:y val="2.384801940177849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1CF-462A-9C50-C6A8553D2F5E}"/>
                </c:ext>
              </c:extLst>
            </c:dLbl>
            <c:dLbl>
              <c:idx val="2"/>
              <c:layout>
                <c:manualLayout>
                  <c:x val="7.0074196207749379E-2"/>
                  <c:y val="1.2126111560226353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1CF-462A-9C50-C6A8553D2F5E}"/>
                </c:ext>
              </c:extLst>
            </c:dLbl>
            <c:dLbl>
              <c:idx val="3"/>
              <c:layout>
                <c:manualLayout>
                  <c:x val="7.0074196207749379E-2"/>
                  <c:y val="3.2336297493936943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1CF-462A-9C50-C6A8553D2F5E}"/>
                </c:ext>
              </c:extLst>
            </c:dLbl>
            <c:dLbl>
              <c:idx val="5"/>
              <c:layout>
                <c:manualLayout>
                  <c:x val="7.0074196207749379E-2"/>
                  <c:y val="1.010509296685529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F$7</c:f>
              <c:numCache>
                <c:formatCode>General</c:formatCode>
                <c:ptCount val="6"/>
                <c:pt idx="0">
                  <c:v>0.51200000000000045</c:v>
                </c:pt>
                <c:pt idx="1">
                  <c:v>0.70000000000000284</c:v>
                </c:pt>
                <c:pt idx="2">
                  <c:v>0.91100000000000136</c:v>
                </c:pt>
                <c:pt idx="3">
                  <c:v>1.2950000000000017</c:v>
                </c:pt>
                <c:pt idx="4">
                  <c:v>1.652000000000001</c:v>
                </c:pt>
                <c:pt idx="5">
                  <c:v>1.3100000000000023</c:v>
                </c:pt>
              </c:numCache>
            </c:numRef>
          </c:val>
          <c:extLst>
            <c:ext xmlns:c16="http://schemas.microsoft.com/office/drawing/2014/chart" uri="{C3380CC4-5D6E-409C-BE32-E72D297353CC}">
              <c16:uniqueId val="{00000026-F1CF-462A-9C50-C6A8553D2F5E}"/>
            </c:ext>
          </c:extLst>
        </c:ser>
        <c:ser>
          <c:idx val="7"/>
          <c:order val="7"/>
          <c:spPr>
            <a:solidFill>
              <a:srgbClr val="80CCE8"/>
            </a:solidFill>
            <a:ln>
              <a:noFill/>
            </a:ln>
          </c:spPr>
          <c:invertIfNegative val="0"/>
          <c:dLbls>
            <c:dLbl>
              <c:idx val="0"/>
              <c:layout>
                <c:manualLayout>
                  <c:x val="7.0074196207749379E-2"/>
                  <c:y val="-2.46564268391269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1CF-462A-9C50-C6A8553D2F5E}"/>
                </c:ext>
              </c:extLst>
            </c:dLbl>
            <c:dLbl>
              <c:idx val="1"/>
              <c:layout>
                <c:manualLayout>
                  <c:x val="7.0074196207749379E-2"/>
                  <c:y val="-1.2126111560226355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1CF-462A-9C50-C6A8553D2F5E}"/>
                </c:ext>
              </c:extLst>
            </c:dLbl>
            <c:dLbl>
              <c:idx val="2"/>
              <c:layout>
                <c:manualLayout>
                  <c:x val="7.0074196207749379E-2"/>
                  <c:y val="-1.172190784155214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F1CF-462A-9C50-C6A8553D2F5E}"/>
                </c:ext>
              </c:extLst>
            </c:dLbl>
            <c:dLbl>
              <c:idx val="3"/>
              <c:layout>
                <c:manualLayout>
                  <c:x val="7.0074196207749379E-2"/>
                  <c:y val="-1.778496362166532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F1CF-462A-9C50-C6A8553D2F5E}"/>
                </c:ext>
              </c:extLst>
            </c:dLbl>
            <c:dLbl>
              <c:idx val="4"/>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F1CF-462A-9C50-C6A8553D2F5E}"/>
                </c:ext>
              </c:extLst>
            </c:dLbl>
            <c:dLbl>
              <c:idx val="5"/>
              <c:layout>
                <c:manualLayout>
                  <c:x val="7.0074196207749379E-2"/>
                  <c:y val="-1.0509296685529508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F$8</c:f>
              <c:numCache>
                <c:formatCode>General</c:formatCode>
                <c:ptCount val="6"/>
                <c:pt idx="0">
                  <c:v>0.14800000000000324</c:v>
                </c:pt>
                <c:pt idx="1">
                  <c:v>0.15899999999999892</c:v>
                </c:pt>
                <c:pt idx="2">
                  <c:v>0.17900000000000205</c:v>
                </c:pt>
                <c:pt idx="3">
                  <c:v>0.18900000000000006</c:v>
                </c:pt>
                <c:pt idx="4">
                  <c:v>0.23499999999999943</c:v>
                </c:pt>
                <c:pt idx="5">
                  <c:v>0.26200000000000045</c:v>
                </c:pt>
              </c:numCache>
            </c:numRef>
          </c:val>
          <c:extLst>
            <c:ext xmlns:c16="http://schemas.microsoft.com/office/drawing/2014/chart" uri="{C3380CC4-5D6E-409C-BE32-E72D297353CC}">
              <c16:uniqueId val="{0000002D-F1CF-462A-9C50-C6A8553D2F5E}"/>
            </c:ext>
          </c:extLst>
        </c:ser>
        <c:ser>
          <c:idx val="8"/>
          <c:order val="8"/>
          <c:spPr>
            <a:solidFill>
              <a:srgbClr val="C0E6F4"/>
            </a:solidFill>
            <a:ln>
              <a:noFill/>
            </a:ln>
          </c:spPr>
          <c:invertIfNegative val="0"/>
          <c:dLbls>
            <c:dLbl>
              <c:idx val="1"/>
              <c:layout>
                <c:manualLayout>
                  <c:x val="7.0074196207749379E-2"/>
                  <c:y val="-2.384801940177849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F$9</c:f>
              <c:numCache>
                <c:formatCode>General</c:formatCode>
                <c:ptCount val="6"/>
                <c:pt idx="0">
                  <c:v>1.0009999999999977</c:v>
                </c:pt>
                <c:pt idx="1">
                  <c:v>1.1210000000000022</c:v>
                </c:pt>
                <c:pt idx="2">
                  <c:v>1.3699999999999974</c:v>
                </c:pt>
                <c:pt idx="3">
                  <c:v>1.5870000000000033</c:v>
                </c:pt>
                <c:pt idx="4">
                  <c:v>2.6760000000000019</c:v>
                </c:pt>
                <c:pt idx="5">
                  <c:v>2.7510000000000048</c:v>
                </c:pt>
              </c:numCache>
            </c:numRef>
          </c:val>
          <c:extLst>
            <c:ext xmlns:c16="http://schemas.microsoft.com/office/drawing/2014/chart" uri="{C3380CC4-5D6E-409C-BE32-E72D297353CC}">
              <c16:uniqueId val="{00000031-F1CF-462A-9C50-C6A8553D2F5E}"/>
            </c:ext>
          </c:extLst>
        </c:ser>
        <c:dLbls>
          <c:showLegendKey val="0"/>
          <c:showVal val="0"/>
          <c:showCatName val="0"/>
          <c:showSerName val="0"/>
          <c:showPercent val="0"/>
          <c:showBubbleSize val="0"/>
        </c:dLbls>
        <c:gapWidth val="80"/>
        <c:overlap val="100"/>
        <c:axId val="1441947087"/>
        <c:axId val="1"/>
      </c:barChart>
      <c:catAx>
        <c:axId val="14419470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5.500000000000014"/>
          <c:min val="0"/>
        </c:scaling>
        <c:delete val="1"/>
        <c:axPos val="l"/>
        <c:numFmt formatCode="General" sourceLinked="1"/>
        <c:majorTickMark val="out"/>
        <c:minorTickMark val="none"/>
        <c:tickLblPos val="nextTo"/>
        <c:crossAx val="1441947087"/>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0.10909913988229969"/>
          <c:w val="0.98135198135198132"/>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4.255319148936170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E1-4E91-8868-67B9C5620FCE}"/>
                </c:ext>
              </c:extLst>
            </c:dLbl>
            <c:dLbl>
              <c:idx val="1"/>
              <c:layout>
                <c:manualLayout>
                  <c:x val="0"/>
                  <c:y val="-4.436396559529198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E1-4E91-8868-67B9C5620FCE}"/>
                </c:ext>
              </c:extLst>
            </c:dLbl>
            <c:dLbl>
              <c:idx val="2"/>
              <c:layout>
                <c:manualLayout>
                  <c:x val="0"/>
                  <c:y val="-4.708012675418741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E1-4E91-8868-67B9C5620FCE}"/>
                </c:ext>
              </c:extLst>
            </c:dLbl>
            <c:dLbl>
              <c:idx val="3"/>
              <c:layout>
                <c:manualLayout>
                  <c:x val="0"/>
                  <c:y val="-5.070167496604798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E1-4E91-8868-67B9C5620FCE}"/>
                </c:ext>
              </c:extLst>
            </c:dLbl>
            <c:dLbl>
              <c:idx val="4"/>
              <c:layout>
                <c:manualLayout>
                  <c:x val="0"/>
                  <c:y val="-5.251244907197827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E1-4E91-8868-67B9C5620FCE}"/>
                </c:ext>
              </c:extLst>
            </c:dLbl>
            <c:dLbl>
              <c:idx val="5"/>
              <c:layout>
                <c:manualLayout>
                  <c:x val="0"/>
                  <c:y val="-5.613399728383883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DE1-4E91-8868-67B9C5620FCE}"/>
                </c:ext>
              </c:extLst>
            </c:dLbl>
            <c:dLbl>
              <c:idx val="6"/>
              <c:layout>
                <c:manualLayout>
                  <c:x val="0"/>
                  <c:y val="-6.971480307831598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DE1-4E91-8868-67B9C5620FCE}"/>
                </c:ext>
              </c:extLst>
            </c:dLbl>
            <c:dLbl>
              <c:idx val="7"/>
              <c:layout>
                <c:manualLayout>
                  <c:x val="0"/>
                  <c:y val="-8.329560887279312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DE1-4E91-8868-67B9C5620FCE}"/>
                </c:ext>
              </c:extLst>
            </c:dLbl>
            <c:dLbl>
              <c:idx val="8"/>
              <c:layout>
                <c:manualLayout>
                  <c:x val="0"/>
                  <c:y val="-0.1113626075147125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DE1-4E91-8868-67B9C5620FCE}"/>
                </c:ext>
              </c:extLst>
            </c:dLbl>
            <c:dLbl>
              <c:idx val="9"/>
              <c:layout>
                <c:manualLayout>
                  <c:x val="0"/>
                  <c:y val="-0.151652331371661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DE1-4E91-8868-67B9C5620FCE}"/>
                </c:ext>
              </c:extLst>
            </c:dLbl>
            <c:dLbl>
              <c:idx val="10"/>
              <c:layout>
                <c:manualLayout>
                  <c:x val="3.2275416890801506E-3"/>
                  <c:y val="-0.1742870076957899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DE1-4E91-8868-67B9C5620FCE}"/>
                </c:ext>
              </c:extLst>
            </c:dLbl>
            <c:dLbl>
              <c:idx val="11"/>
              <c:layout>
                <c:manualLayout>
                  <c:x val="6.4550833781603012E-3"/>
                  <c:y val="-0.1910366681756450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DE1-4E91-8868-67B9C5620FCE}"/>
                </c:ext>
              </c:extLst>
            </c:dLbl>
            <c:dLbl>
              <c:idx val="12"/>
              <c:layout>
                <c:manualLayout>
                  <c:x val="0"/>
                  <c:y val="-0.2172928927116342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DE1-4E91-8868-67B9C5620FCE}"/>
                </c:ext>
              </c:extLst>
            </c:dLbl>
            <c:dLbl>
              <c:idx val="13"/>
              <c:layout>
                <c:manualLayout>
                  <c:x val="0"/>
                  <c:y val="-0.2430964237211407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DE1-4E91-8868-67B9C5620FCE}"/>
                </c:ext>
              </c:extLst>
            </c:dLbl>
            <c:dLbl>
              <c:idx val="14"/>
              <c:layout>
                <c:manualLayout>
                  <c:x val="0"/>
                  <c:y val="-0.2883657763693979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DE1-4E91-8868-67B9C5620FCE}"/>
                </c:ext>
              </c:extLst>
            </c:dLbl>
            <c:dLbl>
              <c:idx val="15"/>
              <c:layout>
                <c:manualLayout>
                  <c:x val="-3.4068495606957147E-3"/>
                  <c:y val="-0.3413309189678587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DE1-4E91-8868-67B9C5620FCE}"/>
                </c:ext>
              </c:extLst>
            </c:dLbl>
            <c:dLbl>
              <c:idx val="16"/>
              <c:layout>
                <c:manualLayout>
                  <c:x val="0"/>
                  <c:y val="-0.3358985966500678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DE1-4E91-8868-67B9C5620FCE}"/>
                </c:ext>
              </c:extLst>
            </c:dLbl>
            <c:dLbl>
              <c:idx val="17"/>
              <c:layout>
                <c:manualLayout>
                  <c:x val="3.2275416890801506E-3"/>
                  <c:y val="-0.3422363060208238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DE1-4E91-8868-67B9C5620FCE}"/>
                </c:ext>
              </c:extLst>
            </c:dLbl>
            <c:dLbl>
              <c:idx val="18"/>
              <c:layout>
                <c:manualLayout>
                  <c:x val="6.4550833781603012E-3"/>
                  <c:y val="-0.35626980534178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DE1-4E91-8868-67B9C5620FCE}"/>
                </c:ext>
              </c:extLst>
            </c:dLbl>
            <c:dLbl>
              <c:idx val="19"/>
              <c:layout>
                <c:manualLayout>
                  <c:x val="0"/>
                  <c:y val="-0.3979176097781801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DE1-4E91-8868-67B9C5620FCE}"/>
                </c:ext>
              </c:extLst>
            </c:dLbl>
            <c:dLbl>
              <c:idx val="20"/>
              <c:layout>
                <c:manualLayout>
                  <c:x val="3.4068495606957147E-3"/>
                  <c:y val="-0.4038026256224536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DE1-4E91-8868-67B9C5620FCE}"/>
                </c:ext>
              </c:extLst>
            </c:dLbl>
            <c:dLbl>
              <c:idx val="21"/>
              <c:layout>
                <c:manualLayout>
                  <c:x val="0"/>
                  <c:y val="-0.440923494794024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DE1-4E91-8868-67B9C5620FC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51.12899999999999</c:v>
                </c:pt>
                <c:pt idx="1">
                  <c:v>180.65300000000002</c:v>
                </c:pt>
                <c:pt idx="2">
                  <c:v>222.7852</c:v>
                </c:pt>
                <c:pt idx="3">
                  <c:v>284.99129999999997</c:v>
                </c:pt>
                <c:pt idx="4">
                  <c:v>314.56370000000004</c:v>
                </c:pt>
                <c:pt idx="5">
                  <c:v>365.41379010000003</c:v>
                </c:pt>
                <c:pt idx="6">
                  <c:v>592.58740739999996</c:v>
                </c:pt>
                <c:pt idx="7">
                  <c:v>817.33435499999996</c:v>
                </c:pt>
                <c:pt idx="8">
                  <c:v>1281.3882684</c:v>
                </c:pt>
                <c:pt idx="9">
                  <c:v>1944.535764</c:v>
                </c:pt>
                <c:pt idx="10">
                  <c:v>2317.3362299999999</c:v>
                </c:pt>
                <c:pt idx="11">
                  <c:v>2588.8032360000002</c:v>
                </c:pt>
                <c:pt idx="12">
                  <c:v>3009.3370949999999</c:v>
                </c:pt>
                <c:pt idx="13">
                  <c:v>3438.6709649999998</c:v>
                </c:pt>
                <c:pt idx="14">
                  <c:v>4192.0052400000004</c:v>
                </c:pt>
                <c:pt idx="15">
                  <c:v>5057.8729890000004</c:v>
                </c:pt>
                <c:pt idx="16">
                  <c:v>4968.0062099999996</c:v>
                </c:pt>
                <c:pt idx="17">
                  <c:v>5076.1396784999997</c:v>
                </c:pt>
                <c:pt idx="18">
                  <c:v>5302.2466278000002</c:v>
                </c:pt>
                <c:pt idx="19">
                  <c:v>5993.3141582999997</c:v>
                </c:pt>
                <c:pt idx="20">
                  <c:v>6089.8209456000004</c:v>
                </c:pt>
                <c:pt idx="21">
                  <c:v>6695.8217031000004</c:v>
                </c:pt>
              </c:numCache>
            </c:numRef>
          </c:val>
          <c:extLst>
            <c:ext xmlns:c16="http://schemas.microsoft.com/office/drawing/2014/chart" uri="{C3380CC4-5D6E-409C-BE32-E72D297353CC}">
              <c16:uniqueId val="{00000016-7DE1-4E91-8868-67B9C5620FCE}"/>
            </c:ext>
          </c:extLst>
        </c:ser>
        <c:dLbls>
          <c:showLegendKey val="0"/>
          <c:showVal val="0"/>
          <c:showCatName val="0"/>
          <c:showSerName val="0"/>
          <c:showPercent val="0"/>
          <c:showBubbleSize val="0"/>
        </c:dLbls>
        <c:gapWidth val="80"/>
        <c:overlap val="100"/>
        <c:axId val="1296774079"/>
        <c:axId val="1"/>
      </c:barChart>
      <c:catAx>
        <c:axId val="12967740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695.8217031000004"/>
          <c:min val="0"/>
        </c:scaling>
        <c:delete val="1"/>
        <c:axPos val="l"/>
        <c:numFmt formatCode="General" sourceLinked="1"/>
        <c:majorTickMark val="out"/>
        <c:minorTickMark val="none"/>
        <c:tickLblPos val="nextTo"/>
        <c:crossAx val="1296774079"/>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97278911564625"/>
          <c:y val="4.3458980044345896E-2"/>
          <c:w val="0.85034013605442171"/>
          <c:h val="0.9130820399113082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G$1</c:f>
              <c:numCache>
                <c:formatCode>General</c:formatCode>
                <c:ptCount val="7"/>
                <c:pt idx="0">
                  <c:v>12260</c:v>
                </c:pt>
                <c:pt idx="1">
                  <c:v>13007</c:v>
                </c:pt>
                <c:pt idx="2">
                  <c:v>13119</c:v>
                </c:pt>
                <c:pt idx="3">
                  <c:v>16230</c:v>
                </c:pt>
                <c:pt idx="4">
                  <c:v>18728</c:v>
                </c:pt>
                <c:pt idx="5">
                  <c:v>20133</c:v>
                </c:pt>
                <c:pt idx="6">
                  <c:v>27734</c:v>
                </c:pt>
              </c:numCache>
            </c:numRef>
          </c:val>
          <c:extLst>
            <c:ext xmlns:c16="http://schemas.microsoft.com/office/drawing/2014/chart" uri="{C3380CC4-5D6E-409C-BE32-E72D297353CC}">
              <c16:uniqueId val="{00000000-4BD4-41BC-BABA-2BD67C4B0C5F}"/>
            </c:ext>
          </c:extLst>
        </c:ser>
        <c:dLbls>
          <c:showLegendKey val="0"/>
          <c:showVal val="0"/>
          <c:showCatName val="0"/>
          <c:showSerName val="0"/>
          <c:showPercent val="0"/>
          <c:showBubbleSize val="0"/>
        </c:dLbls>
        <c:gapWidth val="60"/>
        <c:overlap val="100"/>
        <c:axId val="1760613584"/>
        <c:axId val="1"/>
      </c:barChart>
      <c:catAx>
        <c:axId val="176061358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8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760613584"/>
        <c:crosses val="min"/>
        <c:crossBetween val="between"/>
        <c:majorUnit val="2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837696335078534E-2"/>
          <c:y val="4.4144144144144144E-2"/>
          <c:w val="0.95008726003490407"/>
          <c:h val="0.91171171171171173"/>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20.490053763600002</c:v>
                </c:pt>
                <c:pt idx="1">
                  <c:v>21.781988242329998</c:v>
                </c:pt>
                <c:pt idx="2">
                  <c:v>20.60222131411</c:v>
                </c:pt>
                <c:pt idx="3">
                  <c:v>20.983398519929995</c:v>
                </c:pt>
                <c:pt idx="4">
                  <c:v>20.531369907829998</c:v>
                </c:pt>
                <c:pt idx="5">
                  <c:v>20.74837006836</c:v>
                </c:pt>
                <c:pt idx="6">
                  <c:v>22.69336814807</c:v>
                </c:pt>
                <c:pt idx="7">
                  <c:v>22.830854487620005</c:v>
                </c:pt>
                <c:pt idx="8">
                  <c:v>20.229117980500003</c:v>
                </c:pt>
                <c:pt idx="9">
                  <c:v>28.901162375879998</c:v>
                </c:pt>
                <c:pt idx="10">
                  <c:v>25.811113438289997</c:v>
                </c:pt>
                <c:pt idx="11">
                  <c:v>28.918300269579991</c:v>
                </c:pt>
                <c:pt idx="12">
                  <c:v>33.012675217249999</c:v>
                </c:pt>
                <c:pt idx="13">
                  <c:v>37.542962163570003</c:v>
                </c:pt>
                <c:pt idx="14">
                  <c:v>45.450925170569995</c:v>
                </c:pt>
                <c:pt idx="15">
                  <c:v>53.983965836029988</c:v>
                </c:pt>
                <c:pt idx="16">
                  <c:v>58.560674675110008</c:v>
                </c:pt>
                <c:pt idx="17">
                  <c:v>57.104884108780013</c:v>
                </c:pt>
                <c:pt idx="18">
                  <c:v>52.183387218539998</c:v>
                </c:pt>
                <c:pt idx="19">
                  <c:v>54.008924176130002</c:v>
                </c:pt>
                <c:pt idx="20">
                  <c:v>63.302906409860007</c:v>
                </c:pt>
                <c:pt idx="21">
                  <c:v>59.350146626830004</c:v>
                </c:pt>
                <c:pt idx="22">
                  <c:v>57.16321274125999</c:v>
                </c:pt>
                <c:pt idx="23">
                  <c:v>60.715800000000002</c:v>
                </c:pt>
              </c:numCache>
            </c:numRef>
          </c:val>
          <c:extLst>
            <c:ext xmlns:c16="http://schemas.microsoft.com/office/drawing/2014/chart" uri="{C3380CC4-5D6E-409C-BE32-E72D297353CC}">
              <c16:uniqueId val="{00000000-7656-4E4E-9DCB-72318E1B8DFA}"/>
            </c:ext>
          </c:extLst>
        </c:ser>
        <c:dLbls>
          <c:showLegendKey val="0"/>
          <c:showVal val="0"/>
          <c:showCatName val="0"/>
          <c:showSerName val="0"/>
          <c:showPercent val="0"/>
          <c:showBubbleSize val="0"/>
        </c:dLbls>
        <c:gapWidth val="60"/>
        <c:overlap val="100"/>
        <c:axId val="1917870783"/>
        <c:axId val="1"/>
      </c:barChart>
      <c:catAx>
        <c:axId val="19178707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917870783"/>
        <c:crosses val="min"/>
        <c:crossBetween val="between"/>
        <c:majorUnit val="5"/>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09863155176865E-2"/>
          <c:y val="7.3516386182462354E-2"/>
          <c:w val="0.92047508391427835"/>
          <c:h val="0.8635961027457926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1.3286093888396811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3A-470C-9141-81AC310A8DC5}"/>
                </c:ext>
              </c:extLst>
            </c:dLbl>
            <c:dLbl>
              <c:idx val="1"/>
              <c:layout>
                <c:manualLayout>
                  <c:x val="0"/>
                  <c:y val="-1.3286093888396811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03A-470C-9141-81AC310A8DC5}"/>
                </c:ext>
              </c:extLst>
            </c:dLbl>
            <c:dLbl>
              <c:idx val="2"/>
              <c:layout>
                <c:manualLayout>
                  <c:x val="0"/>
                  <c:y val="-4.8715677590788304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3A-470C-9141-81AC310A8DC5}"/>
                </c:ext>
              </c:extLst>
            </c:dLbl>
            <c:dLbl>
              <c:idx val="3"/>
              <c:layout>
                <c:manualLayout>
                  <c:x val="0"/>
                  <c:y val="4.8715677590788304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03A-470C-9141-81AC310A8DC5}"/>
                </c:ext>
              </c:extLst>
            </c:dLbl>
            <c:dLbl>
              <c:idx val="4"/>
              <c:layout>
                <c:manualLayout>
                  <c:x val="0"/>
                  <c:y val="1.7714791851195749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3A-470C-9141-81AC310A8DC5}"/>
                </c:ext>
              </c:extLst>
            </c:dLbl>
            <c:dLbl>
              <c:idx val="5"/>
              <c:layout>
                <c:manualLayout>
                  <c:x val="0"/>
                  <c:y val="-3.9858281665190436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03A-470C-9141-81AC310A8DC5}"/>
                </c:ext>
              </c:extLst>
            </c:dLbl>
            <c:dLbl>
              <c:idx val="6"/>
              <c:layout>
                <c:manualLayout>
                  <c:x val="0"/>
                  <c:y val="-1.7714791851195749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3A-470C-9141-81AC310A8DC5}"/>
                </c:ext>
              </c:extLst>
            </c:dLbl>
            <c:dLbl>
              <c:idx val="7"/>
              <c:layout>
                <c:manualLayout>
                  <c:x val="0"/>
                  <c:y val="-1.4171833480956599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03A-470C-9141-81AC310A8DC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3710999999999999E-2</c:v>
                </c:pt>
                <c:pt idx="1">
                  <c:v>2.316E-2</c:v>
                </c:pt>
                <c:pt idx="2">
                  <c:v>3.0429999999999999E-2</c:v>
                </c:pt>
                <c:pt idx="3">
                  <c:v>1.0885000000000001E-2</c:v>
                </c:pt>
                <c:pt idx="4">
                  <c:v>1.6988E-2</c:v>
                </c:pt>
                <c:pt idx="5">
                  <c:v>2.8964E-2</c:v>
                </c:pt>
                <c:pt idx="6">
                  <c:v>2.4232E-2</c:v>
                </c:pt>
                <c:pt idx="7">
                  <c:v>5.0139999999999997E-2</c:v>
                </c:pt>
              </c:numCache>
            </c:numRef>
          </c:val>
          <c:extLst>
            <c:ext xmlns:c16="http://schemas.microsoft.com/office/drawing/2014/chart" uri="{C3380CC4-5D6E-409C-BE32-E72D297353CC}">
              <c16:uniqueId val="{00000008-003A-470C-9141-81AC310A8DC5}"/>
            </c:ext>
          </c:extLst>
        </c:ser>
        <c:ser>
          <c:idx val="1"/>
          <c:order val="1"/>
          <c:spPr>
            <a:solidFill>
              <a:srgbClr val="C0E6F4"/>
            </a:solidFill>
            <a:ln w="9525" cmpd="sng" algn="ctr">
              <a:solidFill>
                <a:srgbClr val="808080"/>
              </a:solidFill>
              <a:prstDash val="solid"/>
            </a:ln>
          </c:spPr>
          <c:invertIfNegative val="0"/>
          <c:dLbls>
            <c:dLbl>
              <c:idx val="0"/>
              <c:layout>
                <c:manualLayout>
                  <c:x val="0"/>
                  <c:y val="-0.2147918511957484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03A-470C-9141-81AC310A8DC5}"/>
                </c:ext>
              </c:extLst>
            </c:dLbl>
            <c:dLbl>
              <c:idx val="1"/>
              <c:layout>
                <c:manualLayout>
                  <c:x val="0"/>
                  <c:y val="-0.2816651904340123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03A-470C-9141-81AC310A8DC5}"/>
                </c:ext>
              </c:extLst>
            </c:dLbl>
            <c:dLbl>
              <c:idx val="2"/>
              <c:layout>
                <c:manualLayout>
                  <c:x val="0"/>
                  <c:y val="-0.3069087688219663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03A-470C-9141-81AC310A8DC5}"/>
                </c:ext>
              </c:extLst>
            </c:dLbl>
            <c:dLbl>
              <c:idx val="3"/>
              <c:layout>
                <c:manualLayout>
                  <c:x val="0"/>
                  <c:y val="-0.2697077059344552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03A-470C-9141-81AC310A8DC5}"/>
                </c:ext>
              </c:extLst>
            </c:dLbl>
            <c:dLbl>
              <c:idx val="4"/>
              <c:layout>
                <c:manualLayout>
                  <c:x val="0"/>
                  <c:y val="-0.2887511071744907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03A-470C-9141-81AC310A8DC5}"/>
                </c:ext>
              </c:extLst>
            </c:dLbl>
            <c:dLbl>
              <c:idx val="5"/>
              <c:layout>
                <c:manualLayout>
                  <c:x val="0"/>
                  <c:y val="-0.3520814880425154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03A-470C-9141-81AC310A8DC5}"/>
                </c:ext>
              </c:extLst>
            </c:dLbl>
            <c:dLbl>
              <c:idx val="6"/>
              <c:layout>
                <c:manualLayout>
                  <c:x val="0"/>
                  <c:y val="-0.4171833480956598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03A-470C-9141-81AC310A8DC5}"/>
                </c:ext>
              </c:extLst>
            </c:dLbl>
            <c:dLbl>
              <c:idx val="7"/>
              <c:layout>
                <c:manualLayout>
                  <c:x val="0"/>
                  <c:y val="-0.4512843224092116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03A-470C-9141-81AC310A8DC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0.77618699999999996</c:v>
                </c:pt>
                <c:pt idx="1">
                  <c:v>1.056576</c:v>
                </c:pt>
                <c:pt idx="2">
                  <c:v>1.160668</c:v>
                </c:pt>
                <c:pt idx="3">
                  <c:v>1.0051680000000001</c:v>
                </c:pt>
                <c:pt idx="4">
                  <c:v>1.0857540000000001</c:v>
                </c:pt>
                <c:pt idx="5">
                  <c:v>1.34937</c:v>
                </c:pt>
                <c:pt idx="6">
                  <c:v>1.620954</c:v>
                </c:pt>
                <c:pt idx="7">
                  <c:v>1.763185</c:v>
                </c:pt>
              </c:numCache>
            </c:numRef>
          </c:val>
          <c:extLst>
            <c:ext xmlns:c16="http://schemas.microsoft.com/office/drawing/2014/chart" uri="{C3380CC4-5D6E-409C-BE32-E72D297353CC}">
              <c16:uniqueId val="{00000011-003A-470C-9141-81AC310A8DC5}"/>
            </c:ext>
          </c:extLst>
        </c:ser>
        <c:dLbls>
          <c:showLegendKey val="0"/>
          <c:showVal val="0"/>
          <c:showCatName val="0"/>
          <c:showSerName val="0"/>
          <c:showPercent val="0"/>
          <c:showBubbleSize val="0"/>
        </c:dLbls>
        <c:gapWidth val="60"/>
        <c:axId val="209967487"/>
        <c:axId val="1"/>
      </c:barChart>
      <c:catAx>
        <c:axId val="2099674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8"/>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9967487"/>
        <c:crosses val="min"/>
        <c:crossBetween val="between"/>
        <c:majorUnit val="0.2"/>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394C-4715-9ECD-2018E4B2DFA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394C-4715-9ECD-2018E4B2DFA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394C-4715-9ECD-2018E4B2DFA4}"/>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394C-4715-9ECD-2018E4B2DFA4}"/>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394C-4715-9ECD-2018E4B2DFA4}"/>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394C-4715-9ECD-2018E4B2DFA4}"/>
              </c:ext>
            </c:extLst>
          </c:dPt>
          <c:dLbls>
            <c:dLbl>
              <c:idx val="0"/>
              <c:layout>
                <c:manualLayout>
                  <c:x val="0.12897077509529861"/>
                  <c:y val="-9.0419806243272338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4C-4715-9ECD-2018E4B2DFA4}"/>
                </c:ext>
              </c:extLst>
            </c:dLbl>
            <c:dLbl>
              <c:idx val="1"/>
              <c:layout>
                <c:manualLayout>
                  <c:x val="0.144853875476493"/>
                  <c:y val="7.050592034445640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4C-4715-9ECD-2018E4B2DFA4}"/>
                </c:ext>
              </c:extLst>
            </c:dLbl>
            <c:dLbl>
              <c:idx val="2"/>
              <c:layout>
                <c:manualLayout>
                  <c:x val="7.8780177890724265E-2"/>
                  <c:y val="0.1388589881593110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4C-4715-9ECD-2018E4B2DFA4}"/>
                </c:ext>
              </c:extLst>
            </c:dLbl>
            <c:dLbl>
              <c:idx val="3"/>
              <c:layout>
                <c:manualLayout>
                  <c:x val="-1.8424396442185513E-2"/>
                  <c:y val="0.1614639397201291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4C-4715-9ECD-2018E4B2DFA4}"/>
                </c:ext>
              </c:extLst>
            </c:dLbl>
            <c:dLbl>
              <c:idx val="4"/>
              <c:layout>
                <c:manualLayout>
                  <c:x val="-0.10355781448538755"/>
                  <c:y val="0.1248654467168998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4C-4715-9ECD-2018E4B2DFA4}"/>
                </c:ext>
              </c:extLst>
            </c:dLbl>
            <c:dLbl>
              <c:idx val="5"/>
              <c:layout>
                <c:manualLayout>
                  <c:x val="-0.15247776365946633"/>
                  <c:y val="-5.920344456404736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4C-4715-9ECD-2018E4B2DFA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8.061434279443166</c:v>
                </c:pt>
                <c:pt idx="1">
                  <c:v>10.457836245203991</c:v>
                </c:pt>
                <c:pt idx="2">
                  <c:v>8.7214330884167008</c:v>
                </c:pt>
                <c:pt idx="3">
                  <c:v>8.5871873909998104</c:v>
                </c:pt>
                <c:pt idx="4">
                  <c:v>7.8804549721101305</c:v>
                </c:pt>
                <c:pt idx="5">
                  <c:v>36.291654023826204</c:v>
                </c:pt>
              </c:numCache>
            </c:numRef>
          </c:val>
          <c:extLst>
            <c:ext xmlns:c16="http://schemas.microsoft.com/office/drawing/2014/chart" uri="{C3380CC4-5D6E-409C-BE32-E72D297353CC}">
              <c16:uniqueId val="{00000006-394C-4715-9ECD-2018E4B2DFA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092449922958396E-2"/>
          <c:y val="5.8653448988021481E-2"/>
          <c:w val="0.92655367231638419"/>
          <c:h val="0.88269310202395701"/>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3.139198678232135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DF-497F-A6C2-7C625B9AF828}"/>
                </c:ext>
              </c:extLst>
            </c:dLbl>
            <c:dLbl>
              <c:idx val="1"/>
              <c:layout>
                <c:manualLayout>
                  <c:x val="0"/>
                  <c:y val="-2.726146220570012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DF-497F-A6C2-7C625B9AF828}"/>
                </c:ext>
              </c:extLst>
            </c:dLbl>
            <c:dLbl>
              <c:idx val="2"/>
              <c:layout>
                <c:manualLayout>
                  <c:x val="0"/>
                  <c:y val="-2.8913672036348616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DF-497F-A6C2-7C625B9AF828}"/>
                </c:ext>
              </c:extLst>
            </c:dLbl>
            <c:dLbl>
              <c:idx val="3"/>
              <c:layout>
                <c:manualLayout>
                  <c:x val="0"/>
                  <c:y val="-2.767451466336224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DF-497F-A6C2-7C625B9AF828}"/>
                </c:ext>
              </c:extLst>
            </c:dLbl>
            <c:dLbl>
              <c:idx val="4"/>
              <c:layout>
                <c:manualLayout>
                  <c:x val="0"/>
                  <c:y val="-2.6435357290375879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DF-497F-A6C2-7C625B9AF828}"/>
                </c:ext>
              </c:extLst>
            </c:dLbl>
            <c:dLbl>
              <c:idx val="5"/>
              <c:layout>
                <c:manualLayout>
                  <c:x val="0"/>
                  <c:y val="-3.552251135894258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DF-497F-A6C2-7C625B9AF828}"/>
                </c:ext>
              </c:extLst>
            </c:dLbl>
            <c:dLbl>
              <c:idx val="6"/>
              <c:layout>
                <c:manualLayout>
                  <c:x val="0"/>
                  <c:y val="-4.006608839322593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DF-497F-A6C2-7C625B9AF828}"/>
                </c:ext>
              </c:extLst>
            </c:dLbl>
            <c:dLbl>
              <c:idx val="7"/>
              <c:layout>
                <c:manualLayout>
                  <c:x val="0"/>
                  <c:y val="-4.213135068153655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DF-497F-A6C2-7C625B9AF82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46011600000000002</c:v>
                </c:pt>
                <c:pt idx="1">
                  <c:v>0.40989900000000001</c:v>
                </c:pt>
                <c:pt idx="2">
                  <c:v>0.42905199999999999</c:v>
                </c:pt>
                <c:pt idx="3">
                  <c:v>0.41440900000000003</c:v>
                </c:pt>
                <c:pt idx="4">
                  <c:v>0.40258899999999997</c:v>
                </c:pt>
                <c:pt idx="5">
                  <c:v>0.50448899999999997</c:v>
                </c:pt>
                <c:pt idx="6">
                  <c:v>0.55658099999999999</c:v>
                </c:pt>
                <c:pt idx="7">
                  <c:v>0.57999699999999998</c:v>
                </c:pt>
              </c:numCache>
            </c:numRef>
          </c:val>
          <c:extLst>
            <c:ext xmlns:c16="http://schemas.microsoft.com/office/drawing/2014/chart" uri="{C3380CC4-5D6E-409C-BE32-E72D297353CC}">
              <c16:uniqueId val="{00000008-25DF-497F-A6C2-7C625B9AF828}"/>
            </c:ext>
          </c:extLst>
        </c:ser>
        <c:ser>
          <c:idx val="1"/>
          <c:order val="1"/>
          <c:spPr>
            <a:solidFill>
              <a:srgbClr val="C0E6F4"/>
            </a:solidFill>
            <a:ln w="9525" cmpd="sng" algn="ctr">
              <a:solidFill>
                <a:srgbClr val="808080"/>
              </a:solidFill>
              <a:prstDash val="solid"/>
            </a:ln>
          </c:spPr>
          <c:invertIfNegative val="0"/>
          <c:dLbls>
            <c:dLbl>
              <c:idx val="0"/>
              <c:layout>
                <c:manualLayout>
                  <c:x val="0"/>
                  <c:y val="-0.2556794712928541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DF-497F-A6C2-7C625B9AF828}"/>
                </c:ext>
              </c:extLst>
            </c:dLbl>
            <c:dLbl>
              <c:idx val="1"/>
              <c:layout>
                <c:manualLayout>
                  <c:x val="0"/>
                  <c:y val="-0.2726146220570012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DF-497F-A6C2-7C625B9AF828}"/>
                </c:ext>
              </c:extLst>
            </c:dLbl>
            <c:dLbl>
              <c:idx val="2"/>
              <c:layout>
                <c:manualLayout>
                  <c:x val="0"/>
                  <c:y val="-0.2610491532424618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DF-497F-A6C2-7C625B9AF828}"/>
                </c:ext>
              </c:extLst>
            </c:dLbl>
            <c:dLbl>
              <c:idx val="3"/>
              <c:layout>
                <c:manualLayout>
                  <c:x val="0"/>
                  <c:y val="-0.2742668318876497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DF-497F-A6C2-7C625B9AF828}"/>
                </c:ext>
              </c:extLst>
            </c:dLbl>
            <c:dLbl>
              <c:idx val="4"/>
              <c:layout>
                <c:manualLayout>
                  <c:x val="0"/>
                  <c:y val="-0.3320941759603469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DF-497F-A6C2-7C625B9AF828}"/>
                </c:ext>
              </c:extLst>
            </c:dLbl>
            <c:dLbl>
              <c:idx val="5"/>
              <c:layout>
                <c:manualLayout>
                  <c:x val="0"/>
                  <c:y val="-0.3494423791821561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DF-497F-A6C2-7C625B9AF828}"/>
                </c:ext>
              </c:extLst>
            </c:dLbl>
            <c:dLbl>
              <c:idx val="6"/>
              <c:layout>
                <c:manualLayout>
                  <c:x val="0"/>
                  <c:y val="-0.3725733168112350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DF-497F-A6C2-7C625B9AF828}"/>
                </c:ext>
              </c:extLst>
            </c:dLbl>
            <c:dLbl>
              <c:idx val="7"/>
              <c:layout>
                <c:manualLayout>
                  <c:x val="0"/>
                  <c:y val="-0.4304006608839322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DF-497F-A6C2-7C625B9AF82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5.1945030000000001</c:v>
                </c:pt>
                <c:pt idx="1">
                  <c:v>5.5750909999999996</c:v>
                </c:pt>
                <c:pt idx="2">
                  <c:v>5.3085339999999999</c:v>
                </c:pt>
                <c:pt idx="3">
                  <c:v>5.6145630000000004</c:v>
                </c:pt>
                <c:pt idx="4">
                  <c:v>6.92957</c:v>
                </c:pt>
                <c:pt idx="5">
                  <c:v>7.3197029999999996</c:v>
                </c:pt>
                <c:pt idx="6">
                  <c:v>7.846787</c:v>
                </c:pt>
                <c:pt idx="7">
                  <c:v>9.1514389999999999</c:v>
                </c:pt>
              </c:numCache>
            </c:numRef>
          </c:val>
          <c:extLst>
            <c:ext xmlns:c16="http://schemas.microsoft.com/office/drawing/2014/chart" uri="{C3380CC4-5D6E-409C-BE32-E72D297353CC}">
              <c16:uniqueId val="{00000011-25DF-497F-A6C2-7C625B9AF828}"/>
            </c:ext>
          </c:extLst>
        </c:ser>
        <c:dLbls>
          <c:showLegendKey val="0"/>
          <c:showVal val="0"/>
          <c:showCatName val="0"/>
          <c:showSerName val="0"/>
          <c:showPercent val="0"/>
          <c:showBubbleSize val="0"/>
        </c:dLbls>
        <c:gapWidth val="60"/>
        <c:axId val="1336393648"/>
        <c:axId val="1"/>
      </c:barChart>
      <c:catAx>
        <c:axId val="13363936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36393648"/>
        <c:crosses val="min"/>
        <c:crossBetween val="between"/>
        <c:majorUnit val="1"/>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090909090909088E-2"/>
          <c:y val="0.10441334768568353"/>
          <c:w val="0.92803030303030298"/>
          <c:h val="0.79117330462863289"/>
        </c:manualLayout>
      </c:layout>
      <c:pieChart>
        <c:varyColors val="0"/>
        <c:ser>
          <c:idx val="0"/>
          <c:order val="0"/>
          <c:dPt>
            <c:idx val="0"/>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0-CB32-4AFA-A4CB-F16964E4D992}"/>
              </c:ext>
            </c:extLst>
          </c:dPt>
          <c:dPt>
            <c:idx val="1"/>
            <c:bubble3D val="0"/>
            <c:spPr>
              <a:solidFill>
                <a:srgbClr val="ACC6D0"/>
              </a:solidFill>
              <a:ln w="9525" cmpd="sng" algn="ctr">
                <a:solidFill>
                  <a:srgbClr val="808080"/>
                </a:solidFill>
                <a:prstDash val="solid"/>
              </a:ln>
            </c:spPr>
            <c:extLst>
              <c:ext xmlns:c16="http://schemas.microsoft.com/office/drawing/2014/chart" uri="{C3380CC4-5D6E-409C-BE32-E72D297353CC}">
                <c16:uniqueId val="{00000001-CB32-4AFA-A4CB-F16964E4D992}"/>
              </c:ext>
            </c:extLst>
          </c:dPt>
          <c:dPt>
            <c:idx val="2"/>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2-CB32-4AFA-A4CB-F16964E4D992}"/>
              </c:ext>
            </c:extLst>
          </c:dPt>
          <c:dPt>
            <c:idx val="3"/>
            <c:bubble3D val="0"/>
            <c:spPr>
              <a:solidFill>
                <a:schemeClr val="accent2"/>
              </a:solidFill>
              <a:ln w="9525" cmpd="sng" algn="ctr">
                <a:solidFill>
                  <a:srgbClr val="808080"/>
                </a:solidFill>
                <a:prstDash val="solid"/>
              </a:ln>
            </c:spPr>
            <c:extLst>
              <c:ext xmlns:c16="http://schemas.microsoft.com/office/drawing/2014/chart" uri="{C3380CC4-5D6E-409C-BE32-E72D297353CC}">
                <c16:uniqueId val="{00000003-CB32-4AFA-A4CB-F16964E4D992}"/>
              </c:ext>
            </c:extLst>
          </c:dPt>
          <c:dPt>
            <c:idx val="4"/>
            <c:bubble3D val="0"/>
            <c:spPr>
              <a:solidFill>
                <a:srgbClr val="EBEFCF"/>
              </a:solidFill>
              <a:ln w="9525" cmpd="sng" algn="ctr">
                <a:solidFill>
                  <a:srgbClr val="808080"/>
                </a:solidFill>
                <a:prstDash val="solid"/>
              </a:ln>
            </c:spPr>
            <c:extLst>
              <c:ext xmlns:c16="http://schemas.microsoft.com/office/drawing/2014/chart" uri="{C3380CC4-5D6E-409C-BE32-E72D297353CC}">
                <c16:uniqueId val="{00000004-CB32-4AFA-A4CB-F16964E4D992}"/>
              </c:ext>
            </c:extLst>
          </c:dPt>
          <c:dPt>
            <c:idx val="5"/>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5-CB32-4AFA-A4CB-F16964E4D992}"/>
              </c:ext>
            </c:extLst>
          </c:dPt>
          <c:dLbls>
            <c:dLbl>
              <c:idx val="0"/>
              <c:layout>
                <c:manualLayout>
                  <c:x val="8.3333333333333329E-2"/>
                  <c:y val="-0.1291711517761033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B32-4AFA-A4CB-F16964E4D992}"/>
                </c:ext>
              </c:extLst>
            </c:dLbl>
            <c:dLbl>
              <c:idx val="1"/>
              <c:layout>
                <c:manualLayout>
                  <c:x val="0.1691919191919192"/>
                  <c:y val="-1.668460710441334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B32-4AFA-A4CB-F16964E4D992}"/>
                </c:ext>
              </c:extLst>
            </c:dLbl>
            <c:dLbl>
              <c:idx val="2"/>
              <c:layout>
                <c:manualLayout>
                  <c:x val="0.14267676767676768"/>
                  <c:y val="8.934337997847147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B32-4AFA-A4CB-F16964E4D992}"/>
                </c:ext>
              </c:extLst>
            </c:dLbl>
            <c:dLbl>
              <c:idx val="3"/>
              <c:layout>
                <c:manualLayout>
                  <c:x val="6.8181818181818177E-2"/>
                  <c:y val="0.1442411194833153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B32-4AFA-A4CB-F16964E4D992}"/>
                </c:ext>
              </c:extLst>
            </c:dLbl>
            <c:dLbl>
              <c:idx val="4"/>
              <c:layout>
                <c:manualLayout>
                  <c:x val="-1.893939393939394E-2"/>
                  <c:y val="0.16092572658772875"/>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B32-4AFA-A4CB-F16964E4D992}"/>
                </c:ext>
              </c:extLst>
            </c:dLbl>
            <c:dLbl>
              <c:idx val="5"/>
              <c:layout>
                <c:manualLayout>
                  <c:x val="-0.16792929292929293"/>
                  <c:y val="-2.3681377825618945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B32-4AFA-A4CB-F16964E4D9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5.911442998199519</c:v>
                </c:pt>
                <c:pt idx="1">
                  <c:v>14.50663660654898</c:v>
                </c:pt>
                <c:pt idx="2">
                  <c:v>9.4144647634104324</c:v>
                </c:pt>
                <c:pt idx="3">
                  <c:v>8.1478552170866241</c:v>
                </c:pt>
                <c:pt idx="4">
                  <c:v>7.2482262079220554</c:v>
                </c:pt>
                <c:pt idx="5">
                  <c:v>44.771374206832391</c:v>
                </c:pt>
              </c:numCache>
            </c:numRef>
          </c:val>
          <c:extLst>
            <c:ext xmlns:c16="http://schemas.microsoft.com/office/drawing/2014/chart" uri="{C3380CC4-5D6E-409C-BE32-E72D297353CC}">
              <c16:uniqueId val="{00000006-CB32-4AFA-A4CB-F16964E4D99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022269353128315E-2"/>
          <c:y val="7.809288943690916E-2"/>
          <c:w val="0.92824319547543299"/>
          <c:h val="0.86354295108919032"/>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1"/>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28-4830-AD24-BE41FB8C4920}"/>
                </c:ext>
              </c:extLst>
            </c:dLbl>
            <c:dLbl>
              <c:idx val="2"/>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28-4830-AD24-BE41FB8C4920}"/>
                </c:ext>
              </c:extLst>
            </c:dLbl>
            <c:dLbl>
              <c:idx val="3"/>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28-4830-AD24-BE41FB8C4920}"/>
                </c:ext>
              </c:extLst>
            </c:dLbl>
            <c:dLbl>
              <c:idx val="4"/>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28-4830-AD24-BE41FB8C4920}"/>
                </c:ext>
              </c:extLst>
            </c:dLbl>
            <c:dLbl>
              <c:idx val="5"/>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28-4830-AD24-BE41FB8C4920}"/>
                </c:ext>
              </c:extLst>
            </c:dLbl>
            <c:dLbl>
              <c:idx val="6"/>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28-4830-AD24-BE41FB8C4920}"/>
                </c:ext>
              </c:extLst>
            </c:dLbl>
            <c:dLbl>
              <c:idx val="7"/>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28-4830-AD24-BE41FB8C4920}"/>
                </c:ext>
              </c:extLst>
            </c:dLbl>
            <c:dLbl>
              <c:idx val="8"/>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28-4830-AD24-BE41FB8C4920}"/>
                </c:ext>
              </c:extLst>
            </c:dLbl>
            <c:dLbl>
              <c:idx val="9"/>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28-4830-AD24-BE41FB8C4920}"/>
                </c:ext>
              </c:extLst>
            </c:dLbl>
            <c:dLbl>
              <c:idx val="10"/>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D28-4830-AD24-BE41FB8C492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9.970486081945296</c:v>
                </c:pt>
                <c:pt idx="1">
                  <c:v>80.9775503092999</c:v>
                </c:pt>
                <c:pt idx="2">
                  <c:v>82.079166854446498</c:v>
                </c:pt>
                <c:pt idx="3">
                  <c:v>82.956277340616296</c:v>
                </c:pt>
                <c:pt idx="4">
                  <c:v>83.806435285194198</c:v>
                </c:pt>
                <c:pt idx="5">
                  <c:v>84.612312106218496</c:v>
                </c:pt>
                <c:pt idx="6">
                  <c:v>85.358849684256697</c:v>
                </c:pt>
                <c:pt idx="7">
                  <c:v>86.030989852138106</c:v>
                </c:pt>
                <c:pt idx="8">
                  <c:v>86.613674337915995</c:v>
                </c:pt>
                <c:pt idx="9">
                  <c:v>87.091844595872402</c:v>
                </c:pt>
                <c:pt idx="10">
                  <c:v>87.450458997075103</c:v>
                </c:pt>
              </c:numCache>
            </c:numRef>
          </c:val>
          <c:smooth val="0"/>
          <c:extLst>
            <c:ext xmlns:c16="http://schemas.microsoft.com/office/drawing/2014/chart" uri="{C3380CC4-5D6E-409C-BE32-E72D297353CC}">
              <c16:uniqueId val="{0000000A-1D28-4830-AD24-BE41FB8C4920}"/>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1"/>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D28-4830-AD24-BE41FB8C4920}"/>
                </c:ext>
              </c:extLst>
            </c:dLbl>
            <c:dLbl>
              <c:idx val="2"/>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D28-4830-AD24-BE41FB8C4920}"/>
                </c:ext>
              </c:extLst>
            </c:dLbl>
            <c:dLbl>
              <c:idx val="3"/>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D28-4830-AD24-BE41FB8C4920}"/>
                </c:ext>
              </c:extLst>
            </c:dLbl>
            <c:dLbl>
              <c:idx val="4"/>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D28-4830-AD24-BE41FB8C4920}"/>
                </c:ext>
              </c:extLst>
            </c:dLbl>
            <c:dLbl>
              <c:idx val="5"/>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D28-4830-AD24-BE41FB8C4920}"/>
                </c:ext>
              </c:extLst>
            </c:dLbl>
            <c:dLbl>
              <c:idx val="6"/>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D28-4830-AD24-BE41FB8C4920}"/>
                </c:ext>
              </c:extLst>
            </c:dLbl>
            <c:dLbl>
              <c:idx val="7"/>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D28-4830-AD24-BE41FB8C4920}"/>
                </c:ext>
              </c:extLst>
            </c:dLbl>
            <c:dLbl>
              <c:idx val="8"/>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D28-4830-AD24-BE41FB8C4920}"/>
                </c:ext>
              </c:extLst>
            </c:dLbl>
            <c:dLbl>
              <c:idx val="9"/>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D28-4830-AD24-BE41FB8C4920}"/>
                </c:ext>
              </c:extLst>
            </c:dLbl>
            <c:dLbl>
              <c:idx val="10"/>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D28-4830-AD24-BE41FB8C492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0.0295139180547</c:v>
                </c:pt>
                <c:pt idx="1">
                  <c:v>19.0224496907001</c:v>
                </c:pt>
                <c:pt idx="2">
                  <c:v>17.920833145553502</c:v>
                </c:pt>
                <c:pt idx="3">
                  <c:v>17.0437226593837</c:v>
                </c:pt>
                <c:pt idx="4">
                  <c:v>16.193564714805799</c:v>
                </c:pt>
                <c:pt idx="5">
                  <c:v>15.3876878937815</c:v>
                </c:pt>
                <c:pt idx="6">
                  <c:v>14.6411503157433</c:v>
                </c:pt>
                <c:pt idx="7">
                  <c:v>13.9690101478619</c:v>
                </c:pt>
                <c:pt idx="8">
                  <c:v>13.386325662083999</c:v>
                </c:pt>
                <c:pt idx="9">
                  <c:v>12.9081554041276</c:v>
                </c:pt>
                <c:pt idx="10">
                  <c:v>12.549541002924901</c:v>
                </c:pt>
              </c:numCache>
            </c:numRef>
          </c:val>
          <c:smooth val="0"/>
          <c:extLst>
            <c:ext xmlns:c16="http://schemas.microsoft.com/office/drawing/2014/chart" uri="{C3380CC4-5D6E-409C-BE32-E72D297353CC}">
              <c16:uniqueId val="{00000015-1D28-4830-AD24-BE41FB8C4920}"/>
            </c:ext>
          </c:extLst>
        </c:ser>
        <c:dLbls>
          <c:showLegendKey val="0"/>
          <c:showVal val="0"/>
          <c:showCatName val="0"/>
          <c:showSerName val="0"/>
          <c:showPercent val="0"/>
          <c:showBubbleSize val="0"/>
        </c:dLbls>
        <c:marker val="1"/>
        <c:smooth val="0"/>
        <c:axId val="1299359120"/>
        <c:axId val="1"/>
      </c:lineChart>
      <c:catAx>
        <c:axId val="12993591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99359120"/>
        <c:crosses val="min"/>
        <c:crossBetween val="midCat"/>
        <c:majorUnit val="5"/>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225062531174677"/>
          <c:y val="4.7100974074743396E-2"/>
          <c:w val="0.77561990258046121"/>
          <c:h val="0.90385710108610751"/>
        </c:manualLayout>
      </c:layout>
      <c:pieChart>
        <c:varyColors val="1"/>
        <c:ser>
          <c:idx val="0"/>
          <c:order val="0"/>
          <c:tx>
            <c:strRef>
              <c:f>Sheet1!$B$1</c:f>
              <c:strCache>
                <c:ptCount val="1"/>
                <c:pt idx="0">
                  <c:v>海外への医療渡航者の治療件数</c:v>
                </c:pt>
              </c:strCache>
            </c:strRef>
          </c:tx>
          <c:dPt>
            <c:idx val="0"/>
            <c:bubble3D val="0"/>
            <c:spPr>
              <a:solidFill>
                <a:schemeClr val="accent2">
                  <a:shade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33C5-4765-938E-11F2A65C5242}"/>
              </c:ext>
            </c:extLst>
          </c:dPt>
          <c:dPt>
            <c:idx val="1"/>
            <c:bubble3D val="0"/>
            <c:spPr>
              <a:solidFill>
                <a:schemeClr val="accent2">
                  <a:shade val="58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33C5-4765-938E-11F2A65C5242}"/>
              </c:ext>
            </c:extLst>
          </c:dPt>
          <c:dPt>
            <c:idx val="2"/>
            <c:bubble3D val="0"/>
            <c:spPr>
              <a:solidFill>
                <a:schemeClr val="accent2">
                  <a:shade val="72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33C5-4765-938E-11F2A65C5242}"/>
              </c:ext>
            </c:extLst>
          </c:dPt>
          <c:dPt>
            <c:idx val="3"/>
            <c:bubble3D val="0"/>
            <c:spPr>
              <a:solidFill>
                <a:schemeClr val="accent2">
                  <a:shade val="86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33C5-4765-938E-11F2A65C5242}"/>
              </c:ext>
            </c:extLst>
          </c:dPt>
          <c:dPt>
            <c:idx val="4"/>
            <c:bubble3D val="0"/>
            <c:spPr>
              <a:solidFill>
                <a:schemeClr val="accent2"/>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33C5-4765-938E-11F2A65C5242}"/>
              </c:ext>
            </c:extLst>
          </c:dPt>
          <c:dPt>
            <c:idx val="5"/>
            <c:bubble3D val="0"/>
            <c:spPr>
              <a:solidFill>
                <a:schemeClr val="accent2">
                  <a:tint val="86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33C5-4765-938E-11F2A65C5242}"/>
              </c:ext>
            </c:extLst>
          </c:dPt>
          <c:dPt>
            <c:idx val="6"/>
            <c:bubble3D val="0"/>
            <c:spPr>
              <a:solidFill>
                <a:schemeClr val="accent2">
                  <a:tint val="72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33C5-4765-938E-11F2A65C5242}"/>
              </c:ext>
            </c:extLst>
          </c:dPt>
          <c:dPt>
            <c:idx val="7"/>
            <c:bubble3D val="0"/>
            <c:spPr>
              <a:solidFill>
                <a:schemeClr val="accent2">
                  <a:tint val="58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33C5-4765-938E-11F2A65C5242}"/>
              </c:ext>
            </c:extLst>
          </c:dPt>
          <c:dPt>
            <c:idx val="8"/>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33C5-4765-938E-11F2A65C5242}"/>
              </c:ext>
            </c:extLst>
          </c:dPt>
          <c:dLbls>
            <c:dLbl>
              <c:idx val="1"/>
              <c:layout>
                <c:manualLayout>
                  <c:x val="-1.751063564296795E-2"/>
                  <c:y val="-3.246004388037300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3C5-4765-938E-11F2A65C5242}"/>
                </c:ext>
              </c:extLst>
            </c:dLbl>
            <c:dLbl>
              <c:idx val="2"/>
              <c:layout>
                <c:manualLayout>
                  <c:x val="-1.3346689214482536E-3"/>
                  <c:y val="2.792873281039639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3C5-4765-938E-11F2A65C5242}"/>
                </c:ext>
              </c:extLst>
            </c:dLbl>
            <c:dLbl>
              <c:idx val="3"/>
              <c:tx>
                <c:rich>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r>
                      <a:rPr lang="zh-TW" altLang="en-US" sz="900" baseline="0" dirty="0"/>
                      <a:t>循環器</a:t>
                    </a:r>
                    <a:r>
                      <a:rPr lang="en-US" altLang="zh-TW" sz="900" baseline="0" dirty="0"/>
                      <a:t>/</a:t>
                    </a:r>
                    <a:r>
                      <a:rPr lang="zh-TW" altLang="en-US" sz="900" baseline="0" dirty="0"/>
                      <a:t>心臓外科
</a:t>
                    </a:r>
                    <a:fld id="{E29D21AC-DD12-48EB-9B65-4B9EF9531C7E}" type="PERCENTAGE">
                      <a:rPr lang="en-US" altLang="zh-TW" sz="900" baseline="0" dirty="0"/>
                      <a:pPr>
                        <a:defRPr lang="ja-JP" sz="900">
                          <a:solidFill>
                            <a:schemeClr val="tx1"/>
                          </a:solidFill>
                        </a:defRPr>
                      </a:pPr>
                      <a:t>[パーセンテージ]</a:t>
                    </a:fld>
                    <a:endParaRPr lang="zh-TW" altLang="en-US" sz="900" baseline="0" dirty="0"/>
                  </a:p>
                </c:rich>
              </c:tx>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zh-TW" altLang="en-US"/>
                </a:p>
              </c:txPr>
              <c:dLblPos val="in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23405170601159425"/>
                      <c:h val="0.25087779376394337"/>
                    </c:manualLayout>
                  </c15:layout>
                  <c15:dlblFieldTable/>
                  <c15:showDataLabelsRange val="0"/>
                </c:ext>
                <c:ext xmlns:c16="http://schemas.microsoft.com/office/drawing/2014/chart" uri="{C3380CC4-5D6E-409C-BE32-E72D297353CC}">
                  <c16:uniqueId val="{00000007-33C5-4765-938E-11F2A65C5242}"/>
                </c:ext>
              </c:extLst>
            </c:dLbl>
            <c:dLbl>
              <c:idx val="4"/>
              <c:layout>
                <c:manualLayout>
                  <c:x val="-3.5021271285935504E-2"/>
                  <c:y val="-1.0184500228829725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9047938467350592"/>
                      <c:h val="0.15667394047012351"/>
                    </c:manualLayout>
                  </c15:layout>
                </c:ext>
                <c:ext xmlns:c16="http://schemas.microsoft.com/office/drawing/2014/chart" uri="{C3380CC4-5D6E-409C-BE32-E72D297353CC}">
                  <c16:uniqueId val="{00000009-33C5-4765-938E-11F2A65C5242}"/>
                </c:ext>
              </c:extLst>
            </c:dLbl>
            <c:dLbl>
              <c:idx val="6"/>
              <c:layout>
                <c:manualLayout>
                  <c:x val="0.10793635090762313"/>
                  <c:y val="-5.0912664992170141E-2"/>
                </c:manualLayout>
              </c:layout>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extLst>
                <c:ext xmlns:c15="http://schemas.microsoft.com/office/drawing/2012/chart" uri="{CE6537A1-D6FC-4f65-9D91-7224C49458BB}">
                  <c15:layout>
                    <c:manualLayout>
                      <c:w val="0.34209232792870548"/>
                      <c:h val="0.21651226382563954"/>
                    </c:manualLayout>
                  </c15:layout>
                </c:ext>
                <c:ext xmlns:c16="http://schemas.microsoft.com/office/drawing/2014/chart" uri="{C3380CC4-5D6E-409C-BE32-E72D297353CC}">
                  <c16:uniqueId val="{0000000D-33C5-4765-938E-11F2A65C5242}"/>
                </c:ext>
              </c:extLst>
            </c:dLbl>
            <c:dLbl>
              <c:idx val="7"/>
              <c:layout>
                <c:manualLayout>
                  <c:x val="0.11271678890790854"/>
                  <c:y val="-5.7632612671265036E-2"/>
                </c:manualLayout>
              </c:layout>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extLst>
                <c:ext xmlns:c15="http://schemas.microsoft.com/office/drawing/2012/chart" uri="{CE6537A1-D6FC-4f65-9D91-7224C49458BB}">
                  <c15:layout>
                    <c:manualLayout>
                      <c:w val="0.24768794116977941"/>
                      <c:h val="0.26034289939323929"/>
                    </c:manualLayout>
                  </c15:layout>
                </c:ext>
                <c:ext xmlns:c16="http://schemas.microsoft.com/office/drawing/2014/chart" uri="{C3380CC4-5D6E-409C-BE32-E72D297353CC}">
                  <c16:uniqueId val="{0000000F-33C5-4765-938E-11F2A65C5242}"/>
                </c:ext>
              </c:extLst>
            </c:dLbl>
            <c:dLbl>
              <c:idx val="8"/>
              <c:layout>
                <c:manualLayout>
                  <c:x val="0.12335474979348202"/>
                  <c:y val="0.1284131756208524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33C5-4765-938E-11F2A65C5242}"/>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solidFill>
                    <a:latin typeface="+mn-lt"/>
                    <a:ea typeface="+mn-ea"/>
                    <a:cs typeface="+mn-cs"/>
                  </a:defRPr>
                </a:pPr>
                <a:endParaRPr lang="ja-JP"/>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A$2:$A$10</c:f>
              <c:strCache>
                <c:ptCount val="9"/>
                <c:pt idx="0">
                  <c:v>悪性腫瘍</c:v>
                </c:pt>
                <c:pt idx="1">
                  <c:v>小児科</c:v>
                </c:pt>
                <c:pt idx="2">
                  <c:v>一般外科</c:v>
                </c:pt>
                <c:pt idx="3">
                  <c:v>循環器/心臓外科</c:v>
                </c:pt>
                <c:pt idx="4">
                  <c:v>脳神経外科</c:v>
                </c:pt>
                <c:pt idx="5">
                  <c:v>泌尿器科</c:v>
                </c:pt>
                <c:pt idx="6">
                  <c:v>リハビリテーション</c:v>
                </c:pt>
                <c:pt idx="7">
                  <c:v>形成外科</c:v>
                </c:pt>
                <c:pt idx="8">
                  <c:v>その他</c:v>
                </c:pt>
              </c:strCache>
            </c:strRef>
          </c:cat>
          <c:val>
            <c:numRef>
              <c:f>Sheet1!$B$2:$B$10</c:f>
              <c:numCache>
                <c:formatCode>General</c:formatCode>
                <c:ptCount val="9"/>
                <c:pt idx="0">
                  <c:v>25</c:v>
                </c:pt>
                <c:pt idx="1">
                  <c:v>2</c:v>
                </c:pt>
                <c:pt idx="2">
                  <c:v>2</c:v>
                </c:pt>
                <c:pt idx="3">
                  <c:v>12</c:v>
                </c:pt>
                <c:pt idx="4">
                  <c:v>2</c:v>
                </c:pt>
                <c:pt idx="5">
                  <c:v>10</c:v>
                </c:pt>
                <c:pt idx="6">
                  <c:v>7</c:v>
                </c:pt>
                <c:pt idx="7">
                  <c:v>26</c:v>
                </c:pt>
                <c:pt idx="8">
                  <c:v>16</c:v>
                </c:pt>
              </c:numCache>
            </c:numRef>
          </c:val>
          <c:extLst>
            <c:ext xmlns:c16="http://schemas.microsoft.com/office/drawing/2014/chart" uri="{C3380CC4-5D6E-409C-BE32-E72D297353CC}">
              <c16:uniqueId val="{00000012-33C5-4765-938E-11F2A65C5242}"/>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no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174613948752754E-2"/>
          <c:y val="8.5608514576584915E-2"/>
          <c:w val="0.94400135754284742"/>
          <c:h val="0.84868116612679312"/>
        </c:manualLayout>
      </c:layout>
      <c:barChart>
        <c:barDir val="col"/>
        <c:grouping val="stacked"/>
        <c:varyColors val="0"/>
        <c:ser>
          <c:idx val="0"/>
          <c:order val="0"/>
          <c:spPr>
            <a:solidFill>
              <a:srgbClr val="C0E6F4"/>
            </a:solidFill>
            <a:ln w="9525" cmpd="sng" algn="ctr">
              <a:solidFill>
                <a:schemeClr val="tx1"/>
              </a:solidFill>
              <a:prstDash val="solid"/>
            </a:ln>
          </c:spPr>
          <c:invertIfNegative val="0"/>
          <c:dLbls>
            <c:dLbl>
              <c:idx val="0"/>
              <c:layout>
                <c:manualLayout>
                  <c:x val="0"/>
                  <c:y val="-0.3590930124942156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000-40FD-B798-30CDCF3EBC5F}"/>
                </c:ext>
              </c:extLst>
            </c:dLbl>
            <c:dLbl>
              <c:idx val="1"/>
              <c:layout>
                <c:manualLayout>
                  <c:x val="0"/>
                  <c:y val="-0.36418324849606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000-40FD-B798-30CDCF3EBC5F}"/>
                </c:ext>
              </c:extLst>
            </c:dLbl>
            <c:dLbl>
              <c:idx val="2"/>
              <c:layout>
                <c:manualLayout>
                  <c:x val="0"/>
                  <c:y val="-0.3766774641369736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000-40FD-B798-30CDCF3EBC5F}"/>
                </c:ext>
              </c:extLst>
            </c:dLbl>
            <c:dLbl>
              <c:idx val="3"/>
              <c:layout>
                <c:manualLayout>
                  <c:x val="0"/>
                  <c:y val="-0.3701989819527996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000-40FD-B798-30CDCF3EBC5F}"/>
                </c:ext>
              </c:extLst>
            </c:dLbl>
            <c:dLbl>
              <c:idx val="4"/>
              <c:layout>
                <c:manualLayout>
                  <c:x val="0"/>
                  <c:y val="-0.4488662656177695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000-40FD-B798-30CDCF3EBC5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1</c:v>
                </c:pt>
                <c:pt idx="1">
                  <c:v>102.5</c:v>
                </c:pt>
                <c:pt idx="2">
                  <c:v>106.4</c:v>
                </c:pt>
                <c:pt idx="3">
                  <c:v>104.3</c:v>
                </c:pt>
                <c:pt idx="4">
                  <c:v>128.5</c:v>
                </c:pt>
              </c:numCache>
            </c:numRef>
          </c:val>
          <c:extLst>
            <c:ext xmlns:c16="http://schemas.microsoft.com/office/drawing/2014/chart" uri="{C3380CC4-5D6E-409C-BE32-E72D297353CC}">
              <c16:uniqueId val="{00000005-D000-40FD-B798-30CDCF3EBC5F}"/>
            </c:ext>
          </c:extLst>
        </c:ser>
        <c:dLbls>
          <c:showLegendKey val="0"/>
          <c:showVal val="0"/>
          <c:showCatName val="0"/>
          <c:showSerName val="0"/>
          <c:showPercent val="0"/>
          <c:showBubbleSize val="0"/>
        </c:dLbls>
        <c:gapWidth val="60"/>
        <c:overlap val="100"/>
        <c:axId val="1384800544"/>
        <c:axId val="1"/>
      </c:barChart>
      <c:catAx>
        <c:axId val="13848005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84800544"/>
        <c:crosses val="min"/>
        <c:crossBetween val="between"/>
        <c:majorUnit val="1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269456394211966E-2"/>
          <c:y val="0.33156498673740054"/>
          <c:w val="0.9489636292530309"/>
          <c:h val="0.48010610079575594"/>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3A-499F-98DE-33BF7036F91E}"/>
                </c:ext>
              </c:extLst>
            </c:dLbl>
            <c:dLbl>
              <c:idx val="1"/>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3A-499F-98DE-33BF7036F91E}"/>
                </c:ext>
              </c:extLst>
            </c:dLbl>
            <c:dLbl>
              <c:idx val="2"/>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3A-499F-98DE-33BF7036F91E}"/>
                </c:ext>
              </c:extLst>
            </c:dLbl>
            <c:dLbl>
              <c:idx val="3"/>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3A-499F-98DE-33BF7036F91E}"/>
                </c:ext>
              </c:extLst>
            </c:dLbl>
            <c:dLbl>
              <c:idx val="4"/>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F3A-499F-98DE-33BF7036F9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9.9</c:v>
                </c:pt>
                <c:pt idx="1">
                  <c:v>10.4</c:v>
                </c:pt>
                <c:pt idx="2">
                  <c:v>10.7</c:v>
                </c:pt>
                <c:pt idx="3">
                  <c:v>9.4</c:v>
                </c:pt>
                <c:pt idx="4">
                  <c:v>11</c:v>
                </c:pt>
              </c:numCache>
            </c:numRef>
          </c:val>
          <c:smooth val="0"/>
          <c:extLst>
            <c:ext xmlns:c16="http://schemas.microsoft.com/office/drawing/2014/chart" uri="{C3380CC4-5D6E-409C-BE32-E72D297353CC}">
              <c16:uniqueId val="{00000005-6F3A-499F-98DE-33BF7036F91E}"/>
            </c:ext>
          </c:extLst>
        </c:ser>
        <c:dLbls>
          <c:showLegendKey val="0"/>
          <c:showVal val="0"/>
          <c:showCatName val="0"/>
          <c:showSerName val="0"/>
          <c:showPercent val="0"/>
          <c:showBubbleSize val="0"/>
        </c:dLbls>
        <c:marker val="1"/>
        <c:smooth val="0"/>
        <c:axId val="46739247"/>
        <c:axId val="1"/>
      </c:lineChart>
      <c:catAx>
        <c:axId val="46739247"/>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1"/>
          <c:min val="0"/>
        </c:scaling>
        <c:delete val="1"/>
        <c:axPos val="l"/>
        <c:numFmt formatCode="General" sourceLinked="1"/>
        <c:majorTickMark val="out"/>
        <c:minorTickMark val="none"/>
        <c:tickLblPos val="nextTo"/>
        <c:crossAx val="46739247"/>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13755373192657E-2"/>
          <c:y val="0.15653495440729484"/>
          <c:w val="0.87416959749902301"/>
          <c:h val="0.7355623100303951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23"/>
              <c:layout>
                <c:manualLayout>
                  <c:x val="3.1262211801484957E-3"/>
                  <c:y val="-0.410334346504559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BD-46BD-A166-E19C9E285E05}"/>
                </c:ext>
              </c:extLst>
            </c:dLbl>
            <c:dLbl>
              <c:idx val="24"/>
              <c:layout>
                <c:manualLayout>
                  <c:x val="1.1332551778038297E-2"/>
                  <c:y val="-0.416413373860182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BD-46BD-A166-E19C9E285E0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89.51499999999999</c:v>
                </c:pt>
                <c:pt idx="1">
                  <c:v>184.13800000000001</c:v>
                </c:pt>
                <c:pt idx="2">
                  <c:v>189.60599999999999</c:v>
                </c:pt>
                <c:pt idx="3">
                  <c:v>215.80799999999999</c:v>
                </c:pt>
                <c:pt idx="4">
                  <c:v>258.74200000000002</c:v>
                </c:pt>
                <c:pt idx="5">
                  <c:v>328.20499999999998</c:v>
                </c:pt>
                <c:pt idx="6">
                  <c:v>376.39800000000002</c:v>
                </c:pt>
                <c:pt idx="7">
                  <c:v>415.68700000000001</c:v>
                </c:pt>
                <c:pt idx="8">
                  <c:v>519.79700000000003</c:v>
                </c:pt>
                <c:pt idx="9">
                  <c:v>429.09800000000001</c:v>
                </c:pt>
                <c:pt idx="10">
                  <c:v>528.20699999999999</c:v>
                </c:pt>
                <c:pt idx="11">
                  <c:v>680.66099999999994</c:v>
                </c:pt>
                <c:pt idx="12">
                  <c:v>751.92100000000005</c:v>
                </c:pt>
                <c:pt idx="13">
                  <c:v>769.755</c:v>
                </c:pt>
                <c:pt idx="14">
                  <c:v>787.15300000000002</c:v>
                </c:pt>
                <c:pt idx="15">
                  <c:v>693.41499999999996</c:v>
                </c:pt>
                <c:pt idx="16">
                  <c:v>689.279</c:v>
                </c:pt>
                <c:pt idx="17">
                  <c:v>741.26599999999996</c:v>
                </c:pt>
                <c:pt idx="18">
                  <c:v>886.56399999999996</c:v>
                </c:pt>
                <c:pt idx="19">
                  <c:v>888.88800000000003</c:v>
                </c:pt>
                <c:pt idx="20">
                  <c:v>767.303</c:v>
                </c:pt>
                <c:pt idx="21">
                  <c:v>982.66099999999994</c:v>
                </c:pt>
                <c:pt idx="22">
                  <c:v>1239.075</c:v>
                </c:pt>
                <c:pt idx="23">
                  <c:v>1218.585</c:v>
                </c:pt>
                <c:pt idx="24">
                  <c:v>1239.8050000000001</c:v>
                </c:pt>
              </c:numCache>
            </c:numRef>
          </c:val>
          <c:extLst>
            <c:ext xmlns:c16="http://schemas.microsoft.com/office/drawing/2014/chart" uri="{C3380CC4-5D6E-409C-BE32-E72D297353CC}">
              <c16:uniqueId val="{00000002-F2BD-46BD-A166-E19C9E285E05}"/>
            </c:ext>
          </c:extLst>
        </c:ser>
        <c:dLbls>
          <c:showLegendKey val="0"/>
          <c:showVal val="0"/>
          <c:showCatName val="0"/>
          <c:showSerName val="0"/>
          <c:showPercent val="0"/>
          <c:showBubbleSize val="0"/>
        </c:dLbls>
        <c:gapWidth val="60"/>
        <c:overlap val="100"/>
        <c:axId val="1130842943"/>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BD-46BD-A166-E19C9E285E05}"/>
                </c:ext>
              </c:extLst>
            </c:dLbl>
            <c:dLbl>
              <c:idx val="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BD-46BD-A166-E19C9E285E05}"/>
                </c:ext>
              </c:extLst>
            </c:dLbl>
            <c:dLbl>
              <c:idx val="3"/>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BD-46BD-A166-E19C9E285E05}"/>
                </c:ext>
              </c:extLst>
            </c:dLbl>
            <c:dLbl>
              <c:idx val="4"/>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BD-46BD-A166-E19C9E285E05}"/>
                </c:ext>
              </c:extLst>
            </c:dLbl>
            <c:dLbl>
              <c:idx val="5"/>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BD-46BD-A166-E19C9E285E05}"/>
                </c:ext>
              </c:extLst>
            </c:dLbl>
            <c:dLbl>
              <c:idx val="6"/>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BD-46BD-A166-E19C9E285E05}"/>
                </c:ext>
              </c:extLst>
            </c:dLbl>
            <c:dLbl>
              <c:idx val="7"/>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BD-46BD-A166-E19C9E285E05}"/>
                </c:ext>
              </c:extLst>
            </c:dLbl>
            <c:dLbl>
              <c:idx val="8"/>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BD-46BD-A166-E19C9E285E05}"/>
                </c:ext>
              </c:extLst>
            </c:dLbl>
            <c:dLbl>
              <c:idx val="1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BD-46BD-A166-E19C9E285E0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718</c:v>
                </c:pt>
                <c:pt idx="1">
                  <c:v>0.34499999999999997</c:v>
                </c:pt>
                <c:pt idx="2">
                  <c:v>-0.68799999999999994</c:v>
                </c:pt>
                <c:pt idx="3">
                  <c:v>8.7690000000000001</c:v>
                </c:pt>
                <c:pt idx="4">
                  <c:v>8.6310000000000002</c:v>
                </c:pt>
                <c:pt idx="5">
                  <c:v>5.9450000000000003</c:v>
                </c:pt>
                <c:pt idx="6">
                  <c:v>3.3130000000000002</c:v>
                </c:pt>
                <c:pt idx="7">
                  <c:v>2.214</c:v>
                </c:pt>
                <c:pt idx="8">
                  <c:v>6.2380000000000004</c:v>
                </c:pt>
                <c:pt idx="9">
                  <c:v>-1.0669999999999999</c:v>
                </c:pt>
                <c:pt idx="10">
                  <c:v>5.04</c:v>
                </c:pt>
                <c:pt idx="11">
                  <c:v>11.759</c:v>
                </c:pt>
                <c:pt idx="12">
                  <c:v>5.7619999999999996</c:v>
                </c:pt>
                <c:pt idx="13">
                  <c:v>2.9460000000000002</c:v>
                </c:pt>
                <c:pt idx="14">
                  <c:v>4.0250000000000004</c:v>
                </c:pt>
                <c:pt idx="15">
                  <c:v>4.6550000000000002</c:v>
                </c:pt>
                <c:pt idx="16">
                  <c:v>1.704</c:v>
                </c:pt>
                <c:pt idx="17">
                  <c:v>1.1819999999999999</c:v>
                </c:pt>
                <c:pt idx="18">
                  <c:v>3.2269999999999999</c:v>
                </c:pt>
                <c:pt idx="19">
                  <c:v>1.6519999999999999</c:v>
                </c:pt>
                <c:pt idx="20">
                  <c:v>-3.8050000000000002</c:v>
                </c:pt>
                <c:pt idx="21">
                  <c:v>6.52</c:v>
                </c:pt>
                <c:pt idx="22">
                  <c:v>12.000999999999999</c:v>
                </c:pt>
                <c:pt idx="23">
                  <c:v>0.54300000000000004</c:v>
                </c:pt>
                <c:pt idx="24">
                  <c:v>1.9970000000000001</c:v>
                </c:pt>
              </c:numCache>
            </c:numRef>
          </c:val>
          <c:smooth val="0"/>
          <c:extLst>
            <c:ext xmlns:c16="http://schemas.microsoft.com/office/drawing/2014/chart" uri="{C3380CC4-5D6E-409C-BE32-E72D297353CC}">
              <c16:uniqueId val="{0000000C-F2BD-46BD-A166-E19C9E285E05}"/>
            </c:ext>
          </c:extLst>
        </c:ser>
        <c:dLbls>
          <c:showLegendKey val="0"/>
          <c:showVal val="0"/>
          <c:showCatName val="0"/>
          <c:showSerName val="0"/>
          <c:showPercent val="0"/>
          <c:showBubbleSize val="0"/>
        </c:dLbls>
        <c:marker val="1"/>
        <c:smooth val="0"/>
        <c:axId val="2"/>
        <c:axId val="3"/>
      </c:lineChart>
      <c:catAx>
        <c:axId val="113084294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39.8050000000001"/>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30842943"/>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692547795552081E-2"/>
          <c:y val="0.13615733736762481"/>
          <c:w val="0.91338275458447127"/>
          <c:h val="0.7564296520423600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8.5836909871244635E-3"/>
                  <c:y val="-0.209531013615733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A1-4137-8F69-ED398C10BBC7}"/>
                </c:ext>
              </c:extLst>
            </c:dLbl>
            <c:dLbl>
              <c:idx val="1"/>
              <c:layout>
                <c:manualLayout>
                  <c:x val="0"/>
                  <c:y val="-0.142208774583963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A1-4137-8F69-ED398C10BBC7}"/>
                </c:ext>
              </c:extLst>
            </c:dLbl>
            <c:dLbl>
              <c:idx val="2"/>
              <c:layout>
                <c:manualLayout>
                  <c:x val="5.0721810378462741E-3"/>
                  <c:y val="-0.142965204236006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A1-4137-8F69-ED398C10BBC7}"/>
                </c:ext>
              </c:extLst>
            </c:dLbl>
            <c:dLbl>
              <c:idx val="3"/>
              <c:layout>
                <c:manualLayout>
                  <c:x val="-1.6191962543893875E-2"/>
                  <c:y val="-0.204992435703479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7A1-4137-8F69-ED398C10BBC7}"/>
                </c:ext>
              </c:extLst>
            </c:dLbl>
            <c:dLbl>
              <c:idx val="4"/>
              <c:layout>
                <c:manualLayout>
                  <c:x val="0"/>
                  <c:y val="-0.170196671709531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7A1-4137-8F69-ED398C10BBC7}"/>
                </c:ext>
              </c:extLst>
            </c:dLbl>
            <c:dLbl>
              <c:idx val="5"/>
              <c:layout>
                <c:manualLayout>
                  <c:x val="0"/>
                  <c:y val="-0.214069591527987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A1-4137-8F69-ED398C10BBC7}"/>
                </c:ext>
              </c:extLst>
            </c:dLbl>
            <c:dLbl>
              <c:idx val="6"/>
              <c:layout>
                <c:manualLayout>
                  <c:x val="-1.6191962543893875E-2"/>
                  <c:y val="-0.268532526475037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7A1-4137-8F69-ED398C10BBC7}"/>
                </c:ext>
              </c:extLst>
            </c:dLbl>
            <c:dLbl>
              <c:idx val="7"/>
              <c:layout>
                <c:manualLayout>
                  <c:x val="0"/>
                  <c:y val="-0.229954614220877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7A1-4137-8F69-ED398C10BBC7}"/>
                </c:ext>
              </c:extLst>
            </c:dLbl>
            <c:dLbl>
              <c:idx val="8"/>
              <c:layout>
                <c:manualLayout>
                  <c:x val="0"/>
                  <c:y val="-0.26928895612708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7A1-4137-8F69-ED398C10BBC7}"/>
                </c:ext>
              </c:extLst>
            </c:dLbl>
            <c:dLbl>
              <c:idx val="9"/>
              <c:layout>
                <c:manualLayout>
                  <c:x val="0"/>
                  <c:y val="-0.226172465960665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7A1-4137-8F69-ED398C10BBC7}"/>
                </c:ext>
              </c:extLst>
            </c:dLbl>
            <c:dLbl>
              <c:idx val="10"/>
              <c:layout>
                <c:manualLayout>
                  <c:x val="0"/>
                  <c:y val="-0.268532526475037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7A1-4137-8F69-ED398C10BBC7}"/>
                </c:ext>
              </c:extLst>
            </c:dLbl>
            <c:dLbl>
              <c:idx val="11"/>
              <c:layout>
                <c:manualLayout>
                  <c:x val="0"/>
                  <c:y val="-0.304841149773071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7A1-4137-8F69-ED398C10BBC7}"/>
                </c:ext>
              </c:extLst>
            </c:dLbl>
            <c:dLbl>
              <c:idx val="12"/>
              <c:layout>
                <c:manualLayout>
                  <c:x val="0"/>
                  <c:y val="-0.362329803328290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7A1-4137-8F69-ED398C10BBC7}"/>
                </c:ext>
              </c:extLst>
            </c:dLbl>
            <c:dLbl>
              <c:idx val="13"/>
              <c:layout>
                <c:manualLayout>
                  <c:x val="1.6191962543893875E-2"/>
                  <c:y val="-0.383509833585476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7A1-4137-8F69-ED398C10BBC7}"/>
                </c:ext>
              </c:extLst>
            </c:dLbl>
            <c:dLbl>
              <c:idx val="14"/>
              <c:layout>
                <c:manualLayout>
                  <c:x val="0"/>
                  <c:y val="-0.310892586989409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7A1-4137-8F69-ED398C10BBC7}"/>
                </c:ext>
              </c:extLst>
            </c:dLbl>
            <c:dLbl>
              <c:idx val="16"/>
              <c:layout>
                <c:manualLayout>
                  <c:x val="0"/>
                  <c:y val="-0.258698940998487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7A1-4137-8F69-ED398C10BBC7}"/>
                </c:ext>
              </c:extLst>
            </c:dLbl>
            <c:dLbl>
              <c:idx val="17"/>
              <c:layout>
                <c:manualLayout>
                  <c:x val="0"/>
                  <c:y val="-0.316187594553706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7A1-4137-8F69-ED398C10BBC7}"/>
                </c:ext>
              </c:extLst>
            </c:dLbl>
            <c:dLbl>
              <c:idx val="18"/>
              <c:layout>
                <c:manualLayout>
                  <c:x val="-1.5996878657822865E-2"/>
                  <c:y val="-0.337367624810892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7A1-4137-8F69-ED398C10BBC7}"/>
                </c:ext>
              </c:extLst>
            </c:dLbl>
            <c:dLbl>
              <c:idx val="19"/>
              <c:layout>
                <c:manualLayout>
                  <c:x val="0"/>
                  <c:y val="-0.327534039334341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7A1-4137-8F69-ED398C10BBC7}"/>
                </c:ext>
              </c:extLst>
            </c:dLbl>
            <c:dLbl>
              <c:idx val="20"/>
              <c:layout>
                <c:manualLayout>
                  <c:x val="0"/>
                  <c:y val="-0.27836611195158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7A1-4137-8F69-ED398C10BBC7}"/>
                </c:ext>
              </c:extLst>
            </c:dLbl>
            <c:dLbl>
              <c:idx val="21"/>
              <c:layout>
                <c:manualLayout>
                  <c:x val="0"/>
                  <c:y val="-0.350226928895612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7A1-4137-8F69-ED398C10BBC7}"/>
                </c:ext>
              </c:extLst>
            </c:dLbl>
            <c:dLbl>
              <c:idx val="22"/>
              <c:layout>
                <c:manualLayout>
                  <c:x val="0"/>
                  <c:y val="-0.413010590015128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7A1-4137-8F69-ED398C10BBC7}"/>
                </c:ext>
              </c:extLst>
            </c:dLbl>
            <c:dLbl>
              <c:idx val="23"/>
              <c:layout>
                <c:manualLayout>
                  <c:x val="1.5996878657822865E-2"/>
                  <c:y val="-0.4432677760968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7A1-4137-8F69-ED398C10BBC7}"/>
                </c:ext>
              </c:extLst>
            </c:dLbl>
            <c:dLbl>
              <c:idx val="24"/>
              <c:layout>
                <c:manualLayout>
                  <c:x val="0"/>
                  <c:y val="-0.380484114977307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7A1-4137-8F69-ED398C10BB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448.562</c:v>
                </c:pt>
                <c:pt idx="1">
                  <c:v>9898.3040000000001</c:v>
                </c:pt>
                <c:pt idx="2">
                  <c:v>9937.43</c:v>
                </c:pt>
                <c:pt idx="3">
                  <c:v>11027.928</c:v>
                </c:pt>
                <c:pt idx="4">
                  <c:v>12891.332</c:v>
                </c:pt>
                <c:pt idx="5">
                  <c:v>15943.418</c:v>
                </c:pt>
                <c:pt idx="6">
                  <c:v>17827.383999999998</c:v>
                </c:pt>
                <c:pt idx="7">
                  <c:v>19196.057000000001</c:v>
                </c:pt>
                <c:pt idx="8">
                  <c:v>23403.638999999999</c:v>
                </c:pt>
                <c:pt idx="9">
                  <c:v>18836.955000000002</c:v>
                </c:pt>
                <c:pt idx="10">
                  <c:v>22028.367999999999</c:v>
                </c:pt>
                <c:pt idx="11">
                  <c:v>27126.75</c:v>
                </c:pt>
                <c:pt idx="12">
                  <c:v>28733.427</c:v>
                </c:pt>
                <c:pt idx="13">
                  <c:v>27865.455999999998</c:v>
                </c:pt>
                <c:pt idx="14">
                  <c:v>27805.466</c:v>
                </c:pt>
                <c:pt idx="15">
                  <c:v>23256.172999999999</c:v>
                </c:pt>
                <c:pt idx="16">
                  <c:v>22267.722000000002</c:v>
                </c:pt>
                <c:pt idx="17">
                  <c:v>23929.281999999999</c:v>
                </c:pt>
                <c:pt idx="18">
                  <c:v>29360.030999999999</c:v>
                </c:pt>
                <c:pt idx="19">
                  <c:v>29566.714</c:v>
                </c:pt>
                <c:pt idx="20">
                  <c:v>24318.285</c:v>
                </c:pt>
                <c:pt idx="21">
                  <c:v>31920.764999999999</c:v>
                </c:pt>
                <c:pt idx="22">
                  <c:v>38510.235999999997</c:v>
                </c:pt>
                <c:pt idx="23">
                  <c:v>36156.847999999998</c:v>
                </c:pt>
                <c:pt idx="24">
                  <c:v>35121.67</c:v>
                </c:pt>
              </c:numCache>
            </c:numRef>
          </c:val>
          <c:extLst>
            <c:ext xmlns:c16="http://schemas.microsoft.com/office/drawing/2014/chart" uri="{C3380CC4-5D6E-409C-BE32-E72D297353CC}">
              <c16:uniqueId val="{00000018-B7A1-4137-8F69-ED398C10BBC7}"/>
            </c:ext>
          </c:extLst>
        </c:ser>
        <c:dLbls>
          <c:showLegendKey val="0"/>
          <c:showVal val="0"/>
          <c:showCatName val="0"/>
          <c:showSerName val="0"/>
          <c:showPercent val="0"/>
          <c:showBubbleSize val="0"/>
        </c:dLbls>
        <c:gapWidth val="60"/>
        <c:overlap val="100"/>
        <c:axId val="1108086032"/>
        <c:axId val="1"/>
      </c:barChart>
      <c:catAx>
        <c:axId val="110808603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08086032"/>
        <c:crosses val="min"/>
        <c:crossBetween val="between"/>
        <c:majorUnit val="5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11880867594691E-2"/>
          <c:y val="5.6326854422848079E-2"/>
          <c:w val="0.88604726448688897"/>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Pt>
            <c:idx val="25"/>
            <c:marker>
              <c:symbol val="none"/>
            </c:marker>
            <c:bubble3D val="0"/>
            <c:extLst>
              <c:ext xmlns:c16="http://schemas.microsoft.com/office/drawing/2014/chart" uri="{C3380CC4-5D6E-409C-BE32-E72D297353CC}">
                <c16:uniqueId val="{00000000-6434-4F1A-B389-FC6F1F8704C6}"/>
              </c:ext>
            </c:extLst>
          </c:dPt>
          <c:dLbls>
            <c:dLbl>
              <c:idx val="0"/>
              <c:layout>
                <c:manualLayout>
                  <c:x val="3.496277112334089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34-4F1A-B389-FC6F1F8704C6}"/>
                </c:ext>
              </c:extLst>
            </c:dLbl>
            <c:dLbl>
              <c:idx val="2"/>
              <c:layout>
                <c:manualLayout>
                  <c:x val="-1.4891550663645193E-2"/>
                  <c:y val="-4.48234827449424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34-4F1A-B389-FC6F1F8704C6}"/>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34-4F1A-B389-FC6F1F8704C6}"/>
                </c:ext>
              </c:extLst>
            </c:dLbl>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34-4F1A-B389-FC6F1F8704C6}"/>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34-4F1A-B389-FC6F1F8704C6}"/>
                </c:ext>
              </c:extLst>
            </c:dLbl>
            <c:dLbl>
              <c:idx val="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434-4F1A-B389-FC6F1F8704C6}"/>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34-4F1A-B389-FC6F1F8704C6}"/>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434-4F1A-B389-FC6F1F8704C6}"/>
                </c:ext>
              </c:extLst>
            </c:dLbl>
            <c:dLbl>
              <c:idx val="1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434-4F1A-B389-FC6F1F8704C6}"/>
                </c:ext>
              </c:extLst>
            </c:dLbl>
            <c:dLbl>
              <c:idx val="17"/>
              <c:layout>
                <c:manualLayout>
                  <c:x val="1.7157656199417289E-2"/>
                  <c:y val="-5.39468464894882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434-4F1A-B389-FC6F1F8704C6}"/>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434-4F1A-B389-FC6F1F8704C6}"/>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434-4F1A-B389-FC6F1F8704C6}"/>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434-4F1A-B389-FC6F1F8704C6}"/>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434-4F1A-B389-FC6F1F8704C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8.887499999999999</c:v>
                </c:pt>
                <c:pt idx="1">
                  <c:v>32.625</c:v>
                </c:pt>
                <c:pt idx="2">
                  <c:v>33.269166666666671</c:v>
                </c:pt>
                <c:pt idx="3">
                  <c:v>30.883333333333336</c:v>
                </c:pt>
                <c:pt idx="4">
                  <c:v>28.658333333333331</c:v>
                </c:pt>
                <c:pt idx="5">
                  <c:v>29.56</c:v>
                </c:pt>
                <c:pt idx="6">
                  <c:v>30.96916666666667</c:v>
                </c:pt>
                <c:pt idx="7">
                  <c:v>31.327500000000001</c:v>
                </c:pt>
                <c:pt idx="8">
                  <c:v>27.393333333333331</c:v>
                </c:pt>
                <c:pt idx="9">
                  <c:v>24.965833333333336</c:v>
                </c:pt>
                <c:pt idx="10">
                  <c:v>23.228333333333328</c:v>
                </c:pt>
                <c:pt idx="11">
                  <c:v>21.18</c:v>
                </c:pt>
                <c:pt idx="12">
                  <c:v>21.36</c:v>
                </c:pt>
                <c:pt idx="13">
                  <c:v>26.12166666666667</c:v>
                </c:pt>
                <c:pt idx="14">
                  <c:v>28.420833333333334</c:v>
                </c:pt>
                <c:pt idx="15">
                  <c:v>32.25</c:v>
                </c:pt>
                <c:pt idx="16">
                  <c:v>29.086666666666662</c:v>
                </c:pt>
                <c:pt idx="17">
                  <c:v>29.840833333333336</c:v>
                </c:pt>
                <c:pt idx="18">
                  <c:v>29.403333333333336</c:v>
                </c:pt>
                <c:pt idx="19">
                  <c:v>29.057499999999994</c:v>
                </c:pt>
                <c:pt idx="20">
                  <c:v>28.33</c:v>
                </c:pt>
                <c:pt idx="21">
                  <c:v>29.435833333333331</c:v>
                </c:pt>
                <c:pt idx="22">
                  <c:v>35.098181818181814</c:v>
                </c:pt>
                <c:pt idx="23">
                  <c:v>36.799999999999997</c:v>
                </c:pt>
                <c:pt idx="24">
                  <c:v>41.9</c:v>
                </c:pt>
              </c:numCache>
            </c:numRef>
          </c:val>
          <c:smooth val="0"/>
          <c:extLst>
            <c:ext xmlns:c16="http://schemas.microsoft.com/office/drawing/2014/chart" uri="{C3380CC4-5D6E-409C-BE32-E72D297353CC}">
              <c16:uniqueId val="{0000000F-6434-4F1A-B389-FC6F1F8704C6}"/>
            </c:ext>
          </c:extLst>
        </c:ser>
        <c:dLbls>
          <c:showLegendKey val="0"/>
          <c:showVal val="0"/>
          <c:showCatName val="0"/>
          <c:showSerName val="0"/>
          <c:showPercent val="0"/>
          <c:showBubbleSize val="0"/>
        </c:dLbls>
        <c:marker val="1"/>
        <c:smooth val="0"/>
        <c:axId val="1320061824"/>
        <c:axId val="1"/>
      </c:lineChart>
      <c:catAx>
        <c:axId val="13200618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20061824"/>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032520325203246E-2"/>
          <c:y val="5.6326854422848079E-2"/>
          <c:w val="0.89105691056910574"/>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FA-4956-A524-EC1F089F84D8}"/>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FA-4956-A524-EC1F089F84D8}"/>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FA-4956-A524-EC1F089F84D8}"/>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FA-4956-A524-EC1F089F84D8}"/>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FA-4956-A524-EC1F089F84D8}"/>
                </c:ext>
              </c:extLst>
            </c:dLbl>
            <c:dLbl>
              <c:idx val="11"/>
              <c:layout>
                <c:manualLayout>
                  <c:x val="-1.5609756097560976E-2"/>
                  <c:y val="3.808012693375644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FA-4956-A524-EC1F089F84D8}"/>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6FA-4956-A524-EC1F089F84D8}"/>
                </c:ext>
              </c:extLst>
            </c:dLbl>
            <c:dLbl>
              <c:idx val="1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6FA-4956-A524-EC1F089F84D8}"/>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6FA-4956-A524-EC1F089F84D8}"/>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6FA-4956-A524-EC1F089F84D8}"/>
                </c:ext>
              </c:extLst>
            </c:dLbl>
            <c:dLbl>
              <c:idx val="21"/>
              <c:layout>
                <c:manualLayout>
                  <c:x val="1.4308943089430894E-2"/>
                  <c:y val="-3.332011106703688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6FA-4956-A524-EC1F089F84D8}"/>
                </c:ext>
              </c:extLst>
            </c:dLbl>
            <c:dLbl>
              <c:idx val="22"/>
              <c:layout>
                <c:manualLayout>
                  <c:x val="-1.3008130081300813E-2"/>
                  <c:y val="3.014676715589052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6FA-4956-A524-EC1F089F84D8}"/>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6FA-4956-A524-EC1F089F84D8}"/>
                </c:ext>
              </c:extLst>
            </c:dLbl>
            <c:dLbl>
              <c:idx val="2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6FA-4956-A524-EC1F089F84D8}"/>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6FA-4956-A524-EC1F089F84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c:v>
                </c:pt>
                <c:pt idx="1">
                  <c:v>-1.1000000000000001</c:v>
                </c:pt>
                <c:pt idx="2">
                  <c:v>0.1</c:v>
                </c:pt>
                <c:pt idx="3">
                  <c:v>0.5</c:v>
                </c:pt>
                <c:pt idx="4">
                  <c:v>0.3</c:v>
                </c:pt>
                <c:pt idx="5">
                  <c:v>0.6</c:v>
                </c:pt>
                <c:pt idx="6">
                  <c:v>1.9</c:v>
                </c:pt>
                <c:pt idx="7">
                  <c:v>5</c:v>
                </c:pt>
                <c:pt idx="8">
                  <c:v>6.1</c:v>
                </c:pt>
                <c:pt idx="9">
                  <c:v>4.3</c:v>
                </c:pt>
                <c:pt idx="10">
                  <c:v>3.7</c:v>
                </c:pt>
                <c:pt idx="11">
                  <c:v>3.7</c:v>
                </c:pt>
                <c:pt idx="12">
                  <c:v>2.9</c:v>
                </c:pt>
                <c:pt idx="13">
                  <c:v>3.5</c:v>
                </c:pt>
                <c:pt idx="14">
                  <c:v>2.2000000000000002</c:v>
                </c:pt>
                <c:pt idx="15">
                  <c:v>1.2</c:v>
                </c:pt>
                <c:pt idx="16">
                  <c:v>2.1</c:v>
                </c:pt>
                <c:pt idx="17">
                  <c:v>-0.8</c:v>
                </c:pt>
                <c:pt idx="18">
                  <c:v>2.5</c:v>
                </c:pt>
                <c:pt idx="19">
                  <c:v>-2.1</c:v>
                </c:pt>
                <c:pt idx="20">
                  <c:v>3.4</c:v>
                </c:pt>
                <c:pt idx="21">
                  <c:v>3.1</c:v>
                </c:pt>
                <c:pt idx="22">
                  <c:v>2.5</c:v>
                </c:pt>
                <c:pt idx="23">
                  <c:v>2.2999999999999998</c:v>
                </c:pt>
                <c:pt idx="24">
                  <c:v>1.7</c:v>
                </c:pt>
                <c:pt idx="25">
                  <c:v>2.1</c:v>
                </c:pt>
                <c:pt idx="26">
                  <c:v>2</c:v>
                </c:pt>
              </c:numCache>
            </c:numRef>
          </c:val>
          <c:smooth val="0"/>
          <c:extLst>
            <c:ext xmlns:c16="http://schemas.microsoft.com/office/drawing/2014/chart" uri="{C3380CC4-5D6E-409C-BE32-E72D297353CC}">
              <c16:uniqueId val="{0000000F-A6FA-4956-A524-EC1F089F84D8}"/>
            </c:ext>
          </c:extLst>
        </c:ser>
        <c:dLbls>
          <c:showLegendKey val="0"/>
          <c:showVal val="0"/>
          <c:showCatName val="0"/>
          <c:showSerName val="0"/>
          <c:showPercent val="0"/>
          <c:showBubbleSize val="0"/>
        </c:dLbls>
        <c:marker val="1"/>
        <c:smooth val="0"/>
        <c:axId val="1150512607"/>
        <c:axId val="1"/>
      </c:lineChart>
      <c:catAx>
        <c:axId val="11505126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3"/>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50512607"/>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39523911644864E-2"/>
          <c:y val="0.51699029126213591"/>
          <c:w val="0.97212095217671024"/>
          <c:h val="0.19902912621359223"/>
        </c:manualLayout>
      </c:layout>
      <c:scatterChart>
        <c:scatterStyle val="lineMarker"/>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FE-4952-9555-B2B645F0BD07}"/>
                </c:ext>
              </c:extLst>
            </c:dLbl>
            <c:dLbl>
              <c:idx val="1"/>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FFE-4952-9555-B2B645F0BD07}"/>
                </c:ext>
              </c:extLst>
            </c:dLbl>
            <c:dLbl>
              <c:idx val="2"/>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FFE-4952-9555-B2B645F0BD07}"/>
                </c:ext>
              </c:extLst>
            </c:dLbl>
            <c:dLbl>
              <c:idx val="3"/>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FFE-4952-9555-B2B645F0BD07}"/>
                </c:ext>
              </c:extLst>
            </c:dLbl>
            <c:dLbl>
              <c:idx val="4"/>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FFE-4952-9555-B2B645F0BD07}"/>
                </c:ext>
              </c:extLst>
            </c:dLbl>
            <c:dLbl>
              <c:idx val="5"/>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FFE-4952-9555-B2B645F0BD07}"/>
                </c:ext>
              </c:extLst>
            </c:dLbl>
            <c:dLbl>
              <c:idx val="6"/>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FFE-4952-9555-B2B645F0BD07}"/>
                </c:ext>
              </c:extLst>
            </c:dLbl>
            <c:dLbl>
              <c:idx val="7"/>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FFE-4952-9555-B2B645F0BD07}"/>
                </c:ext>
              </c:extLst>
            </c:dLbl>
            <c:dLbl>
              <c:idx val="8"/>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FFE-4952-9555-B2B645F0BD07}"/>
                </c:ext>
              </c:extLst>
            </c:dLbl>
            <c:dLbl>
              <c:idx val="9"/>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FFE-4952-9555-B2B645F0BD07}"/>
                </c:ext>
              </c:extLst>
            </c:dLbl>
            <c:dLbl>
              <c:idx val="10"/>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FFE-4952-9555-B2B645F0BD07}"/>
                </c:ext>
              </c:extLst>
            </c:dLbl>
            <c:dLbl>
              <c:idx val="11"/>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FFE-4952-9555-B2B645F0BD07}"/>
                </c:ext>
              </c:extLst>
            </c:dLbl>
            <c:dLbl>
              <c:idx val="12"/>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FFE-4952-9555-B2B645F0BD07}"/>
                </c:ext>
              </c:extLst>
            </c:dLbl>
            <c:dLbl>
              <c:idx val="13"/>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FFE-4952-9555-B2B645F0BD07}"/>
                </c:ext>
              </c:extLst>
            </c:dLbl>
            <c:dLbl>
              <c:idx val="14"/>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FFE-4952-9555-B2B645F0BD07}"/>
                </c:ext>
              </c:extLst>
            </c:dLbl>
            <c:dLbl>
              <c:idx val="15"/>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FFE-4952-9555-B2B645F0BD07}"/>
                </c:ext>
              </c:extLst>
            </c:dLbl>
            <c:dLbl>
              <c:idx val="16"/>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FFE-4952-9555-B2B645F0BD07}"/>
                </c:ext>
              </c:extLst>
            </c:dLbl>
            <c:dLbl>
              <c:idx val="17"/>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FFE-4952-9555-B2B645F0BD07}"/>
                </c:ext>
              </c:extLst>
            </c:dLbl>
            <c:dLbl>
              <c:idx val="18"/>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FFE-4952-9555-B2B645F0BD07}"/>
                </c:ext>
              </c:extLst>
            </c:dLbl>
            <c:dLbl>
              <c:idx val="19"/>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FFE-4952-9555-B2B645F0BD07}"/>
                </c:ext>
              </c:extLst>
            </c:dLbl>
            <c:dLbl>
              <c:idx val="20"/>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FFE-4952-9555-B2B645F0BD07}"/>
                </c:ext>
              </c:extLst>
            </c:dLbl>
            <c:dLbl>
              <c:idx val="21"/>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FFE-4952-9555-B2B645F0BD07}"/>
                </c:ext>
              </c:extLst>
            </c:dLbl>
            <c:dLbl>
              <c:idx val="22"/>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FFE-4952-9555-B2B645F0BD07}"/>
                </c:ext>
              </c:extLst>
            </c:dLbl>
            <c:dLbl>
              <c:idx val="23"/>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FFE-4952-9555-B2B645F0BD0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72.052383419999998</c:v>
                </c:pt>
                <c:pt idx="1">
                  <c:v>72.540489199999996</c:v>
                </c:pt>
                <c:pt idx="2">
                  <c:v>72.314155579999991</c:v>
                </c:pt>
                <c:pt idx="3">
                  <c:v>72.374389649999983</c:v>
                </c:pt>
                <c:pt idx="4">
                  <c:v>71.47950745</c:v>
                </c:pt>
                <c:pt idx="5">
                  <c:v>72.495010379999997</c:v>
                </c:pt>
                <c:pt idx="6">
                  <c:v>72.982284550000003</c:v>
                </c:pt>
                <c:pt idx="7">
                  <c:v>70.387176510000003</c:v>
                </c:pt>
                <c:pt idx="8">
                  <c:v>63.594764710000007</c:v>
                </c:pt>
                <c:pt idx="9">
                  <c:v>64.987396239999995</c:v>
                </c:pt>
                <c:pt idx="10">
                  <c:v>61.932571410000016</c:v>
                </c:pt>
                <c:pt idx="11">
                  <c:v>67.068748470000017</c:v>
                </c:pt>
                <c:pt idx="12">
                  <c:v>68.283187869999992</c:v>
                </c:pt>
                <c:pt idx="13">
                  <c:v>69.594360350000017</c:v>
                </c:pt>
                <c:pt idx="14">
                  <c:v>71.36855315999999</c:v>
                </c:pt>
                <c:pt idx="15">
                  <c:v>68.473876950000005</c:v>
                </c:pt>
                <c:pt idx="16">
                  <c:v>69.591583249999999</c:v>
                </c:pt>
                <c:pt idx="17">
                  <c:v>71.847023010000001</c:v>
                </c:pt>
                <c:pt idx="18">
                  <c:v>70.298500060000009</c:v>
                </c:pt>
                <c:pt idx="19">
                  <c:v>73.785949709999997</c:v>
                </c:pt>
                <c:pt idx="20">
                  <c:v>78.290542600000009</c:v>
                </c:pt>
                <c:pt idx="21">
                  <c:v>76.983726500000003</c:v>
                </c:pt>
                <c:pt idx="22">
                  <c:v>77.137336729999987</c:v>
                </c:pt>
                <c:pt idx="23">
                  <c:v>77.766624449999995</c:v>
                </c:pt>
              </c:numCache>
            </c:numRef>
          </c:yVal>
          <c:smooth val="0"/>
          <c:extLst>
            <c:ext xmlns:c16="http://schemas.microsoft.com/office/drawing/2014/chart" uri="{C3380CC4-5D6E-409C-BE32-E72D297353CC}">
              <c16:uniqueId val="{00000018-3FFE-4952-9555-B2B645F0BD07}"/>
            </c:ext>
          </c:extLst>
        </c:ser>
        <c:dLbls>
          <c:showLegendKey val="0"/>
          <c:showVal val="0"/>
          <c:showCatName val="0"/>
          <c:showSerName val="0"/>
          <c:showPercent val="0"/>
          <c:showBubbleSize val="0"/>
        </c:dLbls>
        <c:axId val="4"/>
        <c:axId val="5"/>
      </c:scatterChart>
      <c:valAx>
        <c:axId val="4"/>
        <c:scaling>
          <c:orientation val="minMax"/>
          <c:max val="2023"/>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1"/>
      </c:valAx>
      <c:valAx>
        <c:axId val="5"/>
        <c:scaling>
          <c:orientation val="minMax"/>
          <c:max val="78.290542600000009"/>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813649366571315E-2"/>
          <c:y val="0.1142578125"/>
          <c:w val="0.94156109521863507"/>
          <c:h val="0.771484375"/>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4.76357286645</c:v>
                </c:pt>
                <c:pt idx="1">
                  <c:v>15.80076131091</c:v>
                </c:pt>
                <c:pt idx="2">
                  <c:v>14.898323078439999</c:v>
                </c:pt>
                <c:pt idx="3">
                  <c:v>15.186605984269999</c:v>
                </c:pt>
                <c:pt idx="4">
                  <c:v>14.675722841089998</c:v>
                </c:pt>
                <c:pt idx="5">
                  <c:v>15.041532754899997</c:v>
                </c:pt>
                <c:pt idx="6">
                  <c:v>16.562138488099997</c:v>
                </c:pt>
                <c:pt idx="7">
                  <c:v>16.06999421039</c:v>
                </c:pt>
                <c:pt idx="8">
                  <c:v>12.864659934100001</c:v>
                </c:pt>
                <c:pt idx="9">
                  <c:v>18.782113490489994</c:v>
                </c:pt>
                <c:pt idx="10">
                  <c:v>15.985486691259997</c:v>
                </c:pt>
                <c:pt idx="11">
                  <c:v>19.395141332029997</c:v>
                </c:pt>
                <c:pt idx="12">
                  <c:v>22.542106158909998</c:v>
                </c:pt>
                <c:pt idx="13">
                  <c:v>26.127783050879991</c:v>
                </c:pt>
                <c:pt idx="14">
                  <c:v>32.437666370609996</c:v>
                </c:pt>
                <c:pt idx="15">
                  <c:v>36.964912612589991</c:v>
                </c:pt>
                <c:pt idx="16">
                  <c:v>40.75330190127</c:v>
                </c:pt>
                <c:pt idx="17">
                  <c:v>41.028156515800006</c:v>
                </c:pt>
                <c:pt idx="18">
                  <c:v>36.684139278890001</c:v>
                </c:pt>
                <c:pt idx="19">
                  <c:v>39.850997424599996</c:v>
                </c:pt>
                <c:pt idx="20">
                  <c:v>49.560189390039987</c:v>
                </c:pt>
                <c:pt idx="21">
                  <c:v>45.689955614659993</c:v>
                </c:pt>
                <c:pt idx="22">
                  <c:v>44.094178768719999</c:v>
                </c:pt>
                <c:pt idx="23">
                  <c:v>47.216629866669997</c:v>
                </c:pt>
              </c:numCache>
            </c:numRef>
          </c:val>
          <c:extLst>
            <c:ext xmlns:c16="http://schemas.microsoft.com/office/drawing/2014/chart" uri="{C3380CC4-5D6E-409C-BE32-E72D297353CC}">
              <c16:uniqueId val="{00000000-B872-4DB0-A71D-EF497CA4B143}"/>
            </c:ext>
          </c:extLst>
        </c:ser>
        <c:ser>
          <c:idx val="1"/>
          <c:order val="1"/>
          <c:spPr>
            <a:solidFill>
              <a:srgbClr val="80CCE8"/>
            </a:solidFill>
            <a:ln w="9525" cmpd="sng" algn="ctr">
              <a:solidFill>
                <a:srgbClr val="808080"/>
              </a:solidFill>
              <a:prstDash val="solid"/>
            </a:ln>
          </c:spPr>
          <c:invertIfNegative val="0"/>
          <c:dLbls>
            <c:dLbl>
              <c:idx val="8"/>
              <c:layout>
                <c:manualLayout>
                  <c:x val="0"/>
                  <c:y val="-9.765625E-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72-4DB0-A71D-EF497CA4B143}"/>
                </c:ext>
              </c:extLst>
            </c:dLbl>
            <c:dLbl>
              <c:idx val="10"/>
              <c:layout>
                <c:manualLayout>
                  <c:x val="0"/>
                  <c:y val="-9.765625E-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72-4DB0-A71D-EF497CA4B143}"/>
                </c:ext>
              </c:extLst>
            </c:dLbl>
            <c:dLbl>
              <c:idx val="1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72-4DB0-A71D-EF497CA4B14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5.7264808971500027</c:v>
                </c:pt>
                <c:pt idx="1">
                  <c:v>5.9812269314200019</c:v>
                </c:pt>
                <c:pt idx="2">
                  <c:v>5.7038982356699979</c:v>
                </c:pt>
                <c:pt idx="3">
                  <c:v>5.7967925356599999</c:v>
                </c:pt>
                <c:pt idx="4">
                  <c:v>5.8556470667399996</c:v>
                </c:pt>
                <c:pt idx="5">
                  <c:v>5.7068373134599995</c:v>
                </c:pt>
                <c:pt idx="6">
                  <c:v>6.1312296599699998</c:v>
                </c:pt>
                <c:pt idx="7">
                  <c:v>6.7608602772300017</c:v>
                </c:pt>
                <c:pt idx="8">
                  <c:v>7.364458046390002</c:v>
                </c:pt>
                <c:pt idx="9">
                  <c:v>10.119048885389997</c:v>
                </c:pt>
                <c:pt idx="10">
                  <c:v>9.8256267470300003</c:v>
                </c:pt>
                <c:pt idx="11">
                  <c:v>9.5231589375499972</c:v>
                </c:pt>
                <c:pt idx="12">
                  <c:v>10.470569058340001</c:v>
                </c:pt>
                <c:pt idx="13">
                  <c:v>11.415179112689998</c:v>
                </c:pt>
                <c:pt idx="14">
                  <c:v>13.013258799960006</c:v>
                </c:pt>
                <c:pt idx="15">
                  <c:v>17.019053223449994</c:v>
                </c:pt>
                <c:pt idx="16">
                  <c:v>17.807373362239993</c:v>
                </c:pt>
                <c:pt idx="17">
                  <c:v>16.076727319749999</c:v>
                </c:pt>
                <c:pt idx="18">
                  <c:v>15.499247939649997</c:v>
                </c:pt>
                <c:pt idx="19">
                  <c:v>14.157927238439996</c:v>
                </c:pt>
                <c:pt idx="20">
                  <c:v>13.742716996039995</c:v>
                </c:pt>
                <c:pt idx="21">
                  <c:v>13.660191305249995</c:v>
                </c:pt>
                <c:pt idx="22">
                  <c:v>13.06903356822</c:v>
                </c:pt>
                <c:pt idx="23">
                  <c:v>13.499169791669999</c:v>
                </c:pt>
              </c:numCache>
            </c:numRef>
          </c:val>
          <c:extLst>
            <c:ext xmlns:c16="http://schemas.microsoft.com/office/drawing/2014/chart" uri="{C3380CC4-5D6E-409C-BE32-E72D297353CC}">
              <c16:uniqueId val="{00000004-B872-4DB0-A71D-EF497CA4B143}"/>
            </c:ext>
          </c:extLst>
        </c:ser>
        <c:dLbls>
          <c:showLegendKey val="0"/>
          <c:showVal val="0"/>
          <c:showCatName val="0"/>
          <c:showSerName val="0"/>
          <c:showPercent val="0"/>
          <c:showBubbleSize val="0"/>
        </c:dLbls>
        <c:gapWidth val="60"/>
        <c:overlap val="100"/>
        <c:axId val="1436793055"/>
        <c:axId val="1"/>
      </c:barChart>
      <c:catAx>
        <c:axId val="14367930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36793055"/>
        <c:crosses val="min"/>
        <c:crossBetween val="between"/>
        <c:majorUnit val="2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5"/>
            <a:ext cx="2919413" cy="495299"/>
          </a:xfrm>
          <a:prstGeom prst="rect">
            <a:avLst/>
          </a:prstGeom>
        </p:spPr>
        <p:txBody>
          <a:bodyPr vert="horz" lIns="91388" tIns="45694" rIns="91388" bIns="45694"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5"/>
            <a:ext cx="2919412" cy="495299"/>
          </a:xfrm>
          <a:prstGeom prst="rect">
            <a:avLst/>
          </a:prstGeom>
        </p:spPr>
        <p:txBody>
          <a:bodyPr vert="horz" lIns="91388" tIns="45694" rIns="91388" bIns="45694"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8" y="9371017"/>
            <a:ext cx="2919413" cy="495299"/>
          </a:xfrm>
          <a:prstGeom prst="rect">
            <a:avLst/>
          </a:prstGeom>
        </p:spPr>
        <p:txBody>
          <a:bodyPr vert="horz" lIns="91388" tIns="45694" rIns="91388" bIns="45694"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7"/>
            <a:ext cx="2919412" cy="495299"/>
          </a:xfrm>
          <a:prstGeom prst="rect">
            <a:avLst/>
          </a:prstGeom>
        </p:spPr>
        <p:txBody>
          <a:bodyPr vert="horz" lIns="91388" tIns="45694" rIns="91388" bIns="45694"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7" y="7"/>
            <a:ext cx="2919565" cy="493869"/>
          </a:xfrm>
          <a:prstGeom prst="rect">
            <a:avLst/>
          </a:prstGeom>
        </p:spPr>
        <p:txBody>
          <a:bodyPr vert="horz" lIns="90711" tIns="45355" rIns="90711" bIns="45355"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30" y="7"/>
            <a:ext cx="2919565" cy="493869"/>
          </a:xfrm>
          <a:prstGeom prst="rect">
            <a:avLst/>
          </a:prstGeom>
        </p:spPr>
        <p:txBody>
          <a:bodyPr vert="horz" lIns="90711" tIns="45355" rIns="90711" bIns="45355"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11" tIns="45355" rIns="90711" bIns="45355" rtlCol="0" anchor="ctr"/>
          <a:lstStyle/>
          <a:p>
            <a:endParaRPr lang="ja-JP" altLang="en-US" dirty="0"/>
          </a:p>
        </p:txBody>
      </p:sp>
      <p:sp>
        <p:nvSpPr>
          <p:cNvPr id="5" name="ノート プレースホルダ 4"/>
          <p:cNvSpPr>
            <a:spLocks noGrp="1"/>
          </p:cNvSpPr>
          <p:nvPr>
            <p:ph type="body" sz="quarter" idx="3"/>
          </p:nvPr>
        </p:nvSpPr>
        <p:spPr>
          <a:xfrm>
            <a:off x="673263" y="4686229"/>
            <a:ext cx="5389240" cy="4440076"/>
          </a:xfrm>
          <a:prstGeom prst="rect">
            <a:avLst/>
          </a:prstGeom>
        </p:spPr>
        <p:txBody>
          <a:bodyPr vert="horz" lIns="90711" tIns="45355" rIns="90711" bIns="45355"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7" y="9370872"/>
            <a:ext cx="2919565" cy="493868"/>
          </a:xfrm>
          <a:prstGeom prst="rect">
            <a:avLst/>
          </a:prstGeom>
        </p:spPr>
        <p:txBody>
          <a:bodyPr vert="horz" lIns="90711" tIns="45355" rIns="90711" bIns="45355"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30" y="9370872"/>
            <a:ext cx="2919565" cy="493868"/>
          </a:xfrm>
          <a:prstGeom prst="rect">
            <a:avLst/>
          </a:prstGeom>
        </p:spPr>
        <p:txBody>
          <a:bodyPr vert="horz" lIns="90711" tIns="45355" rIns="90711" bIns="45355"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jetro.go.jp/world/reports/2011/07000700.html" TargetMode="External"/><Relationship Id="rId7" Type="http://schemas.openxmlformats.org/officeDocument/2006/relationships/hyperlink" Target="https://www.jetro.go.jp/world/reports/2021/02/2ccc58fac1d29884.html" TargetMode="External"/><Relationship Id="rId2" Type="http://schemas.openxmlformats.org/officeDocument/2006/relationships/slide" Target="../slides/slide110.xml"/><Relationship Id="rId1" Type="http://schemas.openxmlformats.org/officeDocument/2006/relationships/notesMaster" Target="../notesMasters/notesMaster1.xml"/><Relationship Id="rId6" Type="http://schemas.openxmlformats.org/officeDocument/2006/relationships/hyperlink" Target="https://www.jetro.go.jp/world/reports/2019/01/7aac324198bb7d1b.html" TargetMode="External"/><Relationship Id="rId5" Type="http://schemas.openxmlformats.org/officeDocument/2006/relationships/hyperlink" Target="https://www.jetro.go.jp/world/reports/2017/02/4a859bf448563ae0.html" TargetMode="External"/><Relationship Id="rId4" Type="http://schemas.openxmlformats.org/officeDocument/2006/relationships/hyperlink" Target="https://www.jetro.go.jp/world/reports/2016/02/995ecff75525fbb4.html"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091574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3</a:t>
            </a:fld>
            <a:endParaRPr lang="ja-JP" altLang="en-US">
              <a:solidFill>
                <a:prstClr val="black"/>
              </a:solidFill>
            </a:endParaRPr>
          </a:p>
        </p:txBody>
      </p:sp>
    </p:spTree>
    <p:extLst>
      <p:ext uri="{BB962C8B-B14F-4D97-AF65-F5344CB8AC3E}">
        <p14:creationId xmlns:p14="http://schemas.microsoft.com/office/powerpoint/2010/main" val="2027134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6B75A-73C8-66F4-B00F-1F5ED89057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6610EF-7568-B1CE-C36F-6CA4842D3C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C14C4A-6878-D53C-16AF-C6C719AF66DC}"/>
              </a:ext>
            </a:extLst>
          </p:cNvPr>
          <p:cNvSpPr>
            <a:spLocks noGrp="1"/>
          </p:cNvSpPr>
          <p:nvPr>
            <p:ph type="body" idx="1"/>
          </p:nvPr>
        </p:nvSpPr>
        <p:spPr/>
        <p:txBody>
          <a:bodyPr/>
          <a:lstStyle/>
          <a:p>
            <a:endParaRPr kumimoji="1" lang="ja-JP" altLang="en-US" dirty="0"/>
          </a:p>
        </p:txBody>
      </p:sp>
      <p:sp>
        <p:nvSpPr>
          <p:cNvPr id="4" name="Slide Number Placeholder 3">
            <a:extLst>
              <a:ext uri="{FF2B5EF4-FFF2-40B4-BE49-F238E27FC236}">
                <a16:creationId xmlns:a16="http://schemas.microsoft.com/office/drawing/2014/main" id="{77351BF7-4C5B-6E00-4FF8-166DCE4192C8}"/>
              </a:ext>
            </a:extLst>
          </p:cNvPr>
          <p:cNvSpPr>
            <a:spLocks noGrp="1"/>
          </p:cNvSpPr>
          <p:nvPr>
            <p:ph type="sldNum" sz="quarter" idx="5"/>
          </p:nvPr>
        </p:nvSpPr>
        <p:spPr/>
        <p:txBody>
          <a:bodyPr/>
          <a:lstStyle/>
          <a:p>
            <a:fld id="{27D7EE6A-0797-491E-97CB-8F6F4017E7EC}" type="slidenum">
              <a:rPr lang="ja-JP" altLang="en-US" smtClean="0"/>
              <a:pPr/>
              <a:t>41</a:t>
            </a:fld>
            <a:endParaRPr lang="ja-JP" altLang="en-US" dirty="0"/>
          </a:p>
        </p:txBody>
      </p:sp>
    </p:spTree>
    <p:extLst>
      <p:ext uri="{BB962C8B-B14F-4D97-AF65-F5344CB8AC3E}">
        <p14:creationId xmlns:p14="http://schemas.microsoft.com/office/powerpoint/2010/main" val="299319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clydeco.com/en/insights/2021/09/saudi-arabia-issues-personal-data-protection-law</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secureprivacy.ai/blog/saudi-arabia-pdpl-guid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decube.io/post/saudi-arabia-personal-data-protection-law-pdp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dlapiper.com/en/insights/publications/2024/02/saudi-arabias-new-personal-data-protection-law-in-for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iclg.com/practice-areas/data-protection-laws-and-regulations/saudi-arabia</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6</a:t>
            </a:fld>
            <a:endParaRPr lang="ja-JP" altLang="en-US" dirty="0"/>
          </a:p>
        </p:txBody>
      </p:sp>
    </p:spTree>
    <p:extLst>
      <p:ext uri="{BB962C8B-B14F-4D97-AF65-F5344CB8AC3E}">
        <p14:creationId xmlns:p14="http://schemas.microsoft.com/office/powerpoint/2010/main" val="1569473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dgp.sdaia.gov.sa/wps/portal/pdp/knowledgecenter/details/PDPLCP/%21ut/p/z1/jY-9DoIwFIWfxQcgvS1Q61j-IgrapoLYxXQQJFEghjj49BIGB6Pi3W7yfTnnII0KpBtzryvT121jLsN_0PRIZMCx52AsSB4B5Uzu8q0kauGi_QjEPKRLrIAIurGBMslsFs4BwEX6Hx--HIcpfzUFDAvILfXTCunO9GerbsoWFSIQiS-GdD36r_4YZ2zon67pLsoweM478GHgCPxYoE4N6q5Z8UhKFVt89gQV55Sc/</a:t>
            </a:r>
          </a:p>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7</a:t>
            </a:fld>
            <a:endParaRPr lang="ja-JP" altLang="en-US" dirty="0"/>
          </a:p>
        </p:txBody>
      </p:sp>
    </p:spTree>
    <p:extLst>
      <p:ext uri="{BB962C8B-B14F-4D97-AF65-F5344CB8AC3E}">
        <p14:creationId xmlns:p14="http://schemas.microsoft.com/office/powerpoint/2010/main" val="3071008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76942-854C-A0F4-540E-A003F4F64E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B2B20D-E16F-B168-5AD6-CFFFB005D0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6F665F-A33C-6960-1F88-21A8D8D792D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dgp.sdaia.gov.sa/wps/portal/pdp/knowledgecenter/details/PDPLCP/%21ut/p/z1/jY-9DoIwFIWfxQcgvS1Q61j-IgrapoLYxXQQJFEghjj49BIGB6Pi3W7yfTnnII0KpBtzryvT121jLsN_0PRIZMCx52AsSB4B5Uzu8q0kauGi_QjEPKRLrIAIurGBMslsFs4BwEX6Hx--HIcpfzUFDAvILfXTCunO9GerbsoWFSIQiS-GdD36r_4YZ2zon67pLsoweM478GHgCPxYoE4N6q5Z8UhKFVt89gQV55Sc/</a:t>
            </a:r>
          </a:p>
          <a:p>
            <a:endParaRPr lang="en-US" dirty="0"/>
          </a:p>
        </p:txBody>
      </p:sp>
      <p:sp>
        <p:nvSpPr>
          <p:cNvPr id="4" name="Slide Number Placeholder 3">
            <a:extLst>
              <a:ext uri="{FF2B5EF4-FFF2-40B4-BE49-F238E27FC236}">
                <a16:creationId xmlns:a16="http://schemas.microsoft.com/office/drawing/2014/main" id="{01DC82E3-5FE0-B9BE-72E2-5873AF2E0125}"/>
              </a:ext>
            </a:extLst>
          </p:cNvPr>
          <p:cNvSpPr>
            <a:spLocks noGrp="1"/>
          </p:cNvSpPr>
          <p:nvPr>
            <p:ph type="sldNum" sz="quarter" idx="5"/>
          </p:nvPr>
        </p:nvSpPr>
        <p:spPr/>
        <p:txBody>
          <a:bodyPr/>
          <a:lstStyle/>
          <a:p>
            <a:fld id="{27D7EE6A-0797-491E-97CB-8F6F4017E7EC}" type="slidenum">
              <a:rPr lang="ja-JP" altLang="en-US" smtClean="0"/>
              <a:pPr/>
              <a:t>58</a:t>
            </a:fld>
            <a:endParaRPr lang="ja-JP" altLang="en-US" dirty="0"/>
          </a:p>
        </p:txBody>
      </p:sp>
    </p:spTree>
    <p:extLst>
      <p:ext uri="{BB962C8B-B14F-4D97-AF65-F5344CB8AC3E}">
        <p14:creationId xmlns:p14="http://schemas.microsoft.com/office/powerpoint/2010/main" val="38008869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150E5-E5DC-3EAB-7B2C-EFC4F8ED28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2A0703-B4FA-2C7B-437C-0685C26945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6D96B5-39AD-1D97-A54A-2BA3A8AAB1E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sdaia.gov.sa/en/SDAIA/about/Pages/RegulationsAndPolicies.aspx</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sdaia.gov.sa/en/SDAIA/about/Documents/ImplementingRegulationPersonalDataProtectionLaw.pdf</a:t>
            </a:r>
          </a:p>
          <a:p>
            <a:endParaRPr lang="en-US" dirty="0"/>
          </a:p>
        </p:txBody>
      </p:sp>
      <p:sp>
        <p:nvSpPr>
          <p:cNvPr id="4" name="Slide Number Placeholder 3">
            <a:extLst>
              <a:ext uri="{FF2B5EF4-FFF2-40B4-BE49-F238E27FC236}">
                <a16:creationId xmlns:a16="http://schemas.microsoft.com/office/drawing/2014/main" id="{D04EC806-7A79-E8D9-ACA5-A902280F7935}"/>
              </a:ext>
            </a:extLst>
          </p:cNvPr>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934564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94F91-E394-140F-9AF6-9AF9178E9D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912431-4EEA-ADFA-6AB2-41C11E2869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3277C6-5DDF-74E2-F705-1640880D157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sdaia.gov.sa/en/SDAIA/about/Documents/ImplementingRegulationPersonalDataProtectionLaw.pdf</a:t>
            </a:r>
          </a:p>
          <a:p>
            <a:endParaRPr lang="en-US" dirty="0"/>
          </a:p>
        </p:txBody>
      </p:sp>
      <p:sp>
        <p:nvSpPr>
          <p:cNvPr id="4" name="Slide Number Placeholder 3">
            <a:extLst>
              <a:ext uri="{FF2B5EF4-FFF2-40B4-BE49-F238E27FC236}">
                <a16:creationId xmlns:a16="http://schemas.microsoft.com/office/drawing/2014/main" id="{523E8C21-2284-EE7F-4CB7-DD5DE6B0DEF8}"/>
              </a:ext>
            </a:extLst>
          </p:cNvPr>
          <p:cNvSpPr>
            <a:spLocks noGrp="1"/>
          </p:cNvSpPr>
          <p:nvPr>
            <p:ph type="sldNum" sz="quarter" idx="5"/>
          </p:nvPr>
        </p:nvSpPr>
        <p:spPr/>
        <p:txBody>
          <a:bodyPr/>
          <a:lstStyle/>
          <a:p>
            <a:fld id="{27D7EE6A-0797-491E-97CB-8F6F4017E7EC}" type="slidenum">
              <a:rPr lang="ja-JP" altLang="en-US" smtClean="0"/>
              <a:pPr/>
              <a:t>60</a:t>
            </a:fld>
            <a:endParaRPr lang="ja-JP" altLang="en-US" dirty="0"/>
          </a:p>
        </p:txBody>
      </p:sp>
    </p:spTree>
    <p:extLst>
      <p:ext uri="{BB962C8B-B14F-4D97-AF65-F5344CB8AC3E}">
        <p14:creationId xmlns:p14="http://schemas.microsoft.com/office/powerpoint/2010/main" val="9320803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83984A-574A-432B-8166-554CC1741E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F0246C-D449-2BFC-282B-5BA6717774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F30D5B-E0EE-295D-524D-E8DA8781333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moh.gov.sa/en/Portal/Pages/Privacy.aspx</a:t>
            </a:r>
          </a:p>
          <a:p>
            <a:endParaRPr lang="en-US" dirty="0"/>
          </a:p>
        </p:txBody>
      </p:sp>
      <p:sp>
        <p:nvSpPr>
          <p:cNvPr id="4" name="Slide Number Placeholder 3">
            <a:extLst>
              <a:ext uri="{FF2B5EF4-FFF2-40B4-BE49-F238E27FC236}">
                <a16:creationId xmlns:a16="http://schemas.microsoft.com/office/drawing/2014/main" id="{8C3489BA-6F69-1674-1756-3D486AD7C035}"/>
              </a:ext>
            </a:extLst>
          </p:cNvPr>
          <p:cNvSpPr>
            <a:spLocks noGrp="1"/>
          </p:cNvSpPr>
          <p:nvPr>
            <p:ph type="sldNum" sz="quarter" idx="5"/>
          </p:nvPr>
        </p:nvSpPr>
        <p:spPr/>
        <p:txBody>
          <a:bodyPr/>
          <a:lstStyle/>
          <a:p>
            <a:fld id="{27D7EE6A-0797-491E-97CB-8F6F4017E7EC}" type="slidenum">
              <a:rPr lang="ja-JP" altLang="en-US" smtClean="0"/>
              <a:pPr/>
              <a:t>61</a:t>
            </a:fld>
            <a:endParaRPr lang="ja-JP" altLang="en-US" dirty="0"/>
          </a:p>
        </p:txBody>
      </p:sp>
    </p:spTree>
    <p:extLst>
      <p:ext uri="{BB962C8B-B14F-4D97-AF65-F5344CB8AC3E}">
        <p14:creationId xmlns:p14="http://schemas.microsoft.com/office/powerpoint/2010/main" val="6632160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7910A-DAD0-3343-FEBB-60C1585C22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B984E2-B7FF-ACE7-3B44-2AAF8933EB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1777BC-62D9-352B-F777-D256D6D8B7A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moh.gov.sa/en/Portal/Pages/Privacy.aspx</a:t>
            </a:r>
          </a:p>
          <a:p>
            <a:endParaRPr lang="en-US" dirty="0"/>
          </a:p>
        </p:txBody>
      </p:sp>
      <p:sp>
        <p:nvSpPr>
          <p:cNvPr id="4" name="Slide Number Placeholder 3">
            <a:extLst>
              <a:ext uri="{FF2B5EF4-FFF2-40B4-BE49-F238E27FC236}">
                <a16:creationId xmlns:a16="http://schemas.microsoft.com/office/drawing/2014/main" id="{FC555FB5-7C81-05D0-52BC-289619505BE5}"/>
              </a:ext>
            </a:extLst>
          </p:cNvPr>
          <p:cNvSpPr>
            <a:spLocks noGrp="1"/>
          </p:cNvSpPr>
          <p:nvPr>
            <p:ph type="sldNum" sz="quarter" idx="5"/>
          </p:nvPr>
        </p:nvSpPr>
        <p:spPr/>
        <p:txBody>
          <a:bodyPr/>
          <a:lstStyle/>
          <a:p>
            <a:fld id="{27D7EE6A-0797-491E-97CB-8F6F4017E7EC}" type="slidenum">
              <a:rPr lang="ja-JP" altLang="en-US" smtClean="0"/>
              <a:pPr/>
              <a:t>62</a:t>
            </a:fld>
            <a:endParaRPr lang="ja-JP" altLang="en-US" dirty="0"/>
          </a:p>
        </p:txBody>
      </p:sp>
    </p:spTree>
    <p:extLst>
      <p:ext uri="{BB962C8B-B14F-4D97-AF65-F5344CB8AC3E}">
        <p14:creationId xmlns:p14="http://schemas.microsoft.com/office/powerpoint/2010/main" val="10370917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Date Placeholder 3"/>
          <p:cNvSpPr>
            <a:spLocks noGrp="1"/>
          </p:cNvSpPr>
          <p:nvPr>
            <p:ph type="dt" idx="1"/>
          </p:nvPr>
        </p:nvSpPr>
        <p:spPr/>
        <p:txBody>
          <a:bodyPr rtlCol="0"/>
          <a:lstStyle/>
          <a:p>
            <a:pPr rtl="0"/>
            <a:r>
              <a:rPr lang="en-US"/>
              <a:t>15 December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rtl="0"/>
              <a:t>87</a:t>
            </a:fld>
            <a:endParaRPr lang="en-US" dirty="0"/>
          </a:p>
        </p:txBody>
      </p:sp>
    </p:spTree>
    <p:extLst>
      <p:ext uri="{BB962C8B-B14F-4D97-AF65-F5344CB8AC3E}">
        <p14:creationId xmlns:p14="http://schemas.microsoft.com/office/powerpoint/2010/main" val="1740163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4162188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t-PT" dirty="0"/>
          </a:p>
        </p:txBody>
      </p:sp>
      <p:sp>
        <p:nvSpPr>
          <p:cNvPr id="4" name="Date Placeholder 3"/>
          <p:cNvSpPr>
            <a:spLocks noGrp="1"/>
          </p:cNvSpPr>
          <p:nvPr>
            <p:ph type="dt" idx="1"/>
          </p:nvPr>
        </p:nvSpPr>
        <p:spPr/>
        <p:txBody>
          <a:bodyPr rtlCol="0"/>
          <a:lstStyle/>
          <a:p>
            <a:pPr rtl="0"/>
            <a:r>
              <a:rPr lang="en-US"/>
              <a:t>15 December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rtl="0"/>
              <a:t>88</a:t>
            </a:fld>
            <a:endParaRPr lang="en-US" dirty="0"/>
          </a:p>
        </p:txBody>
      </p:sp>
    </p:spTree>
    <p:extLst>
      <p:ext uri="{BB962C8B-B14F-4D97-AF65-F5344CB8AC3E}">
        <p14:creationId xmlns:p14="http://schemas.microsoft.com/office/powerpoint/2010/main" val="4147861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162E5-8735-80FE-CD44-4E794CD4FF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EBEC90-B9A3-1058-3700-E9845317D7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70ED16-1B9C-D850-F1ED-39A8DCD64E0B}"/>
              </a:ext>
            </a:extLst>
          </p:cNvPr>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NPHIES (National Platform for Health&amp;Insurance Exchange Services)</a:t>
            </a:r>
            <a:endParaRPr kumimoji="1" lang="en-US" altLang="ja-JP"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noProof="1"/>
              <a:t>https://www.getcirrus.com/en-blog/nphies-for-hospitals-and-clinics-in-saudi-arab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noProof="1"/>
              <a:t>https://www.solver-erp.com/blog/exploring-nphies-saudi-arabia-health-information-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noProof="1"/>
              <a:t>https://medicalbuyer.co.in/saudi-arabia-transforms-healthcare-with-nphies-data-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1" noProof="1"/>
              <a:t>Seha Virtual Hospital (セハ仮想病院)</a:t>
            </a:r>
            <a:endParaRPr lang="en-IN" altLang="ja-JP"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vision2030.gov.sa/en/explore/programs/health-sector-transformation-program</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moh.gov.sa/en/Ministry/Projects/Documents/Seha-Virtual-Hospital.pdf</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weforum.org/videos/this-is-the-biggest-virtual-hospital-in-the-world/</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moh.gov.sa/en/Ministry/Projects/Pages/Seha-Virtual-Hospital.asp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tanmeya.com.sa/article/seha-virtual-hospital-transforming-healthcare-delivery-in-saudi-arab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セハティ・プラットフォーム</a:t>
            </a:r>
            <a:endParaRPr lang="en-IN" altLang="ja-JP"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moh.gov.sa/en/eServices/Sehhaty/Pages/default.asp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saudigazette.com.sa/article/624511</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moh.gov.sa/en/Ministry/MediaCenter/News/Pages/News-2023-02-08-001.asp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zawya.com/en/business/healthcare/sehhaty-app-becomes-national-e-platform-for-healthcare-services-in-saudi-arabia-pa8v8r06</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gccbusinessnews.com/saudi-arabia-picks-sehhaty-app-as-national-e-platform-for-healthcare-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Slide Number Placeholder 3">
            <a:extLst>
              <a:ext uri="{FF2B5EF4-FFF2-40B4-BE49-F238E27FC236}">
                <a16:creationId xmlns:a16="http://schemas.microsoft.com/office/drawing/2014/main" id="{46F532AB-9D87-2565-342F-2B2BCF1F5E2B}"/>
              </a:ext>
            </a:extLst>
          </p:cNvPr>
          <p:cNvSpPr>
            <a:spLocks noGrp="1"/>
          </p:cNvSpPr>
          <p:nvPr>
            <p:ph type="sldNum" sz="quarter" idx="5"/>
          </p:nvPr>
        </p:nvSpPr>
        <p:spPr/>
        <p:txBody>
          <a:bodyPr/>
          <a:lstStyle/>
          <a:p>
            <a:fld id="{27D7EE6A-0797-491E-97CB-8F6F4017E7EC}" type="slidenum">
              <a:rPr lang="ja-JP" altLang="en-US" smtClean="0"/>
              <a:pPr/>
              <a:t>91</a:t>
            </a:fld>
            <a:endParaRPr lang="ja-JP" altLang="en-US" dirty="0"/>
          </a:p>
        </p:txBody>
      </p:sp>
    </p:spTree>
    <p:extLst>
      <p:ext uri="{BB962C8B-B14F-4D97-AF65-F5344CB8AC3E}">
        <p14:creationId xmlns:p14="http://schemas.microsoft.com/office/powerpoint/2010/main" val="21762937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D53E5-F675-39FD-9C65-A87766E615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C4F134-82D8-E01C-24B5-9392DE23F6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2942B8-D16F-9D7D-8340-55B8768E08E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MoHデジタル戦略フレームワークとロードマッ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moh.gov.sa/en/Ministry/vro/EHealth/Documents/MoH-Digital-Health-Strategy-Update-2018.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moh.gov.sa/Ministry/vro/eHealth/Documents/MoH-Digital-Health-Strategy-Update.pdf s :// www.moh.gov.sa/en/Ministry/vro/EHealth/Documents/MoH-Digital-Health-Strategy-Update-2018.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ケアモデルの国内実施</a:t>
            </a:r>
            <a:endParaRPr lang="en-IN"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health.sa/en/model-of-car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health.sa/en</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moh.gov.sa/en/Ministry/About/Pages/Definition-Modern-Healthcare-Model.asp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health.sa/en/about-u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health.sa/en/cluster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saudigazette.com.sa/article/643937</a:t>
            </a: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b="0" dirty="0"/>
          </a:p>
          <a:p>
            <a:pPr marL="0" indent="0">
              <a:buFont typeface="Arial" panose="020B0604020202020204" pitchFamily="34" charset="0"/>
              <a:buNone/>
            </a:pPr>
            <a:endParaRPr lang="en-IN" altLang="ja-JP"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altLang="ja-JP"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kern="1200" dirty="0">
              <a:solidFill>
                <a:schemeClr val="tx1"/>
              </a:solidFill>
              <a:latin typeface="+mj-ea"/>
              <a:ea typeface="+mn-ea"/>
              <a:cs typeface="+mn-cs"/>
            </a:endParaRPr>
          </a:p>
        </p:txBody>
      </p:sp>
      <p:sp>
        <p:nvSpPr>
          <p:cNvPr id="4" name="Slide Number Placeholder 3">
            <a:extLst>
              <a:ext uri="{FF2B5EF4-FFF2-40B4-BE49-F238E27FC236}">
                <a16:creationId xmlns:a16="http://schemas.microsoft.com/office/drawing/2014/main" id="{109C01DB-04A4-071B-655F-38AD1FAFEBE0}"/>
              </a:ext>
            </a:extLst>
          </p:cNvPr>
          <p:cNvSpPr>
            <a:spLocks noGrp="1"/>
          </p:cNvSpPr>
          <p:nvPr>
            <p:ph type="sldNum" sz="quarter" idx="5"/>
          </p:nvPr>
        </p:nvSpPr>
        <p:spPr/>
        <p:txBody>
          <a:bodyPr/>
          <a:lstStyle/>
          <a:p>
            <a:fld id="{27D7EE6A-0797-491E-97CB-8F6F4017E7EC}" type="slidenum">
              <a:rPr lang="ja-JP" altLang="en-US" smtClean="0"/>
              <a:pPr/>
              <a:t>92</a:t>
            </a:fld>
            <a:endParaRPr lang="ja-JP" altLang="en-US" dirty="0"/>
          </a:p>
        </p:txBody>
      </p:sp>
    </p:spTree>
    <p:extLst>
      <p:ext uri="{BB962C8B-B14F-4D97-AF65-F5344CB8AC3E}">
        <p14:creationId xmlns:p14="http://schemas.microsoft.com/office/powerpoint/2010/main" val="3651895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97</a:t>
            </a:fld>
            <a:endParaRPr lang="ja-JP" altLang="en-US" dirty="0"/>
          </a:p>
        </p:txBody>
      </p:sp>
    </p:spTree>
    <p:extLst>
      <p:ext uri="{BB962C8B-B14F-4D97-AF65-F5344CB8AC3E}">
        <p14:creationId xmlns:p14="http://schemas.microsoft.com/office/powerpoint/2010/main" val="36435932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fontAlgn="ctr">
              <a:lnSpc>
                <a:spcPct val="114000"/>
              </a:lnSpc>
              <a:spcAft>
                <a:spcPts val="400"/>
              </a:spcAft>
            </a:pPr>
            <a:r>
              <a:rPr kumimoji="1" lang="en-US" altLang="ja-JP" sz="1200" dirty="0"/>
              <a:t>Source Links:</a:t>
            </a:r>
          </a:p>
          <a:p>
            <a:pPr marL="171450" indent="-171450" fontAlgn="ctr">
              <a:lnSpc>
                <a:spcPct val="114000"/>
              </a:lnSpc>
              <a:spcAft>
                <a:spcPts val="400"/>
              </a:spcAft>
              <a:buFont typeface="Arial" panose="020B0604020202020204" pitchFamily="34" charset="0"/>
              <a:buChar char="•"/>
            </a:pPr>
            <a:r>
              <a:rPr lang="en-US" altLang="ja-JP" sz="1200" dirty="0"/>
              <a:t>Survey on the Medical Device Market in the Middle East and North Africa (2011): </a:t>
            </a:r>
            <a:r>
              <a:rPr lang="en-US" altLang="ja-JP" sz="1200" dirty="0">
                <a:hlinkClick r:id="rId3"/>
              </a:rPr>
              <a:t>https://www.jetro.go.jp/world/reports/2011/07000700.html</a:t>
            </a:r>
            <a:endParaRPr lang="en-US" altLang="ja-JP" sz="1200" dirty="0"/>
          </a:p>
          <a:p>
            <a:pPr marL="171450" indent="-171450" fontAlgn="ctr">
              <a:lnSpc>
                <a:spcPct val="114000"/>
              </a:lnSpc>
              <a:spcAft>
                <a:spcPts val="400"/>
              </a:spcAft>
              <a:buFont typeface="Arial" panose="020B0604020202020204" pitchFamily="34" charset="0"/>
              <a:buChar char="•"/>
            </a:pPr>
            <a:r>
              <a:rPr lang="en-US" altLang="ja-JP" sz="1200" dirty="0"/>
              <a:t>Survey on Market Trends Related to Health and Longevity in Major Countries and Regions (2016): </a:t>
            </a:r>
            <a:r>
              <a:rPr lang="en-US" altLang="ja-JP" sz="1200" dirty="0">
                <a:hlinkClick r:id="rId4"/>
              </a:rPr>
              <a:t>https://www.jetro.go.jp/world/reports/2016/02/995ecff75525fbb4.html</a:t>
            </a:r>
            <a:endParaRPr lang="en-US" altLang="ja-JP" sz="1200" dirty="0"/>
          </a:p>
          <a:p>
            <a:pPr marL="171450" indent="-171450" fontAlgn="ctr">
              <a:lnSpc>
                <a:spcPct val="114000"/>
              </a:lnSpc>
              <a:spcAft>
                <a:spcPts val="400"/>
              </a:spcAft>
              <a:buFont typeface="Arial" panose="020B0604020202020204" pitchFamily="34" charset="0"/>
              <a:buChar char="•"/>
            </a:pPr>
            <a:r>
              <a:rPr lang="en-US" altLang="ja-JP" sz="1200" dirty="0"/>
              <a:t>Survey of Medical Device Distributors in the Middle East Market (2017): </a:t>
            </a:r>
            <a:r>
              <a:rPr lang="en-US" altLang="ja-JP" sz="1200" dirty="0">
                <a:hlinkClick r:id="rId5"/>
              </a:rPr>
              <a:t>https://www.jetro.go.jp/world/reports/2017/02/4a859bf448563ae0.html</a:t>
            </a:r>
            <a:endParaRPr lang="en-US" altLang="ja-JP" sz="1200" dirty="0"/>
          </a:p>
          <a:p>
            <a:pPr marL="171450" indent="-171450" fontAlgn="ctr">
              <a:lnSpc>
                <a:spcPct val="114000"/>
              </a:lnSpc>
              <a:spcAft>
                <a:spcPts val="400"/>
              </a:spcAft>
              <a:buFont typeface="Arial" panose="020B0604020202020204" pitchFamily="34" charset="0"/>
              <a:buChar char="•"/>
            </a:pPr>
            <a:r>
              <a:rPr lang="en-US" altLang="ja-JP" sz="1200" dirty="0"/>
              <a:t>Investment Environment and Market Survey on Promising Industries in Saudi Arabia (Pharmaceuticals) (2019): </a:t>
            </a:r>
            <a:r>
              <a:rPr lang="en-US" altLang="ja-JP" sz="1200" dirty="0">
                <a:hlinkClick r:id="rId6"/>
              </a:rPr>
              <a:t>https://www.jetro.go.jp/world/reports/2019/01/7aac324198bb7d1b.html</a:t>
            </a:r>
            <a:endParaRPr lang="en-US" altLang="ja-JP" sz="1200" dirty="0"/>
          </a:p>
          <a:p>
            <a:pPr marL="171450" indent="-171450" fontAlgn="ctr">
              <a:lnSpc>
                <a:spcPct val="114000"/>
              </a:lnSpc>
              <a:spcAft>
                <a:spcPts val="400"/>
              </a:spcAft>
              <a:buFont typeface="Arial" panose="020B0604020202020204" pitchFamily="34" charset="0"/>
              <a:buChar char="•"/>
            </a:pPr>
            <a:r>
              <a:rPr lang="en-US" altLang="ja-JP" sz="1200" dirty="0"/>
              <a:t>Survey of Medical Device Distributors in the Middle East (2021): </a:t>
            </a:r>
            <a:r>
              <a:rPr lang="en-US" altLang="ja-JP" sz="1200" dirty="0">
                <a:hlinkClick r:id="rId7"/>
              </a:rPr>
              <a:t>https://www.jetro.go.jp/world/reports/2021/02/2ccc58fac1d29884.html</a:t>
            </a:r>
            <a:endParaRPr lang="en-US" altLang="ja-JP" sz="1200" dirty="0"/>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09</a:t>
            </a:fld>
            <a:endParaRPr lang="ja-JP" altLang="en-US" dirty="0"/>
          </a:p>
        </p:txBody>
      </p:sp>
    </p:spTree>
    <p:extLst>
      <p:ext uri="{BB962C8B-B14F-4D97-AF65-F5344CB8AC3E}">
        <p14:creationId xmlns:p14="http://schemas.microsoft.com/office/powerpoint/2010/main" val="2504965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12</a:t>
            </a:fld>
            <a:endParaRPr lang="ja-JP" altLang="en-US">
              <a:solidFill>
                <a:prstClr val="black"/>
              </a:solidFill>
            </a:endParaRPr>
          </a:p>
        </p:txBody>
      </p:sp>
    </p:spTree>
    <p:extLst>
      <p:ext uri="{BB962C8B-B14F-4D97-AF65-F5344CB8AC3E}">
        <p14:creationId xmlns:p14="http://schemas.microsoft.com/office/powerpoint/2010/main" val="153824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20</a:t>
            </a:fld>
            <a:endParaRPr lang="ja-JP" altLang="en-US">
              <a:solidFill>
                <a:prstClr val="black"/>
              </a:solidFill>
            </a:endParaRPr>
          </a:p>
        </p:txBody>
      </p:sp>
    </p:spTree>
    <p:extLst>
      <p:ext uri="{BB962C8B-B14F-4D97-AF65-F5344CB8AC3E}">
        <p14:creationId xmlns:p14="http://schemas.microsoft.com/office/powerpoint/2010/main" val="1866309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22</a:t>
            </a:fld>
            <a:endParaRPr lang="ja-JP" altLang="en-US">
              <a:solidFill>
                <a:prstClr val="black"/>
              </a:solidFill>
            </a:endParaRPr>
          </a:p>
        </p:txBody>
      </p:sp>
    </p:spTree>
    <p:extLst>
      <p:ext uri="{BB962C8B-B14F-4D97-AF65-F5344CB8AC3E}">
        <p14:creationId xmlns:p14="http://schemas.microsoft.com/office/powerpoint/2010/main" val="1847214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6</a:t>
            </a:fld>
            <a:endParaRPr kumimoji="1" lang="ja-JP" altLang="en-US"/>
          </a:p>
        </p:txBody>
      </p:sp>
    </p:spTree>
    <p:extLst>
      <p:ext uri="{BB962C8B-B14F-4D97-AF65-F5344CB8AC3E}">
        <p14:creationId xmlns:p14="http://schemas.microsoft.com/office/powerpoint/2010/main" val="1859876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noProof="1"/>
              <a:t>https://srhdpeuwpubsa.blob.core.windows.net/whdh/DATADOT/COUNTRY/PDF/682_Saudi%20Arabia.pdf</a:t>
            </a:r>
          </a:p>
          <a:p>
            <a:r>
              <a:rPr lang="en-IN" noProof="1"/>
              <a:t>https://www.who.int/data/gho/data/themes/mortality-and-global-health-estimates/ghe-leading-causes-of-death</a:t>
            </a:r>
          </a:p>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2522176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1</a:t>
            </a:fld>
            <a:endParaRPr lang="ja-JP" altLang="en-US">
              <a:solidFill>
                <a:prstClr val="black"/>
              </a:solidFill>
            </a:endParaRPr>
          </a:p>
        </p:txBody>
      </p:sp>
    </p:spTree>
    <p:extLst>
      <p:ext uri="{BB962C8B-B14F-4D97-AF65-F5344CB8AC3E}">
        <p14:creationId xmlns:p14="http://schemas.microsoft.com/office/powerpoint/2010/main" val="3151255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2</a:t>
            </a:fld>
            <a:endParaRPr lang="ja-JP" altLang="en-US">
              <a:solidFill>
                <a:prstClr val="black"/>
              </a:solidFill>
            </a:endParaRPr>
          </a:p>
        </p:txBody>
      </p:sp>
    </p:spTree>
    <p:extLst>
      <p:ext uri="{BB962C8B-B14F-4D97-AF65-F5344CB8AC3E}">
        <p14:creationId xmlns:p14="http://schemas.microsoft.com/office/powerpoint/2010/main" val="9676493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11.png"/><Relationship Id="rId18" Type="http://schemas.openxmlformats.org/officeDocument/2006/relationships/image" Target="../media/image16.jpeg"/><Relationship Id="rId3" Type="http://schemas.openxmlformats.org/officeDocument/2006/relationships/oleObject" Target="../embeddings/oleObject3.bin"/><Relationship Id="rId21" Type="http://schemas.openxmlformats.org/officeDocument/2006/relationships/image" Target="../media/image19.png"/><Relationship Id="rId7" Type="http://schemas.openxmlformats.org/officeDocument/2006/relationships/image" Target="../media/image5.png"/><Relationship Id="rId12" Type="http://schemas.openxmlformats.org/officeDocument/2006/relationships/image" Target="../media/image10.jpeg"/><Relationship Id="rId17" Type="http://schemas.openxmlformats.org/officeDocument/2006/relationships/image" Target="../media/image15.jpeg"/><Relationship Id="rId2" Type="http://schemas.openxmlformats.org/officeDocument/2006/relationships/slideMaster" Target="../slideMasters/slideMaster1.xml"/><Relationship Id="rId16" Type="http://schemas.openxmlformats.org/officeDocument/2006/relationships/image" Target="../media/image14.jpeg"/><Relationship Id="rId20" Type="http://schemas.openxmlformats.org/officeDocument/2006/relationships/image" Target="../media/image18.jpeg"/><Relationship Id="rId1" Type="http://schemas.openxmlformats.org/officeDocument/2006/relationships/tags" Target="../tags/tag5.xml"/><Relationship Id="rId6" Type="http://schemas.openxmlformats.org/officeDocument/2006/relationships/image" Target="../media/image4.jpeg"/><Relationship Id="rId11" Type="http://schemas.openxmlformats.org/officeDocument/2006/relationships/image" Target="../media/image9.jpeg"/><Relationship Id="rId5" Type="http://schemas.openxmlformats.org/officeDocument/2006/relationships/image" Target="../media/image3.png"/><Relationship Id="rId15" Type="http://schemas.openxmlformats.org/officeDocument/2006/relationships/image" Target="../media/image13.jpeg"/><Relationship Id="rId10" Type="http://schemas.openxmlformats.org/officeDocument/2006/relationships/image" Target="../media/image8.jpeg"/><Relationship Id="rId19" Type="http://schemas.openxmlformats.org/officeDocument/2006/relationships/image" Target="../media/image17.jpeg"/><Relationship Id="rId4" Type="http://schemas.openxmlformats.org/officeDocument/2006/relationships/image" Target="../media/image1.emf"/><Relationship Id="rId9" Type="http://schemas.openxmlformats.org/officeDocument/2006/relationships/image" Target="../media/image7.jpeg"/><Relationship Id="rId14" Type="http://schemas.openxmlformats.org/officeDocument/2006/relationships/image" Target="../media/image12.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extLst>
              <p:ext uri="{D42A27DB-BD31-4B8C-83A1-F6EECF244321}">
                <p14:modId xmlns:p14="http://schemas.microsoft.com/office/powerpoint/2010/main" val="42381250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3" name="オブジェクト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3" name="オブジェクト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5"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6"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7"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8"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9"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10"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11"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12"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3"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4"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5"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6"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7"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8"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9"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20" cstate="print"/>
          <a:srcRect/>
          <a:stretch>
            <a:fillRect/>
          </a:stretch>
        </p:blipFill>
        <p:spPr bwMode="auto">
          <a:xfrm>
            <a:off x="7621289" y="157162"/>
            <a:ext cx="976025" cy="146507"/>
          </a:xfrm>
          <a:prstGeom prst="rect">
            <a:avLst/>
          </a:prstGeom>
          <a:noFill/>
        </p:spPr>
      </p:pic>
      <p:sp>
        <p:nvSpPr>
          <p:cNvPr id="1986" name="正方形/長方形 1985"/>
          <p:cNvSpPr/>
          <p:nvPr userDrawn="1"/>
        </p:nvSpPr>
        <p:spPr>
          <a:xfrm>
            <a:off x="15552"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987" name="正方形/長方形 1986"/>
          <p:cNvSpPr/>
          <p:nvPr userDrawn="1"/>
        </p:nvSpPr>
        <p:spPr>
          <a:xfrm>
            <a:off x="15552"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988" name="正方形/長方形 1987"/>
          <p:cNvSpPr/>
          <p:nvPr userDrawn="1"/>
        </p:nvSpPr>
        <p:spPr>
          <a:xfrm>
            <a:off x="15552"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pic>
        <p:nvPicPr>
          <p:cNvPr id="4" name="図 3"/>
          <p:cNvPicPr>
            <a:picLocks noChangeAspect="1"/>
          </p:cNvPicPr>
          <p:nvPr userDrawn="1"/>
        </p:nvPicPr>
        <p:blipFill>
          <a:blip r:embed="rId21" cstate="print"/>
          <a:stretch>
            <a:fillRect/>
          </a:stretch>
        </p:blipFill>
        <p:spPr>
          <a:xfrm>
            <a:off x="5097016" y="2569503"/>
            <a:ext cx="4157832" cy="3523793"/>
          </a:xfrm>
          <a:prstGeom prst="rect">
            <a:avLst/>
          </a:prstGeom>
        </p:spPr>
      </p:pic>
    </p:spTree>
    <p:extLst>
      <p:ext uri="{BB962C8B-B14F-4D97-AF65-F5344CB8AC3E}">
        <p14:creationId xmlns:p14="http://schemas.microsoft.com/office/powerpoint/2010/main" val="33577496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userDrawn="1">
            <p:custDataLst>
              <p:tags r:id="rId5"/>
            </p:custDataLst>
            <p:extLst>
              <p:ext uri="{D42A27DB-BD31-4B8C-83A1-F6EECF244321}">
                <p14:modId xmlns:p14="http://schemas.microsoft.com/office/powerpoint/2010/main" val="4046004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81"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1232.xml"/><Relationship Id="rId4" Type="http://schemas.openxmlformats.org/officeDocument/2006/relationships/image" Target="../media/image125.emf"/></Relationships>
</file>

<file path=ppt/slides/_rels/slide11.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110.xml.rels><?xml version="1.0" encoding="UTF-8" standalone="yes"?>
<Relationships xmlns="http://schemas.openxmlformats.org/package/2006/relationships"><Relationship Id="rId3" Type="http://schemas.openxmlformats.org/officeDocument/2006/relationships/hyperlink" Target="https://www.jetro.go.jp/world/reports/2021/02/2ccc58fac1d29884.html" TargetMode="External"/><Relationship Id="rId7" Type="http://schemas.openxmlformats.org/officeDocument/2006/relationships/hyperlink" Target="https://www.jetro.go.jp/world/reports/2011/07000700.html"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hyperlink" Target="https://www.jetro.go.jp/world/reports/2016/02/995ecff75525fbb4.html" TargetMode="External"/><Relationship Id="rId5" Type="http://schemas.openxmlformats.org/officeDocument/2006/relationships/hyperlink" Target="https://www.jetro.go.jp/world/reports/2017/02/4a859bf448563ae0.html" TargetMode="External"/><Relationship Id="rId4" Type="http://schemas.openxmlformats.org/officeDocument/2006/relationships/hyperlink" Target="https://www.jetro.go.jp/world/reports/2019/01/7aac324198bb7d1b.html"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63" Type="http://schemas.openxmlformats.org/officeDocument/2006/relationships/tags" Target="../tags/tag71.xml"/><Relationship Id="rId159" Type="http://schemas.openxmlformats.org/officeDocument/2006/relationships/tags" Target="../tags/tag167.xml"/><Relationship Id="rId170" Type="http://schemas.openxmlformats.org/officeDocument/2006/relationships/tags" Target="../tags/tag178.xml"/><Relationship Id="rId226" Type="http://schemas.openxmlformats.org/officeDocument/2006/relationships/tags" Target="../tags/tag234.xml"/><Relationship Id="rId268" Type="http://schemas.openxmlformats.org/officeDocument/2006/relationships/tags" Target="../tags/tag276.xml"/><Relationship Id="rId32" Type="http://schemas.openxmlformats.org/officeDocument/2006/relationships/tags" Target="../tags/tag40.xml"/><Relationship Id="rId74" Type="http://schemas.openxmlformats.org/officeDocument/2006/relationships/tags" Target="../tags/tag82.xml"/><Relationship Id="rId128" Type="http://schemas.openxmlformats.org/officeDocument/2006/relationships/tags" Target="../tags/tag136.xml"/><Relationship Id="rId5" Type="http://schemas.openxmlformats.org/officeDocument/2006/relationships/tags" Target="../tags/tag13.xml"/><Relationship Id="rId181" Type="http://schemas.openxmlformats.org/officeDocument/2006/relationships/tags" Target="../tags/tag189.xml"/><Relationship Id="rId237" Type="http://schemas.openxmlformats.org/officeDocument/2006/relationships/tags" Target="../tags/tag245.xml"/><Relationship Id="rId279" Type="http://schemas.openxmlformats.org/officeDocument/2006/relationships/tags" Target="../tags/tag287.xml"/><Relationship Id="rId43" Type="http://schemas.openxmlformats.org/officeDocument/2006/relationships/tags" Target="../tags/tag51.xml"/><Relationship Id="rId139" Type="http://schemas.openxmlformats.org/officeDocument/2006/relationships/tags" Target="../tags/tag147.xml"/><Relationship Id="rId290" Type="http://schemas.openxmlformats.org/officeDocument/2006/relationships/chart" Target="../charts/chart1.xml"/><Relationship Id="rId85" Type="http://schemas.openxmlformats.org/officeDocument/2006/relationships/tags" Target="../tags/tag93.xml"/><Relationship Id="rId150" Type="http://schemas.openxmlformats.org/officeDocument/2006/relationships/tags" Target="../tags/tag158.xml"/><Relationship Id="rId192" Type="http://schemas.openxmlformats.org/officeDocument/2006/relationships/tags" Target="../tags/tag200.xml"/><Relationship Id="rId206" Type="http://schemas.openxmlformats.org/officeDocument/2006/relationships/tags" Target="../tags/tag214.xml"/><Relationship Id="rId248" Type="http://schemas.openxmlformats.org/officeDocument/2006/relationships/tags" Target="../tags/tag256.xml"/><Relationship Id="rId269" Type="http://schemas.openxmlformats.org/officeDocument/2006/relationships/tags" Target="../tags/tag277.xml"/><Relationship Id="rId12" Type="http://schemas.openxmlformats.org/officeDocument/2006/relationships/tags" Target="../tags/tag20.xml"/><Relationship Id="rId33" Type="http://schemas.openxmlformats.org/officeDocument/2006/relationships/tags" Target="../tags/tag41.xml"/><Relationship Id="rId108" Type="http://schemas.openxmlformats.org/officeDocument/2006/relationships/tags" Target="../tags/tag116.xml"/><Relationship Id="rId129" Type="http://schemas.openxmlformats.org/officeDocument/2006/relationships/tags" Target="../tags/tag137.xml"/><Relationship Id="rId280" Type="http://schemas.openxmlformats.org/officeDocument/2006/relationships/tags" Target="../tags/tag288.xml"/><Relationship Id="rId54" Type="http://schemas.openxmlformats.org/officeDocument/2006/relationships/tags" Target="../tags/tag62.xml"/><Relationship Id="rId75" Type="http://schemas.openxmlformats.org/officeDocument/2006/relationships/tags" Target="../tags/tag83.xml"/><Relationship Id="rId96" Type="http://schemas.openxmlformats.org/officeDocument/2006/relationships/tags" Target="../tags/tag104.xml"/><Relationship Id="rId140" Type="http://schemas.openxmlformats.org/officeDocument/2006/relationships/tags" Target="../tags/tag148.xml"/><Relationship Id="rId161" Type="http://schemas.openxmlformats.org/officeDocument/2006/relationships/tags" Target="../tags/tag169.xml"/><Relationship Id="rId182" Type="http://schemas.openxmlformats.org/officeDocument/2006/relationships/tags" Target="../tags/tag190.xml"/><Relationship Id="rId217" Type="http://schemas.openxmlformats.org/officeDocument/2006/relationships/tags" Target="../tags/tag225.xml"/><Relationship Id="rId6" Type="http://schemas.openxmlformats.org/officeDocument/2006/relationships/tags" Target="../tags/tag14.xml"/><Relationship Id="rId238" Type="http://schemas.openxmlformats.org/officeDocument/2006/relationships/tags" Target="../tags/tag246.xml"/><Relationship Id="rId259" Type="http://schemas.openxmlformats.org/officeDocument/2006/relationships/tags" Target="../tags/tag267.xml"/><Relationship Id="rId23" Type="http://schemas.openxmlformats.org/officeDocument/2006/relationships/tags" Target="../tags/tag31.xml"/><Relationship Id="rId119" Type="http://schemas.openxmlformats.org/officeDocument/2006/relationships/tags" Target="../tags/tag127.xml"/><Relationship Id="rId270" Type="http://schemas.openxmlformats.org/officeDocument/2006/relationships/tags" Target="../tags/tag278.xml"/><Relationship Id="rId291" Type="http://schemas.openxmlformats.org/officeDocument/2006/relationships/chart" Target="../charts/chart2.xml"/><Relationship Id="rId44" Type="http://schemas.openxmlformats.org/officeDocument/2006/relationships/tags" Target="../tags/tag52.xml"/><Relationship Id="rId65" Type="http://schemas.openxmlformats.org/officeDocument/2006/relationships/tags" Target="../tags/tag73.xml"/><Relationship Id="rId86" Type="http://schemas.openxmlformats.org/officeDocument/2006/relationships/tags" Target="../tags/tag94.xml"/><Relationship Id="rId130" Type="http://schemas.openxmlformats.org/officeDocument/2006/relationships/tags" Target="../tags/tag138.xml"/><Relationship Id="rId151" Type="http://schemas.openxmlformats.org/officeDocument/2006/relationships/tags" Target="../tags/tag159.xml"/><Relationship Id="rId172" Type="http://schemas.openxmlformats.org/officeDocument/2006/relationships/tags" Target="../tags/tag180.xml"/><Relationship Id="rId193" Type="http://schemas.openxmlformats.org/officeDocument/2006/relationships/tags" Target="../tags/tag201.xml"/><Relationship Id="rId207" Type="http://schemas.openxmlformats.org/officeDocument/2006/relationships/tags" Target="../tags/tag215.xml"/><Relationship Id="rId228" Type="http://schemas.openxmlformats.org/officeDocument/2006/relationships/tags" Target="../tags/tag236.xml"/><Relationship Id="rId249" Type="http://schemas.openxmlformats.org/officeDocument/2006/relationships/tags" Target="../tags/tag257.xml"/><Relationship Id="rId13" Type="http://schemas.openxmlformats.org/officeDocument/2006/relationships/tags" Target="../tags/tag21.xml"/><Relationship Id="rId109" Type="http://schemas.openxmlformats.org/officeDocument/2006/relationships/tags" Target="../tags/tag117.xml"/><Relationship Id="rId260" Type="http://schemas.openxmlformats.org/officeDocument/2006/relationships/tags" Target="../tags/tag268.xml"/><Relationship Id="rId281" Type="http://schemas.openxmlformats.org/officeDocument/2006/relationships/tags" Target="../tags/tag289.xml"/><Relationship Id="rId34" Type="http://schemas.openxmlformats.org/officeDocument/2006/relationships/tags" Target="../tags/tag42.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20" Type="http://schemas.openxmlformats.org/officeDocument/2006/relationships/tags" Target="../tags/tag128.xml"/><Relationship Id="rId141" Type="http://schemas.openxmlformats.org/officeDocument/2006/relationships/tags" Target="../tags/tag149.xml"/><Relationship Id="rId7" Type="http://schemas.openxmlformats.org/officeDocument/2006/relationships/tags" Target="../tags/tag15.xml"/><Relationship Id="rId162" Type="http://schemas.openxmlformats.org/officeDocument/2006/relationships/tags" Target="../tags/tag170.xml"/><Relationship Id="rId183" Type="http://schemas.openxmlformats.org/officeDocument/2006/relationships/tags" Target="../tags/tag191.xml"/><Relationship Id="rId218" Type="http://schemas.openxmlformats.org/officeDocument/2006/relationships/tags" Target="../tags/tag226.xml"/><Relationship Id="rId239" Type="http://schemas.openxmlformats.org/officeDocument/2006/relationships/tags" Target="../tags/tag247.xml"/><Relationship Id="rId250" Type="http://schemas.openxmlformats.org/officeDocument/2006/relationships/tags" Target="../tags/tag258.xml"/><Relationship Id="rId271" Type="http://schemas.openxmlformats.org/officeDocument/2006/relationships/tags" Target="../tags/tag279.xml"/><Relationship Id="rId24" Type="http://schemas.openxmlformats.org/officeDocument/2006/relationships/tags" Target="../tags/tag32.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31" Type="http://schemas.openxmlformats.org/officeDocument/2006/relationships/tags" Target="../tags/tag139.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208" Type="http://schemas.openxmlformats.org/officeDocument/2006/relationships/tags" Target="../tags/tag216.xml"/><Relationship Id="rId229" Type="http://schemas.openxmlformats.org/officeDocument/2006/relationships/tags" Target="../tags/tag237.xml"/><Relationship Id="rId240" Type="http://schemas.openxmlformats.org/officeDocument/2006/relationships/tags" Target="../tags/tag248.xml"/><Relationship Id="rId261" Type="http://schemas.openxmlformats.org/officeDocument/2006/relationships/tags" Target="../tags/tag269.xml"/><Relationship Id="rId14" Type="http://schemas.openxmlformats.org/officeDocument/2006/relationships/tags" Target="../tags/tag22.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282" Type="http://schemas.openxmlformats.org/officeDocument/2006/relationships/tags" Target="../tags/tag290.xml"/><Relationship Id="rId8" Type="http://schemas.openxmlformats.org/officeDocument/2006/relationships/tags" Target="../tags/tag16.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219" Type="http://schemas.openxmlformats.org/officeDocument/2006/relationships/tags" Target="../tags/tag227.xml"/><Relationship Id="rId230" Type="http://schemas.openxmlformats.org/officeDocument/2006/relationships/tags" Target="../tags/tag238.xml"/><Relationship Id="rId251" Type="http://schemas.openxmlformats.org/officeDocument/2006/relationships/tags" Target="../tags/tag259.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272" Type="http://schemas.openxmlformats.org/officeDocument/2006/relationships/tags" Target="../tags/tag280.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95" Type="http://schemas.openxmlformats.org/officeDocument/2006/relationships/tags" Target="../tags/tag203.xml"/><Relationship Id="rId209" Type="http://schemas.openxmlformats.org/officeDocument/2006/relationships/tags" Target="../tags/tag217.xml"/><Relationship Id="rId220" Type="http://schemas.openxmlformats.org/officeDocument/2006/relationships/tags" Target="../tags/tag228.xml"/><Relationship Id="rId241" Type="http://schemas.openxmlformats.org/officeDocument/2006/relationships/tags" Target="../tags/tag249.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262" Type="http://schemas.openxmlformats.org/officeDocument/2006/relationships/tags" Target="../tags/tag270.xml"/><Relationship Id="rId283" Type="http://schemas.openxmlformats.org/officeDocument/2006/relationships/tags" Target="../tags/tag291.xml"/><Relationship Id="rId78" Type="http://schemas.openxmlformats.org/officeDocument/2006/relationships/tags" Target="../tags/tag86.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64" Type="http://schemas.openxmlformats.org/officeDocument/2006/relationships/tags" Target="../tags/tag172.xml"/><Relationship Id="rId185" Type="http://schemas.openxmlformats.org/officeDocument/2006/relationships/tags" Target="../tags/tag193.xml"/><Relationship Id="rId9" Type="http://schemas.openxmlformats.org/officeDocument/2006/relationships/tags" Target="../tags/tag17.xml"/><Relationship Id="rId210" Type="http://schemas.openxmlformats.org/officeDocument/2006/relationships/tags" Target="../tags/tag218.xml"/><Relationship Id="rId26" Type="http://schemas.openxmlformats.org/officeDocument/2006/relationships/tags" Target="../tags/tag34.xml"/><Relationship Id="rId231" Type="http://schemas.openxmlformats.org/officeDocument/2006/relationships/tags" Target="../tags/tag239.xml"/><Relationship Id="rId252" Type="http://schemas.openxmlformats.org/officeDocument/2006/relationships/tags" Target="../tags/tag260.xml"/><Relationship Id="rId273" Type="http://schemas.openxmlformats.org/officeDocument/2006/relationships/tags" Target="../tags/tag281.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221" Type="http://schemas.openxmlformats.org/officeDocument/2006/relationships/tags" Target="../tags/tag229.xml"/><Relationship Id="rId242" Type="http://schemas.openxmlformats.org/officeDocument/2006/relationships/tags" Target="../tags/tag250.xml"/><Relationship Id="rId263" Type="http://schemas.openxmlformats.org/officeDocument/2006/relationships/tags" Target="../tags/tag271.xml"/><Relationship Id="rId284" Type="http://schemas.openxmlformats.org/officeDocument/2006/relationships/tags" Target="../tags/tag292.xml"/><Relationship Id="rId37" Type="http://schemas.openxmlformats.org/officeDocument/2006/relationships/tags" Target="../tags/tag45.xml"/><Relationship Id="rId58" Type="http://schemas.openxmlformats.org/officeDocument/2006/relationships/tags" Target="../tags/tag66.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44" Type="http://schemas.openxmlformats.org/officeDocument/2006/relationships/tags" Target="../tags/tag152.xml"/><Relationship Id="rId90" Type="http://schemas.openxmlformats.org/officeDocument/2006/relationships/tags" Target="../tags/tag98.xml"/><Relationship Id="rId165" Type="http://schemas.openxmlformats.org/officeDocument/2006/relationships/tags" Target="../tags/tag173.xml"/><Relationship Id="rId186" Type="http://schemas.openxmlformats.org/officeDocument/2006/relationships/tags" Target="../tags/tag194.xml"/><Relationship Id="rId211" Type="http://schemas.openxmlformats.org/officeDocument/2006/relationships/tags" Target="../tags/tag219.xml"/><Relationship Id="rId232" Type="http://schemas.openxmlformats.org/officeDocument/2006/relationships/tags" Target="../tags/tag240.xml"/><Relationship Id="rId253" Type="http://schemas.openxmlformats.org/officeDocument/2006/relationships/tags" Target="../tags/tag261.xml"/><Relationship Id="rId274" Type="http://schemas.openxmlformats.org/officeDocument/2006/relationships/tags" Target="../tags/tag282.xml"/><Relationship Id="rId27" Type="http://schemas.openxmlformats.org/officeDocument/2006/relationships/tags" Target="../tags/tag35.xml"/><Relationship Id="rId48" Type="http://schemas.openxmlformats.org/officeDocument/2006/relationships/tags" Target="../tags/tag56.xml"/><Relationship Id="rId69" Type="http://schemas.openxmlformats.org/officeDocument/2006/relationships/tags" Target="../tags/tag77.xml"/><Relationship Id="rId113" Type="http://schemas.openxmlformats.org/officeDocument/2006/relationships/tags" Target="../tags/tag121.xml"/><Relationship Id="rId134" Type="http://schemas.openxmlformats.org/officeDocument/2006/relationships/tags" Target="../tags/tag142.xml"/><Relationship Id="rId80" Type="http://schemas.openxmlformats.org/officeDocument/2006/relationships/tags" Target="../tags/tag88.xml"/><Relationship Id="rId155" Type="http://schemas.openxmlformats.org/officeDocument/2006/relationships/tags" Target="../tags/tag163.xml"/><Relationship Id="rId176" Type="http://schemas.openxmlformats.org/officeDocument/2006/relationships/tags" Target="../tags/tag184.xml"/><Relationship Id="rId197" Type="http://schemas.openxmlformats.org/officeDocument/2006/relationships/tags" Target="../tags/tag205.xml"/><Relationship Id="rId201" Type="http://schemas.openxmlformats.org/officeDocument/2006/relationships/tags" Target="../tags/tag209.xml"/><Relationship Id="rId222" Type="http://schemas.openxmlformats.org/officeDocument/2006/relationships/tags" Target="../tags/tag230.xml"/><Relationship Id="rId243" Type="http://schemas.openxmlformats.org/officeDocument/2006/relationships/tags" Target="../tags/tag251.xml"/><Relationship Id="rId264" Type="http://schemas.openxmlformats.org/officeDocument/2006/relationships/tags" Target="../tags/tag272.xml"/><Relationship Id="rId285" Type="http://schemas.openxmlformats.org/officeDocument/2006/relationships/tags" Target="../tags/tag293.xml"/><Relationship Id="rId17" Type="http://schemas.openxmlformats.org/officeDocument/2006/relationships/tags" Target="../tags/tag25.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24" Type="http://schemas.openxmlformats.org/officeDocument/2006/relationships/tags" Target="../tags/tag132.xml"/><Relationship Id="rId70" Type="http://schemas.openxmlformats.org/officeDocument/2006/relationships/tags" Target="../tags/tag78.xml"/><Relationship Id="rId91" Type="http://schemas.openxmlformats.org/officeDocument/2006/relationships/tags" Target="../tags/tag99.xml"/><Relationship Id="rId145" Type="http://schemas.openxmlformats.org/officeDocument/2006/relationships/tags" Target="../tags/tag153.xml"/><Relationship Id="rId166" Type="http://schemas.openxmlformats.org/officeDocument/2006/relationships/tags" Target="../tags/tag174.xml"/><Relationship Id="rId187" Type="http://schemas.openxmlformats.org/officeDocument/2006/relationships/tags" Target="../tags/tag195.xml"/><Relationship Id="rId1" Type="http://schemas.openxmlformats.org/officeDocument/2006/relationships/tags" Target="../tags/tag9.xml"/><Relationship Id="rId212" Type="http://schemas.openxmlformats.org/officeDocument/2006/relationships/tags" Target="../tags/tag220.xml"/><Relationship Id="rId233" Type="http://schemas.openxmlformats.org/officeDocument/2006/relationships/tags" Target="../tags/tag241.xml"/><Relationship Id="rId254" Type="http://schemas.openxmlformats.org/officeDocument/2006/relationships/tags" Target="../tags/tag262.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275" Type="http://schemas.openxmlformats.org/officeDocument/2006/relationships/tags" Target="../tags/tag283.xml"/><Relationship Id="rId60" Type="http://schemas.openxmlformats.org/officeDocument/2006/relationships/tags" Target="../tags/tag68.xml"/><Relationship Id="rId81" Type="http://schemas.openxmlformats.org/officeDocument/2006/relationships/tags" Target="../tags/tag89.xml"/><Relationship Id="rId135" Type="http://schemas.openxmlformats.org/officeDocument/2006/relationships/tags" Target="../tags/tag143.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202" Type="http://schemas.openxmlformats.org/officeDocument/2006/relationships/tags" Target="../tags/tag210.xml"/><Relationship Id="rId223" Type="http://schemas.openxmlformats.org/officeDocument/2006/relationships/tags" Target="../tags/tag231.xml"/><Relationship Id="rId244" Type="http://schemas.openxmlformats.org/officeDocument/2006/relationships/tags" Target="../tags/tag252.xml"/><Relationship Id="rId18" Type="http://schemas.openxmlformats.org/officeDocument/2006/relationships/tags" Target="../tags/tag26.xml"/><Relationship Id="rId39" Type="http://schemas.openxmlformats.org/officeDocument/2006/relationships/tags" Target="../tags/tag47.xml"/><Relationship Id="rId265" Type="http://schemas.openxmlformats.org/officeDocument/2006/relationships/tags" Target="../tags/tag273.xml"/><Relationship Id="rId286" Type="http://schemas.openxmlformats.org/officeDocument/2006/relationships/tags" Target="../tags/tag294.xml"/><Relationship Id="rId50" Type="http://schemas.openxmlformats.org/officeDocument/2006/relationships/tags" Target="../tags/tag58.xml"/><Relationship Id="rId104" Type="http://schemas.openxmlformats.org/officeDocument/2006/relationships/tags" Target="../tags/tag112.xml"/><Relationship Id="rId125" Type="http://schemas.openxmlformats.org/officeDocument/2006/relationships/tags" Target="../tags/tag133.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1" Type="http://schemas.openxmlformats.org/officeDocument/2006/relationships/tags" Target="../tags/tag79.xml"/><Relationship Id="rId92" Type="http://schemas.openxmlformats.org/officeDocument/2006/relationships/tags" Target="../tags/tag100.xml"/><Relationship Id="rId213" Type="http://schemas.openxmlformats.org/officeDocument/2006/relationships/tags" Target="../tags/tag221.xml"/><Relationship Id="rId234" Type="http://schemas.openxmlformats.org/officeDocument/2006/relationships/tags" Target="../tags/tag242.xml"/><Relationship Id="rId2" Type="http://schemas.openxmlformats.org/officeDocument/2006/relationships/tags" Target="../tags/tag10.xml"/><Relationship Id="rId29" Type="http://schemas.openxmlformats.org/officeDocument/2006/relationships/tags" Target="../tags/tag37.xml"/><Relationship Id="rId255" Type="http://schemas.openxmlformats.org/officeDocument/2006/relationships/tags" Target="../tags/tag263.xml"/><Relationship Id="rId276" Type="http://schemas.openxmlformats.org/officeDocument/2006/relationships/tags" Target="../tags/tag284.xml"/><Relationship Id="rId40" Type="http://schemas.openxmlformats.org/officeDocument/2006/relationships/tags" Target="../tags/tag48.xml"/><Relationship Id="rId115" Type="http://schemas.openxmlformats.org/officeDocument/2006/relationships/tags" Target="../tags/tag123.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99" Type="http://schemas.openxmlformats.org/officeDocument/2006/relationships/tags" Target="../tags/tag207.xml"/><Relationship Id="rId203" Type="http://schemas.openxmlformats.org/officeDocument/2006/relationships/tags" Target="../tags/tag211.xml"/><Relationship Id="rId19" Type="http://schemas.openxmlformats.org/officeDocument/2006/relationships/tags" Target="../tags/tag27.xml"/><Relationship Id="rId224" Type="http://schemas.openxmlformats.org/officeDocument/2006/relationships/tags" Target="../tags/tag232.xml"/><Relationship Id="rId245" Type="http://schemas.openxmlformats.org/officeDocument/2006/relationships/tags" Target="../tags/tag253.xml"/><Relationship Id="rId266" Type="http://schemas.openxmlformats.org/officeDocument/2006/relationships/tags" Target="../tags/tag274.xml"/><Relationship Id="rId287" Type="http://schemas.openxmlformats.org/officeDocument/2006/relationships/slideLayout" Target="../slideLayouts/slideLayout2.xml"/><Relationship Id="rId30" Type="http://schemas.openxmlformats.org/officeDocument/2006/relationships/tags" Target="../tags/tag3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189" Type="http://schemas.openxmlformats.org/officeDocument/2006/relationships/tags" Target="../tags/tag197.xml"/><Relationship Id="rId3" Type="http://schemas.openxmlformats.org/officeDocument/2006/relationships/tags" Target="../tags/tag11.xml"/><Relationship Id="rId214" Type="http://schemas.openxmlformats.org/officeDocument/2006/relationships/tags" Target="../tags/tag222.xml"/><Relationship Id="rId235" Type="http://schemas.openxmlformats.org/officeDocument/2006/relationships/tags" Target="../tags/tag243.xml"/><Relationship Id="rId256" Type="http://schemas.openxmlformats.org/officeDocument/2006/relationships/tags" Target="../tags/tag264.xml"/><Relationship Id="rId277" Type="http://schemas.openxmlformats.org/officeDocument/2006/relationships/tags" Target="../tags/tag285.xml"/><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179" Type="http://schemas.openxmlformats.org/officeDocument/2006/relationships/tags" Target="../tags/tag187.xml"/><Relationship Id="rId190" Type="http://schemas.openxmlformats.org/officeDocument/2006/relationships/tags" Target="../tags/tag198.xml"/><Relationship Id="rId204" Type="http://schemas.openxmlformats.org/officeDocument/2006/relationships/tags" Target="../tags/tag212.xml"/><Relationship Id="rId225" Type="http://schemas.openxmlformats.org/officeDocument/2006/relationships/tags" Target="../tags/tag233.xml"/><Relationship Id="rId246" Type="http://schemas.openxmlformats.org/officeDocument/2006/relationships/tags" Target="../tags/tag254.xml"/><Relationship Id="rId267" Type="http://schemas.openxmlformats.org/officeDocument/2006/relationships/tags" Target="../tags/tag275.xml"/><Relationship Id="rId288" Type="http://schemas.openxmlformats.org/officeDocument/2006/relationships/oleObject" Target="../embeddings/oleObject7.bin"/><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94" Type="http://schemas.openxmlformats.org/officeDocument/2006/relationships/tags" Target="../tags/tag102.xml"/><Relationship Id="rId148" Type="http://schemas.openxmlformats.org/officeDocument/2006/relationships/tags" Target="../tags/tag156.xml"/><Relationship Id="rId169" Type="http://schemas.openxmlformats.org/officeDocument/2006/relationships/tags" Target="../tags/tag177.xml"/><Relationship Id="rId4" Type="http://schemas.openxmlformats.org/officeDocument/2006/relationships/tags" Target="../tags/tag12.xml"/><Relationship Id="rId180" Type="http://schemas.openxmlformats.org/officeDocument/2006/relationships/tags" Target="../tags/tag188.xml"/><Relationship Id="rId215" Type="http://schemas.openxmlformats.org/officeDocument/2006/relationships/tags" Target="../tags/tag223.xml"/><Relationship Id="rId236" Type="http://schemas.openxmlformats.org/officeDocument/2006/relationships/tags" Target="../tags/tag244.xml"/><Relationship Id="rId257" Type="http://schemas.openxmlformats.org/officeDocument/2006/relationships/tags" Target="../tags/tag265.xml"/><Relationship Id="rId278" Type="http://schemas.openxmlformats.org/officeDocument/2006/relationships/tags" Target="../tags/tag286.xml"/><Relationship Id="rId42" Type="http://schemas.openxmlformats.org/officeDocument/2006/relationships/tags" Target="../tags/tag50.xml"/><Relationship Id="rId84" Type="http://schemas.openxmlformats.org/officeDocument/2006/relationships/tags" Target="../tags/tag92.xml"/><Relationship Id="rId138" Type="http://schemas.openxmlformats.org/officeDocument/2006/relationships/tags" Target="../tags/tag146.xml"/><Relationship Id="rId191" Type="http://schemas.openxmlformats.org/officeDocument/2006/relationships/tags" Target="../tags/tag199.xml"/><Relationship Id="rId205" Type="http://schemas.openxmlformats.org/officeDocument/2006/relationships/tags" Target="../tags/tag213.xml"/><Relationship Id="rId247" Type="http://schemas.openxmlformats.org/officeDocument/2006/relationships/tags" Target="../tags/tag255.xml"/><Relationship Id="rId107" Type="http://schemas.openxmlformats.org/officeDocument/2006/relationships/tags" Target="../tags/tag115.xml"/><Relationship Id="rId289" Type="http://schemas.openxmlformats.org/officeDocument/2006/relationships/image" Target="../media/image1.emf"/><Relationship Id="rId11" Type="http://schemas.openxmlformats.org/officeDocument/2006/relationships/tags" Target="../tags/tag19.xml"/><Relationship Id="rId53" Type="http://schemas.openxmlformats.org/officeDocument/2006/relationships/tags" Target="../tags/tag61.xml"/><Relationship Id="rId149" Type="http://schemas.openxmlformats.org/officeDocument/2006/relationships/tags" Target="../tags/tag157.xml"/><Relationship Id="rId95" Type="http://schemas.openxmlformats.org/officeDocument/2006/relationships/tags" Target="../tags/tag103.xml"/><Relationship Id="rId160" Type="http://schemas.openxmlformats.org/officeDocument/2006/relationships/tags" Target="../tags/tag168.xml"/><Relationship Id="rId216" Type="http://schemas.openxmlformats.org/officeDocument/2006/relationships/tags" Target="../tags/tag224.xml"/><Relationship Id="rId258" Type="http://schemas.openxmlformats.org/officeDocument/2006/relationships/tags" Target="../tags/tag266.xml"/><Relationship Id="rId22" Type="http://schemas.openxmlformats.org/officeDocument/2006/relationships/tags" Target="../tags/tag30.xml"/><Relationship Id="rId64" Type="http://schemas.openxmlformats.org/officeDocument/2006/relationships/tags" Target="../tags/tag72.xml"/><Relationship Id="rId118" Type="http://schemas.openxmlformats.org/officeDocument/2006/relationships/tags" Target="../tags/tag126.xml"/><Relationship Id="rId171" Type="http://schemas.openxmlformats.org/officeDocument/2006/relationships/tags" Target="../tags/tag179.xml"/><Relationship Id="rId227" Type="http://schemas.openxmlformats.org/officeDocument/2006/relationships/tags" Target="../tags/tag235.xml"/></Relationships>
</file>

<file path=ppt/slides/_rels/slide15.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tags" Target="../tags/tag307.xml"/><Relationship Id="rId18" Type="http://schemas.openxmlformats.org/officeDocument/2006/relationships/tags" Target="../tags/tag312.xml"/><Relationship Id="rId26" Type="http://schemas.openxmlformats.org/officeDocument/2006/relationships/image" Target="../media/image25.emf"/><Relationship Id="rId3" Type="http://schemas.openxmlformats.org/officeDocument/2006/relationships/tags" Target="../tags/tag297.xml"/><Relationship Id="rId21" Type="http://schemas.openxmlformats.org/officeDocument/2006/relationships/tags" Target="../tags/tag315.xml"/><Relationship Id="rId7" Type="http://schemas.openxmlformats.org/officeDocument/2006/relationships/tags" Target="../tags/tag301.xml"/><Relationship Id="rId12" Type="http://schemas.openxmlformats.org/officeDocument/2006/relationships/tags" Target="../tags/tag306.xml"/><Relationship Id="rId17" Type="http://schemas.openxmlformats.org/officeDocument/2006/relationships/tags" Target="../tags/tag311.xml"/><Relationship Id="rId25" Type="http://schemas.openxmlformats.org/officeDocument/2006/relationships/oleObject" Target="../embeddings/oleObject8.bin"/><Relationship Id="rId2" Type="http://schemas.openxmlformats.org/officeDocument/2006/relationships/tags" Target="../tags/tag296.xml"/><Relationship Id="rId16" Type="http://schemas.openxmlformats.org/officeDocument/2006/relationships/tags" Target="../tags/tag310.xml"/><Relationship Id="rId20" Type="http://schemas.openxmlformats.org/officeDocument/2006/relationships/tags" Target="../tags/tag314.xml"/><Relationship Id="rId1" Type="http://schemas.openxmlformats.org/officeDocument/2006/relationships/tags" Target="../tags/tag295.xml"/><Relationship Id="rId6" Type="http://schemas.openxmlformats.org/officeDocument/2006/relationships/tags" Target="../tags/tag300.xml"/><Relationship Id="rId11" Type="http://schemas.openxmlformats.org/officeDocument/2006/relationships/tags" Target="../tags/tag305.xml"/><Relationship Id="rId24" Type="http://schemas.openxmlformats.org/officeDocument/2006/relationships/slideLayout" Target="../slideLayouts/slideLayout2.xml"/><Relationship Id="rId5" Type="http://schemas.openxmlformats.org/officeDocument/2006/relationships/tags" Target="../tags/tag299.xml"/><Relationship Id="rId15" Type="http://schemas.openxmlformats.org/officeDocument/2006/relationships/tags" Target="../tags/tag309.xml"/><Relationship Id="rId23" Type="http://schemas.openxmlformats.org/officeDocument/2006/relationships/tags" Target="../tags/tag317.xml"/><Relationship Id="rId10" Type="http://schemas.openxmlformats.org/officeDocument/2006/relationships/tags" Target="../tags/tag304.xml"/><Relationship Id="rId19" Type="http://schemas.openxmlformats.org/officeDocument/2006/relationships/tags" Target="../tags/tag313.xml"/><Relationship Id="rId4" Type="http://schemas.openxmlformats.org/officeDocument/2006/relationships/tags" Target="../tags/tag298.xml"/><Relationship Id="rId9" Type="http://schemas.openxmlformats.org/officeDocument/2006/relationships/tags" Target="../tags/tag303.xml"/><Relationship Id="rId14" Type="http://schemas.openxmlformats.org/officeDocument/2006/relationships/tags" Target="../tags/tag308.xml"/><Relationship Id="rId22" Type="http://schemas.openxmlformats.org/officeDocument/2006/relationships/tags" Target="../tags/tag316.xml"/><Relationship Id="rId27" Type="http://schemas.openxmlformats.org/officeDocument/2006/relationships/chart" Target="../charts/chart3.xml"/></Relationships>
</file>

<file path=ppt/slides/_rels/slide16.xml.rels><?xml version="1.0" encoding="UTF-8" standalone="yes"?>
<Relationships xmlns="http://schemas.openxmlformats.org/package/2006/relationships"><Relationship Id="rId26" Type="http://schemas.openxmlformats.org/officeDocument/2006/relationships/tags" Target="../tags/tag343.xml"/><Relationship Id="rId21" Type="http://schemas.openxmlformats.org/officeDocument/2006/relationships/tags" Target="../tags/tag338.xml"/><Relationship Id="rId42" Type="http://schemas.openxmlformats.org/officeDocument/2006/relationships/tags" Target="../tags/tag359.xml"/><Relationship Id="rId47" Type="http://schemas.openxmlformats.org/officeDocument/2006/relationships/tags" Target="../tags/tag364.xml"/><Relationship Id="rId63" Type="http://schemas.openxmlformats.org/officeDocument/2006/relationships/tags" Target="../tags/tag380.xml"/><Relationship Id="rId68" Type="http://schemas.openxmlformats.org/officeDocument/2006/relationships/tags" Target="../tags/tag385.xml"/><Relationship Id="rId84" Type="http://schemas.openxmlformats.org/officeDocument/2006/relationships/tags" Target="../tags/tag401.xml"/><Relationship Id="rId89" Type="http://schemas.openxmlformats.org/officeDocument/2006/relationships/tags" Target="../tags/tag406.xml"/><Relationship Id="rId112" Type="http://schemas.openxmlformats.org/officeDocument/2006/relationships/chart" Target="../charts/chart5.xml"/><Relationship Id="rId16" Type="http://schemas.openxmlformats.org/officeDocument/2006/relationships/tags" Target="../tags/tag333.xml"/><Relationship Id="rId107" Type="http://schemas.openxmlformats.org/officeDocument/2006/relationships/tags" Target="../tags/tag424.xml"/><Relationship Id="rId11" Type="http://schemas.openxmlformats.org/officeDocument/2006/relationships/tags" Target="../tags/tag328.xml"/><Relationship Id="rId32" Type="http://schemas.openxmlformats.org/officeDocument/2006/relationships/tags" Target="../tags/tag349.xml"/><Relationship Id="rId37" Type="http://schemas.openxmlformats.org/officeDocument/2006/relationships/tags" Target="../tags/tag354.xml"/><Relationship Id="rId53" Type="http://schemas.openxmlformats.org/officeDocument/2006/relationships/tags" Target="../tags/tag370.xml"/><Relationship Id="rId58" Type="http://schemas.openxmlformats.org/officeDocument/2006/relationships/tags" Target="../tags/tag375.xml"/><Relationship Id="rId74" Type="http://schemas.openxmlformats.org/officeDocument/2006/relationships/tags" Target="../tags/tag391.xml"/><Relationship Id="rId79" Type="http://schemas.openxmlformats.org/officeDocument/2006/relationships/tags" Target="../tags/tag396.xml"/><Relationship Id="rId102" Type="http://schemas.openxmlformats.org/officeDocument/2006/relationships/tags" Target="../tags/tag419.xml"/><Relationship Id="rId5" Type="http://schemas.openxmlformats.org/officeDocument/2006/relationships/tags" Target="../tags/tag322.xml"/><Relationship Id="rId90" Type="http://schemas.openxmlformats.org/officeDocument/2006/relationships/tags" Target="../tags/tag407.xml"/><Relationship Id="rId95" Type="http://schemas.openxmlformats.org/officeDocument/2006/relationships/tags" Target="../tags/tag412.xml"/><Relationship Id="rId22" Type="http://schemas.openxmlformats.org/officeDocument/2006/relationships/tags" Target="../tags/tag339.xml"/><Relationship Id="rId27" Type="http://schemas.openxmlformats.org/officeDocument/2006/relationships/tags" Target="../tags/tag344.xml"/><Relationship Id="rId43" Type="http://schemas.openxmlformats.org/officeDocument/2006/relationships/tags" Target="../tags/tag360.xml"/><Relationship Id="rId48" Type="http://schemas.openxmlformats.org/officeDocument/2006/relationships/tags" Target="../tags/tag365.xml"/><Relationship Id="rId64" Type="http://schemas.openxmlformats.org/officeDocument/2006/relationships/tags" Target="../tags/tag381.xml"/><Relationship Id="rId69" Type="http://schemas.openxmlformats.org/officeDocument/2006/relationships/tags" Target="../tags/tag386.xml"/><Relationship Id="rId80" Type="http://schemas.openxmlformats.org/officeDocument/2006/relationships/tags" Target="../tags/tag397.xml"/><Relationship Id="rId85" Type="http://schemas.openxmlformats.org/officeDocument/2006/relationships/tags" Target="../tags/tag402.xml"/><Relationship Id="rId12" Type="http://schemas.openxmlformats.org/officeDocument/2006/relationships/tags" Target="../tags/tag329.xml"/><Relationship Id="rId17" Type="http://schemas.openxmlformats.org/officeDocument/2006/relationships/tags" Target="../tags/tag334.xml"/><Relationship Id="rId33" Type="http://schemas.openxmlformats.org/officeDocument/2006/relationships/tags" Target="../tags/tag350.xml"/><Relationship Id="rId38" Type="http://schemas.openxmlformats.org/officeDocument/2006/relationships/tags" Target="../tags/tag355.xml"/><Relationship Id="rId59" Type="http://schemas.openxmlformats.org/officeDocument/2006/relationships/tags" Target="../tags/tag376.xml"/><Relationship Id="rId103" Type="http://schemas.openxmlformats.org/officeDocument/2006/relationships/tags" Target="../tags/tag420.xml"/><Relationship Id="rId108" Type="http://schemas.openxmlformats.org/officeDocument/2006/relationships/slideLayout" Target="../slideLayouts/slideLayout2.xml"/><Relationship Id="rId54" Type="http://schemas.openxmlformats.org/officeDocument/2006/relationships/tags" Target="../tags/tag371.xml"/><Relationship Id="rId70" Type="http://schemas.openxmlformats.org/officeDocument/2006/relationships/tags" Target="../tags/tag387.xml"/><Relationship Id="rId75" Type="http://schemas.openxmlformats.org/officeDocument/2006/relationships/tags" Target="../tags/tag392.xml"/><Relationship Id="rId91" Type="http://schemas.openxmlformats.org/officeDocument/2006/relationships/tags" Target="../tags/tag408.xml"/><Relationship Id="rId96" Type="http://schemas.openxmlformats.org/officeDocument/2006/relationships/tags" Target="../tags/tag413.xml"/><Relationship Id="rId1" Type="http://schemas.openxmlformats.org/officeDocument/2006/relationships/tags" Target="../tags/tag318.xml"/><Relationship Id="rId6" Type="http://schemas.openxmlformats.org/officeDocument/2006/relationships/tags" Target="../tags/tag323.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tags" Target="../tags/tag345.xml"/><Relationship Id="rId36" Type="http://schemas.openxmlformats.org/officeDocument/2006/relationships/tags" Target="../tags/tag353.xml"/><Relationship Id="rId49" Type="http://schemas.openxmlformats.org/officeDocument/2006/relationships/tags" Target="../tags/tag366.xml"/><Relationship Id="rId57" Type="http://schemas.openxmlformats.org/officeDocument/2006/relationships/tags" Target="../tags/tag374.xml"/><Relationship Id="rId106" Type="http://schemas.openxmlformats.org/officeDocument/2006/relationships/tags" Target="../tags/tag423.xml"/><Relationship Id="rId10" Type="http://schemas.openxmlformats.org/officeDocument/2006/relationships/tags" Target="../tags/tag327.xml"/><Relationship Id="rId31" Type="http://schemas.openxmlformats.org/officeDocument/2006/relationships/tags" Target="../tags/tag348.xml"/><Relationship Id="rId44" Type="http://schemas.openxmlformats.org/officeDocument/2006/relationships/tags" Target="../tags/tag361.xml"/><Relationship Id="rId52" Type="http://schemas.openxmlformats.org/officeDocument/2006/relationships/tags" Target="../tags/tag369.xml"/><Relationship Id="rId60" Type="http://schemas.openxmlformats.org/officeDocument/2006/relationships/tags" Target="../tags/tag377.xml"/><Relationship Id="rId65" Type="http://schemas.openxmlformats.org/officeDocument/2006/relationships/tags" Target="../tags/tag382.xml"/><Relationship Id="rId73" Type="http://schemas.openxmlformats.org/officeDocument/2006/relationships/tags" Target="../tags/tag390.xml"/><Relationship Id="rId78" Type="http://schemas.openxmlformats.org/officeDocument/2006/relationships/tags" Target="../tags/tag395.xml"/><Relationship Id="rId81" Type="http://schemas.openxmlformats.org/officeDocument/2006/relationships/tags" Target="../tags/tag398.xml"/><Relationship Id="rId86" Type="http://schemas.openxmlformats.org/officeDocument/2006/relationships/tags" Target="../tags/tag403.xml"/><Relationship Id="rId94" Type="http://schemas.openxmlformats.org/officeDocument/2006/relationships/tags" Target="../tags/tag411.xml"/><Relationship Id="rId99" Type="http://schemas.openxmlformats.org/officeDocument/2006/relationships/tags" Target="../tags/tag416.xml"/><Relationship Id="rId101" Type="http://schemas.openxmlformats.org/officeDocument/2006/relationships/tags" Target="../tags/tag418.xml"/><Relationship Id="rId4" Type="http://schemas.openxmlformats.org/officeDocument/2006/relationships/tags" Target="../tags/tag321.xml"/><Relationship Id="rId9" Type="http://schemas.openxmlformats.org/officeDocument/2006/relationships/tags" Target="../tags/tag326.xml"/><Relationship Id="rId13" Type="http://schemas.openxmlformats.org/officeDocument/2006/relationships/tags" Target="../tags/tag330.xml"/><Relationship Id="rId18" Type="http://schemas.openxmlformats.org/officeDocument/2006/relationships/tags" Target="../tags/tag335.xml"/><Relationship Id="rId39" Type="http://schemas.openxmlformats.org/officeDocument/2006/relationships/tags" Target="../tags/tag356.xml"/><Relationship Id="rId109" Type="http://schemas.openxmlformats.org/officeDocument/2006/relationships/oleObject" Target="../embeddings/oleObject9.bin"/><Relationship Id="rId34" Type="http://schemas.openxmlformats.org/officeDocument/2006/relationships/tags" Target="../tags/tag351.xml"/><Relationship Id="rId50" Type="http://schemas.openxmlformats.org/officeDocument/2006/relationships/tags" Target="../tags/tag367.xml"/><Relationship Id="rId55" Type="http://schemas.openxmlformats.org/officeDocument/2006/relationships/tags" Target="../tags/tag372.xml"/><Relationship Id="rId76" Type="http://schemas.openxmlformats.org/officeDocument/2006/relationships/tags" Target="../tags/tag393.xml"/><Relationship Id="rId97" Type="http://schemas.openxmlformats.org/officeDocument/2006/relationships/tags" Target="../tags/tag414.xml"/><Relationship Id="rId104" Type="http://schemas.openxmlformats.org/officeDocument/2006/relationships/tags" Target="../tags/tag421.xml"/><Relationship Id="rId7" Type="http://schemas.openxmlformats.org/officeDocument/2006/relationships/tags" Target="../tags/tag324.xml"/><Relationship Id="rId71" Type="http://schemas.openxmlformats.org/officeDocument/2006/relationships/tags" Target="../tags/tag388.xml"/><Relationship Id="rId92" Type="http://schemas.openxmlformats.org/officeDocument/2006/relationships/tags" Target="../tags/tag409.xml"/><Relationship Id="rId2" Type="http://schemas.openxmlformats.org/officeDocument/2006/relationships/tags" Target="../tags/tag319.xml"/><Relationship Id="rId29" Type="http://schemas.openxmlformats.org/officeDocument/2006/relationships/tags" Target="../tags/tag346.xml"/><Relationship Id="rId24" Type="http://schemas.openxmlformats.org/officeDocument/2006/relationships/tags" Target="../tags/tag341.xml"/><Relationship Id="rId40" Type="http://schemas.openxmlformats.org/officeDocument/2006/relationships/tags" Target="../tags/tag357.xml"/><Relationship Id="rId45" Type="http://schemas.openxmlformats.org/officeDocument/2006/relationships/tags" Target="../tags/tag362.xml"/><Relationship Id="rId66" Type="http://schemas.openxmlformats.org/officeDocument/2006/relationships/tags" Target="../tags/tag383.xml"/><Relationship Id="rId87" Type="http://schemas.openxmlformats.org/officeDocument/2006/relationships/tags" Target="../tags/tag404.xml"/><Relationship Id="rId110" Type="http://schemas.openxmlformats.org/officeDocument/2006/relationships/image" Target="../media/image25.emf"/><Relationship Id="rId61" Type="http://schemas.openxmlformats.org/officeDocument/2006/relationships/tags" Target="../tags/tag378.xml"/><Relationship Id="rId82" Type="http://schemas.openxmlformats.org/officeDocument/2006/relationships/tags" Target="../tags/tag399.xml"/><Relationship Id="rId19" Type="http://schemas.openxmlformats.org/officeDocument/2006/relationships/tags" Target="../tags/tag336.xml"/><Relationship Id="rId14" Type="http://schemas.openxmlformats.org/officeDocument/2006/relationships/tags" Target="../tags/tag331.xml"/><Relationship Id="rId30" Type="http://schemas.openxmlformats.org/officeDocument/2006/relationships/tags" Target="../tags/tag347.xml"/><Relationship Id="rId35" Type="http://schemas.openxmlformats.org/officeDocument/2006/relationships/tags" Target="../tags/tag352.xml"/><Relationship Id="rId56" Type="http://schemas.openxmlformats.org/officeDocument/2006/relationships/tags" Target="../tags/tag373.xml"/><Relationship Id="rId77" Type="http://schemas.openxmlformats.org/officeDocument/2006/relationships/tags" Target="../tags/tag394.xml"/><Relationship Id="rId100" Type="http://schemas.openxmlformats.org/officeDocument/2006/relationships/tags" Target="../tags/tag417.xml"/><Relationship Id="rId105" Type="http://schemas.openxmlformats.org/officeDocument/2006/relationships/tags" Target="../tags/tag422.xml"/><Relationship Id="rId8" Type="http://schemas.openxmlformats.org/officeDocument/2006/relationships/tags" Target="../tags/tag325.xml"/><Relationship Id="rId51" Type="http://schemas.openxmlformats.org/officeDocument/2006/relationships/tags" Target="../tags/tag368.xml"/><Relationship Id="rId72" Type="http://schemas.openxmlformats.org/officeDocument/2006/relationships/tags" Target="../tags/tag389.xml"/><Relationship Id="rId93" Type="http://schemas.openxmlformats.org/officeDocument/2006/relationships/tags" Target="../tags/tag410.xml"/><Relationship Id="rId98" Type="http://schemas.openxmlformats.org/officeDocument/2006/relationships/tags" Target="../tags/tag415.xml"/><Relationship Id="rId3" Type="http://schemas.openxmlformats.org/officeDocument/2006/relationships/tags" Target="../tags/tag320.xml"/><Relationship Id="rId25" Type="http://schemas.openxmlformats.org/officeDocument/2006/relationships/tags" Target="../tags/tag342.xml"/><Relationship Id="rId46" Type="http://schemas.openxmlformats.org/officeDocument/2006/relationships/tags" Target="../tags/tag363.xml"/><Relationship Id="rId67" Type="http://schemas.openxmlformats.org/officeDocument/2006/relationships/tags" Target="../tags/tag384.xml"/><Relationship Id="rId20" Type="http://schemas.openxmlformats.org/officeDocument/2006/relationships/tags" Target="../tags/tag337.xml"/><Relationship Id="rId41" Type="http://schemas.openxmlformats.org/officeDocument/2006/relationships/tags" Target="../tags/tag358.xml"/><Relationship Id="rId62" Type="http://schemas.openxmlformats.org/officeDocument/2006/relationships/tags" Target="../tags/tag379.xml"/><Relationship Id="rId83" Type="http://schemas.openxmlformats.org/officeDocument/2006/relationships/tags" Target="../tags/tag400.xml"/><Relationship Id="rId88" Type="http://schemas.openxmlformats.org/officeDocument/2006/relationships/tags" Target="../tags/tag405.xml"/><Relationship Id="rId111" Type="http://schemas.openxmlformats.org/officeDocument/2006/relationships/chart" Target="../charts/chart4.xml"/></Relationships>
</file>

<file path=ppt/slides/_rels/slide17.xml.rels><?xml version="1.0" encoding="UTF-8" standalone="yes"?>
<Relationships xmlns="http://schemas.openxmlformats.org/package/2006/relationships"><Relationship Id="rId26" Type="http://schemas.openxmlformats.org/officeDocument/2006/relationships/tags" Target="../tags/tag450.xml"/><Relationship Id="rId21" Type="http://schemas.openxmlformats.org/officeDocument/2006/relationships/tags" Target="../tags/tag445.xml"/><Relationship Id="rId42" Type="http://schemas.openxmlformats.org/officeDocument/2006/relationships/tags" Target="../tags/tag466.xml"/><Relationship Id="rId47" Type="http://schemas.openxmlformats.org/officeDocument/2006/relationships/tags" Target="../tags/tag471.xml"/><Relationship Id="rId63" Type="http://schemas.openxmlformats.org/officeDocument/2006/relationships/tags" Target="../tags/tag487.xml"/><Relationship Id="rId68" Type="http://schemas.openxmlformats.org/officeDocument/2006/relationships/tags" Target="../tags/tag492.xml"/><Relationship Id="rId84" Type="http://schemas.openxmlformats.org/officeDocument/2006/relationships/tags" Target="../tags/tag508.xml"/><Relationship Id="rId89" Type="http://schemas.openxmlformats.org/officeDocument/2006/relationships/tags" Target="../tags/tag513.xml"/><Relationship Id="rId112" Type="http://schemas.openxmlformats.org/officeDocument/2006/relationships/chart" Target="../charts/chart6.xml"/><Relationship Id="rId16" Type="http://schemas.openxmlformats.org/officeDocument/2006/relationships/tags" Target="../tags/tag440.xml"/><Relationship Id="rId107" Type="http://schemas.openxmlformats.org/officeDocument/2006/relationships/tags" Target="../tags/tag531.xml"/><Relationship Id="rId11" Type="http://schemas.openxmlformats.org/officeDocument/2006/relationships/tags" Target="../tags/tag435.xml"/><Relationship Id="rId32" Type="http://schemas.openxmlformats.org/officeDocument/2006/relationships/tags" Target="../tags/tag456.xml"/><Relationship Id="rId37" Type="http://schemas.openxmlformats.org/officeDocument/2006/relationships/tags" Target="../tags/tag461.xml"/><Relationship Id="rId53" Type="http://schemas.openxmlformats.org/officeDocument/2006/relationships/tags" Target="../tags/tag477.xml"/><Relationship Id="rId58" Type="http://schemas.openxmlformats.org/officeDocument/2006/relationships/tags" Target="../tags/tag482.xml"/><Relationship Id="rId74" Type="http://schemas.openxmlformats.org/officeDocument/2006/relationships/tags" Target="../tags/tag498.xml"/><Relationship Id="rId79" Type="http://schemas.openxmlformats.org/officeDocument/2006/relationships/tags" Target="../tags/tag503.xml"/><Relationship Id="rId102" Type="http://schemas.openxmlformats.org/officeDocument/2006/relationships/tags" Target="../tags/tag526.xml"/><Relationship Id="rId5" Type="http://schemas.openxmlformats.org/officeDocument/2006/relationships/tags" Target="../tags/tag429.xml"/><Relationship Id="rId90" Type="http://schemas.openxmlformats.org/officeDocument/2006/relationships/tags" Target="../tags/tag514.xml"/><Relationship Id="rId95" Type="http://schemas.openxmlformats.org/officeDocument/2006/relationships/tags" Target="../tags/tag519.xml"/><Relationship Id="rId22" Type="http://schemas.openxmlformats.org/officeDocument/2006/relationships/tags" Target="../tags/tag446.xml"/><Relationship Id="rId27" Type="http://schemas.openxmlformats.org/officeDocument/2006/relationships/tags" Target="../tags/tag451.xml"/><Relationship Id="rId43" Type="http://schemas.openxmlformats.org/officeDocument/2006/relationships/tags" Target="../tags/tag467.xml"/><Relationship Id="rId48" Type="http://schemas.openxmlformats.org/officeDocument/2006/relationships/tags" Target="../tags/tag472.xml"/><Relationship Id="rId64" Type="http://schemas.openxmlformats.org/officeDocument/2006/relationships/tags" Target="../tags/tag488.xml"/><Relationship Id="rId69" Type="http://schemas.openxmlformats.org/officeDocument/2006/relationships/tags" Target="../tags/tag493.xml"/><Relationship Id="rId113" Type="http://schemas.openxmlformats.org/officeDocument/2006/relationships/chart" Target="../charts/chart7.xml"/><Relationship Id="rId80" Type="http://schemas.openxmlformats.org/officeDocument/2006/relationships/tags" Target="../tags/tag504.xml"/><Relationship Id="rId85" Type="http://schemas.openxmlformats.org/officeDocument/2006/relationships/tags" Target="../tags/tag509.xml"/><Relationship Id="rId12" Type="http://schemas.openxmlformats.org/officeDocument/2006/relationships/tags" Target="../tags/tag436.xml"/><Relationship Id="rId17" Type="http://schemas.openxmlformats.org/officeDocument/2006/relationships/tags" Target="../tags/tag441.xml"/><Relationship Id="rId33" Type="http://schemas.openxmlformats.org/officeDocument/2006/relationships/tags" Target="../tags/tag457.xml"/><Relationship Id="rId38" Type="http://schemas.openxmlformats.org/officeDocument/2006/relationships/tags" Target="../tags/tag462.xml"/><Relationship Id="rId59" Type="http://schemas.openxmlformats.org/officeDocument/2006/relationships/tags" Target="../tags/tag483.xml"/><Relationship Id="rId103" Type="http://schemas.openxmlformats.org/officeDocument/2006/relationships/tags" Target="../tags/tag527.xml"/><Relationship Id="rId108" Type="http://schemas.openxmlformats.org/officeDocument/2006/relationships/tags" Target="../tags/tag532.xml"/><Relationship Id="rId54" Type="http://schemas.openxmlformats.org/officeDocument/2006/relationships/tags" Target="../tags/tag478.xml"/><Relationship Id="rId70" Type="http://schemas.openxmlformats.org/officeDocument/2006/relationships/tags" Target="../tags/tag494.xml"/><Relationship Id="rId75" Type="http://schemas.openxmlformats.org/officeDocument/2006/relationships/tags" Target="../tags/tag499.xml"/><Relationship Id="rId91" Type="http://schemas.openxmlformats.org/officeDocument/2006/relationships/tags" Target="../tags/tag515.xml"/><Relationship Id="rId96" Type="http://schemas.openxmlformats.org/officeDocument/2006/relationships/tags" Target="../tags/tag520.xml"/><Relationship Id="rId1" Type="http://schemas.openxmlformats.org/officeDocument/2006/relationships/tags" Target="../tags/tag425.xml"/><Relationship Id="rId6" Type="http://schemas.openxmlformats.org/officeDocument/2006/relationships/tags" Target="../tags/tag430.xml"/><Relationship Id="rId15" Type="http://schemas.openxmlformats.org/officeDocument/2006/relationships/tags" Target="../tags/tag439.xml"/><Relationship Id="rId23" Type="http://schemas.openxmlformats.org/officeDocument/2006/relationships/tags" Target="../tags/tag447.xml"/><Relationship Id="rId28" Type="http://schemas.openxmlformats.org/officeDocument/2006/relationships/tags" Target="../tags/tag452.xml"/><Relationship Id="rId36" Type="http://schemas.openxmlformats.org/officeDocument/2006/relationships/tags" Target="../tags/tag460.xml"/><Relationship Id="rId49" Type="http://schemas.openxmlformats.org/officeDocument/2006/relationships/tags" Target="../tags/tag473.xml"/><Relationship Id="rId57" Type="http://schemas.openxmlformats.org/officeDocument/2006/relationships/tags" Target="../tags/tag481.xml"/><Relationship Id="rId106" Type="http://schemas.openxmlformats.org/officeDocument/2006/relationships/tags" Target="../tags/tag530.xml"/><Relationship Id="rId10" Type="http://schemas.openxmlformats.org/officeDocument/2006/relationships/tags" Target="../tags/tag434.xml"/><Relationship Id="rId31" Type="http://schemas.openxmlformats.org/officeDocument/2006/relationships/tags" Target="../tags/tag455.xml"/><Relationship Id="rId44" Type="http://schemas.openxmlformats.org/officeDocument/2006/relationships/tags" Target="../tags/tag468.xml"/><Relationship Id="rId52" Type="http://schemas.openxmlformats.org/officeDocument/2006/relationships/tags" Target="../tags/tag476.xml"/><Relationship Id="rId60" Type="http://schemas.openxmlformats.org/officeDocument/2006/relationships/tags" Target="../tags/tag484.xml"/><Relationship Id="rId65" Type="http://schemas.openxmlformats.org/officeDocument/2006/relationships/tags" Target="../tags/tag489.xml"/><Relationship Id="rId73" Type="http://schemas.openxmlformats.org/officeDocument/2006/relationships/tags" Target="../tags/tag497.xml"/><Relationship Id="rId78" Type="http://schemas.openxmlformats.org/officeDocument/2006/relationships/tags" Target="../tags/tag502.xml"/><Relationship Id="rId81" Type="http://schemas.openxmlformats.org/officeDocument/2006/relationships/tags" Target="../tags/tag505.xml"/><Relationship Id="rId86" Type="http://schemas.openxmlformats.org/officeDocument/2006/relationships/tags" Target="../tags/tag510.xml"/><Relationship Id="rId94" Type="http://schemas.openxmlformats.org/officeDocument/2006/relationships/tags" Target="../tags/tag518.xml"/><Relationship Id="rId99" Type="http://schemas.openxmlformats.org/officeDocument/2006/relationships/tags" Target="../tags/tag523.xml"/><Relationship Id="rId101" Type="http://schemas.openxmlformats.org/officeDocument/2006/relationships/tags" Target="../tags/tag525.xml"/><Relationship Id="rId4" Type="http://schemas.openxmlformats.org/officeDocument/2006/relationships/tags" Target="../tags/tag428.xml"/><Relationship Id="rId9" Type="http://schemas.openxmlformats.org/officeDocument/2006/relationships/tags" Target="../tags/tag433.xml"/><Relationship Id="rId13" Type="http://schemas.openxmlformats.org/officeDocument/2006/relationships/tags" Target="../tags/tag437.xml"/><Relationship Id="rId18" Type="http://schemas.openxmlformats.org/officeDocument/2006/relationships/tags" Target="../tags/tag442.xml"/><Relationship Id="rId39" Type="http://schemas.openxmlformats.org/officeDocument/2006/relationships/tags" Target="../tags/tag463.xml"/><Relationship Id="rId109" Type="http://schemas.openxmlformats.org/officeDocument/2006/relationships/slideLayout" Target="../slideLayouts/slideLayout2.xml"/><Relationship Id="rId34" Type="http://schemas.openxmlformats.org/officeDocument/2006/relationships/tags" Target="../tags/tag458.xml"/><Relationship Id="rId50" Type="http://schemas.openxmlformats.org/officeDocument/2006/relationships/tags" Target="../tags/tag474.xml"/><Relationship Id="rId55" Type="http://schemas.openxmlformats.org/officeDocument/2006/relationships/tags" Target="../tags/tag479.xml"/><Relationship Id="rId76" Type="http://schemas.openxmlformats.org/officeDocument/2006/relationships/tags" Target="../tags/tag500.xml"/><Relationship Id="rId97" Type="http://schemas.openxmlformats.org/officeDocument/2006/relationships/tags" Target="../tags/tag521.xml"/><Relationship Id="rId104" Type="http://schemas.openxmlformats.org/officeDocument/2006/relationships/tags" Target="../tags/tag528.xml"/><Relationship Id="rId7" Type="http://schemas.openxmlformats.org/officeDocument/2006/relationships/tags" Target="../tags/tag431.xml"/><Relationship Id="rId71" Type="http://schemas.openxmlformats.org/officeDocument/2006/relationships/tags" Target="../tags/tag495.xml"/><Relationship Id="rId92" Type="http://schemas.openxmlformats.org/officeDocument/2006/relationships/tags" Target="../tags/tag516.xml"/><Relationship Id="rId2" Type="http://schemas.openxmlformats.org/officeDocument/2006/relationships/tags" Target="../tags/tag426.xml"/><Relationship Id="rId29" Type="http://schemas.openxmlformats.org/officeDocument/2006/relationships/tags" Target="../tags/tag453.xml"/><Relationship Id="rId24" Type="http://schemas.openxmlformats.org/officeDocument/2006/relationships/tags" Target="../tags/tag448.xml"/><Relationship Id="rId40" Type="http://schemas.openxmlformats.org/officeDocument/2006/relationships/tags" Target="../tags/tag464.xml"/><Relationship Id="rId45" Type="http://schemas.openxmlformats.org/officeDocument/2006/relationships/tags" Target="../tags/tag469.xml"/><Relationship Id="rId66" Type="http://schemas.openxmlformats.org/officeDocument/2006/relationships/tags" Target="../tags/tag490.xml"/><Relationship Id="rId87" Type="http://schemas.openxmlformats.org/officeDocument/2006/relationships/tags" Target="../tags/tag511.xml"/><Relationship Id="rId110" Type="http://schemas.openxmlformats.org/officeDocument/2006/relationships/oleObject" Target="../embeddings/oleObject10.bin"/><Relationship Id="rId61" Type="http://schemas.openxmlformats.org/officeDocument/2006/relationships/tags" Target="../tags/tag485.xml"/><Relationship Id="rId82" Type="http://schemas.openxmlformats.org/officeDocument/2006/relationships/tags" Target="../tags/tag506.xml"/><Relationship Id="rId19" Type="http://schemas.openxmlformats.org/officeDocument/2006/relationships/tags" Target="../tags/tag443.xml"/><Relationship Id="rId14" Type="http://schemas.openxmlformats.org/officeDocument/2006/relationships/tags" Target="../tags/tag438.xml"/><Relationship Id="rId30" Type="http://schemas.openxmlformats.org/officeDocument/2006/relationships/tags" Target="../tags/tag454.xml"/><Relationship Id="rId35" Type="http://schemas.openxmlformats.org/officeDocument/2006/relationships/tags" Target="../tags/tag459.xml"/><Relationship Id="rId56" Type="http://schemas.openxmlformats.org/officeDocument/2006/relationships/tags" Target="../tags/tag480.xml"/><Relationship Id="rId77" Type="http://schemas.openxmlformats.org/officeDocument/2006/relationships/tags" Target="../tags/tag501.xml"/><Relationship Id="rId100" Type="http://schemas.openxmlformats.org/officeDocument/2006/relationships/tags" Target="../tags/tag524.xml"/><Relationship Id="rId105" Type="http://schemas.openxmlformats.org/officeDocument/2006/relationships/tags" Target="../tags/tag529.xml"/><Relationship Id="rId8" Type="http://schemas.openxmlformats.org/officeDocument/2006/relationships/tags" Target="../tags/tag432.xml"/><Relationship Id="rId51" Type="http://schemas.openxmlformats.org/officeDocument/2006/relationships/tags" Target="../tags/tag475.xml"/><Relationship Id="rId72" Type="http://schemas.openxmlformats.org/officeDocument/2006/relationships/tags" Target="../tags/tag496.xml"/><Relationship Id="rId93" Type="http://schemas.openxmlformats.org/officeDocument/2006/relationships/tags" Target="../tags/tag517.xml"/><Relationship Id="rId98" Type="http://schemas.openxmlformats.org/officeDocument/2006/relationships/tags" Target="../tags/tag522.xml"/><Relationship Id="rId3" Type="http://schemas.openxmlformats.org/officeDocument/2006/relationships/tags" Target="../tags/tag427.xml"/><Relationship Id="rId25" Type="http://schemas.openxmlformats.org/officeDocument/2006/relationships/tags" Target="../tags/tag449.xml"/><Relationship Id="rId46" Type="http://schemas.openxmlformats.org/officeDocument/2006/relationships/tags" Target="../tags/tag470.xml"/><Relationship Id="rId67" Type="http://schemas.openxmlformats.org/officeDocument/2006/relationships/tags" Target="../tags/tag491.xml"/><Relationship Id="rId20" Type="http://schemas.openxmlformats.org/officeDocument/2006/relationships/tags" Target="../tags/tag444.xml"/><Relationship Id="rId41" Type="http://schemas.openxmlformats.org/officeDocument/2006/relationships/tags" Target="../tags/tag465.xml"/><Relationship Id="rId62" Type="http://schemas.openxmlformats.org/officeDocument/2006/relationships/tags" Target="../tags/tag486.xml"/><Relationship Id="rId83" Type="http://schemas.openxmlformats.org/officeDocument/2006/relationships/tags" Target="../tags/tag507.xml"/><Relationship Id="rId88" Type="http://schemas.openxmlformats.org/officeDocument/2006/relationships/tags" Target="../tags/tag512.xml"/><Relationship Id="rId111" Type="http://schemas.openxmlformats.org/officeDocument/2006/relationships/image" Target="../media/image25.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533.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534.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35.xml"/><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536.xml"/><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37.x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538.xml"/><Relationship Id="rId4" Type="http://schemas.openxmlformats.org/officeDocument/2006/relationships/image" Target="../media/image20.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17" Type="http://schemas.openxmlformats.org/officeDocument/2006/relationships/tags" Target="../tags/tag655.xml"/><Relationship Id="rId21" Type="http://schemas.openxmlformats.org/officeDocument/2006/relationships/tags" Target="../tags/tag559.xml"/><Relationship Id="rId42" Type="http://schemas.openxmlformats.org/officeDocument/2006/relationships/tags" Target="../tags/tag580.xml"/><Relationship Id="rId63" Type="http://schemas.openxmlformats.org/officeDocument/2006/relationships/tags" Target="../tags/tag601.xml"/><Relationship Id="rId84" Type="http://schemas.openxmlformats.org/officeDocument/2006/relationships/tags" Target="../tags/tag622.xml"/><Relationship Id="rId138" Type="http://schemas.openxmlformats.org/officeDocument/2006/relationships/tags" Target="../tags/tag676.xml"/><Relationship Id="rId159" Type="http://schemas.openxmlformats.org/officeDocument/2006/relationships/tags" Target="../tags/tag697.xml"/><Relationship Id="rId170" Type="http://schemas.openxmlformats.org/officeDocument/2006/relationships/image" Target="../media/image1.emf"/><Relationship Id="rId107" Type="http://schemas.openxmlformats.org/officeDocument/2006/relationships/tags" Target="../tags/tag645.xml"/><Relationship Id="rId11" Type="http://schemas.openxmlformats.org/officeDocument/2006/relationships/tags" Target="../tags/tag549.xml"/><Relationship Id="rId32" Type="http://schemas.openxmlformats.org/officeDocument/2006/relationships/tags" Target="../tags/tag570.xml"/><Relationship Id="rId53" Type="http://schemas.openxmlformats.org/officeDocument/2006/relationships/tags" Target="../tags/tag591.xml"/><Relationship Id="rId74" Type="http://schemas.openxmlformats.org/officeDocument/2006/relationships/tags" Target="../tags/tag612.xml"/><Relationship Id="rId128" Type="http://schemas.openxmlformats.org/officeDocument/2006/relationships/tags" Target="../tags/tag666.xml"/><Relationship Id="rId149" Type="http://schemas.openxmlformats.org/officeDocument/2006/relationships/tags" Target="../tags/tag687.xml"/><Relationship Id="rId5" Type="http://schemas.openxmlformats.org/officeDocument/2006/relationships/tags" Target="../tags/tag543.xml"/><Relationship Id="rId95" Type="http://schemas.openxmlformats.org/officeDocument/2006/relationships/tags" Target="../tags/tag633.xml"/><Relationship Id="rId160" Type="http://schemas.openxmlformats.org/officeDocument/2006/relationships/tags" Target="../tags/tag698.xml"/><Relationship Id="rId22" Type="http://schemas.openxmlformats.org/officeDocument/2006/relationships/tags" Target="../tags/tag560.xml"/><Relationship Id="rId43" Type="http://schemas.openxmlformats.org/officeDocument/2006/relationships/tags" Target="../tags/tag581.xml"/><Relationship Id="rId64" Type="http://schemas.openxmlformats.org/officeDocument/2006/relationships/tags" Target="../tags/tag602.xml"/><Relationship Id="rId118" Type="http://schemas.openxmlformats.org/officeDocument/2006/relationships/tags" Target="../tags/tag656.xml"/><Relationship Id="rId139" Type="http://schemas.openxmlformats.org/officeDocument/2006/relationships/tags" Target="../tags/tag677.xml"/><Relationship Id="rId85" Type="http://schemas.openxmlformats.org/officeDocument/2006/relationships/tags" Target="../tags/tag623.xml"/><Relationship Id="rId150" Type="http://schemas.openxmlformats.org/officeDocument/2006/relationships/tags" Target="../tags/tag688.xml"/><Relationship Id="rId171" Type="http://schemas.openxmlformats.org/officeDocument/2006/relationships/chart" Target="../charts/chart8.xml"/><Relationship Id="rId12" Type="http://schemas.openxmlformats.org/officeDocument/2006/relationships/tags" Target="../tags/tag550.xml"/><Relationship Id="rId33" Type="http://schemas.openxmlformats.org/officeDocument/2006/relationships/tags" Target="../tags/tag571.xml"/><Relationship Id="rId108" Type="http://schemas.openxmlformats.org/officeDocument/2006/relationships/tags" Target="../tags/tag646.xml"/><Relationship Id="rId129" Type="http://schemas.openxmlformats.org/officeDocument/2006/relationships/tags" Target="../tags/tag667.xml"/><Relationship Id="rId54" Type="http://schemas.openxmlformats.org/officeDocument/2006/relationships/tags" Target="../tags/tag592.xml"/><Relationship Id="rId75" Type="http://schemas.openxmlformats.org/officeDocument/2006/relationships/tags" Target="../tags/tag613.xml"/><Relationship Id="rId96" Type="http://schemas.openxmlformats.org/officeDocument/2006/relationships/tags" Target="../tags/tag634.xml"/><Relationship Id="rId140" Type="http://schemas.openxmlformats.org/officeDocument/2006/relationships/tags" Target="../tags/tag678.xml"/><Relationship Id="rId161" Type="http://schemas.openxmlformats.org/officeDocument/2006/relationships/tags" Target="../tags/tag699.xml"/><Relationship Id="rId1" Type="http://schemas.openxmlformats.org/officeDocument/2006/relationships/tags" Target="../tags/tag539.xml"/><Relationship Id="rId6" Type="http://schemas.openxmlformats.org/officeDocument/2006/relationships/tags" Target="../tags/tag544.xml"/><Relationship Id="rId23" Type="http://schemas.openxmlformats.org/officeDocument/2006/relationships/tags" Target="../tags/tag561.xml"/><Relationship Id="rId28" Type="http://schemas.openxmlformats.org/officeDocument/2006/relationships/tags" Target="../tags/tag566.xml"/><Relationship Id="rId49" Type="http://schemas.openxmlformats.org/officeDocument/2006/relationships/tags" Target="../tags/tag587.xml"/><Relationship Id="rId114" Type="http://schemas.openxmlformats.org/officeDocument/2006/relationships/tags" Target="../tags/tag652.xml"/><Relationship Id="rId119" Type="http://schemas.openxmlformats.org/officeDocument/2006/relationships/tags" Target="../tags/tag657.xml"/><Relationship Id="rId44" Type="http://schemas.openxmlformats.org/officeDocument/2006/relationships/tags" Target="../tags/tag582.xml"/><Relationship Id="rId60" Type="http://schemas.openxmlformats.org/officeDocument/2006/relationships/tags" Target="../tags/tag598.xml"/><Relationship Id="rId65" Type="http://schemas.openxmlformats.org/officeDocument/2006/relationships/tags" Target="../tags/tag603.xml"/><Relationship Id="rId81" Type="http://schemas.openxmlformats.org/officeDocument/2006/relationships/tags" Target="../tags/tag619.xml"/><Relationship Id="rId86" Type="http://schemas.openxmlformats.org/officeDocument/2006/relationships/tags" Target="../tags/tag624.xml"/><Relationship Id="rId130" Type="http://schemas.openxmlformats.org/officeDocument/2006/relationships/tags" Target="../tags/tag668.xml"/><Relationship Id="rId135" Type="http://schemas.openxmlformats.org/officeDocument/2006/relationships/tags" Target="../tags/tag673.xml"/><Relationship Id="rId151" Type="http://schemas.openxmlformats.org/officeDocument/2006/relationships/tags" Target="../tags/tag689.xml"/><Relationship Id="rId156" Type="http://schemas.openxmlformats.org/officeDocument/2006/relationships/tags" Target="../tags/tag694.xml"/><Relationship Id="rId172" Type="http://schemas.openxmlformats.org/officeDocument/2006/relationships/chart" Target="../charts/chart9.xml"/><Relationship Id="rId13" Type="http://schemas.openxmlformats.org/officeDocument/2006/relationships/tags" Target="../tags/tag551.xml"/><Relationship Id="rId18" Type="http://schemas.openxmlformats.org/officeDocument/2006/relationships/tags" Target="../tags/tag556.xml"/><Relationship Id="rId39" Type="http://schemas.openxmlformats.org/officeDocument/2006/relationships/tags" Target="../tags/tag577.xml"/><Relationship Id="rId109" Type="http://schemas.openxmlformats.org/officeDocument/2006/relationships/tags" Target="../tags/tag647.xml"/><Relationship Id="rId34" Type="http://schemas.openxmlformats.org/officeDocument/2006/relationships/tags" Target="../tags/tag572.xml"/><Relationship Id="rId50" Type="http://schemas.openxmlformats.org/officeDocument/2006/relationships/tags" Target="../tags/tag588.xml"/><Relationship Id="rId55" Type="http://schemas.openxmlformats.org/officeDocument/2006/relationships/tags" Target="../tags/tag593.xml"/><Relationship Id="rId76" Type="http://schemas.openxmlformats.org/officeDocument/2006/relationships/tags" Target="../tags/tag614.xml"/><Relationship Id="rId97" Type="http://schemas.openxmlformats.org/officeDocument/2006/relationships/tags" Target="../tags/tag635.xml"/><Relationship Id="rId104" Type="http://schemas.openxmlformats.org/officeDocument/2006/relationships/tags" Target="../tags/tag642.xml"/><Relationship Id="rId120" Type="http://schemas.openxmlformats.org/officeDocument/2006/relationships/tags" Target="../tags/tag658.xml"/><Relationship Id="rId125" Type="http://schemas.openxmlformats.org/officeDocument/2006/relationships/tags" Target="../tags/tag663.xml"/><Relationship Id="rId141" Type="http://schemas.openxmlformats.org/officeDocument/2006/relationships/tags" Target="../tags/tag679.xml"/><Relationship Id="rId146" Type="http://schemas.openxmlformats.org/officeDocument/2006/relationships/tags" Target="../tags/tag684.xml"/><Relationship Id="rId167" Type="http://schemas.openxmlformats.org/officeDocument/2006/relationships/slideLayout" Target="../slideLayouts/slideLayout2.xml"/><Relationship Id="rId7" Type="http://schemas.openxmlformats.org/officeDocument/2006/relationships/tags" Target="../tags/tag545.xml"/><Relationship Id="rId71" Type="http://schemas.openxmlformats.org/officeDocument/2006/relationships/tags" Target="../tags/tag609.xml"/><Relationship Id="rId92" Type="http://schemas.openxmlformats.org/officeDocument/2006/relationships/tags" Target="../tags/tag630.xml"/><Relationship Id="rId162" Type="http://schemas.openxmlformats.org/officeDocument/2006/relationships/tags" Target="../tags/tag700.xml"/><Relationship Id="rId2" Type="http://schemas.openxmlformats.org/officeDocument/2006/relationships/tags" Target="../tags/tag540.xml"/><Relationship Id="rId29" Type="http://schemas.openxmlformats.org/officeDocument/2006/relationships/tags" Target="../tags/tag567.xml"/><Relationship Id="rId24" Type="http://schemas.openxmlformats.org/officeDocument/2006/relationships/tags" Target="../tags/tag562.xml"/><Relationship Id="rId40" Type="http://schemas.openxmlformats.org/officeDocument/2006/relationships/tags" Target="../tags/tag578.xml"/><Relationship Id="rId45" Type="http://schemas.openxmlformats.org/officeDocument/2006/relationships/tags" Target="../tags/tag583.xml"/><Relationship Id="rId66" Type="http://schemas.openxmlformats.org/officeDocument/2006/relationships/tags" Target="../tags/tag604.xml"/><Relationship Id="rId87" Type="http://schemas.openxmlformats.org/officeDocument/2006/relationships/tags" Target="../tags/tag625.xml"/><Relationship Id="rId110" Type="http://schemas.openxmlformats.org/officeDocument/2006/relationships/tags" Target="../tags/tag648.xml"/><Relationship Id="rId115" Type="http://schemas.openxmlformats.org/officeDocument/2006/relationships/tags" Target="../tags/tag653.xml"/><Relationship Id="rId131" Type="http://schemas.openxmlformats.org/officeDocument/2006/relationships/tags" Target="../tags/tag669.xml"/><Relationship Id="rId136" Type="http://schemas.openxmlformats.org/officeDocument/2006/relationships/tags" Target="../tags/tag674.xml"/><Relationship Id="rId157" Type="http://schemas.openxmlformats.org/officeDocument/2006/relationships/tags" Target="../tags/tag695.xml"/><Relationship Id="rId61" Type="http://schemas.openxmlformats.org/officeDocument/2006/relationships/tags" Target="../tags/tag599.xml"/><Relationship Id="rId82" Type="http://schemas.openxmlformats.org/officeDocument/2006/relationships/tags" Target="../tags/tag620.xml"/><Relationship Id="rId152" Type="http://schemas.openxmlformats.org/officeDocument/2006/relationships/tags" Target="../tags/tag690.xml"/><Relationship Id="rId173" Type="http://schemas.openxmlformats.org/officeDocument/2006/relationships/chart" Target="../charts/chart10.xml"/><Relationship Id="rId19" Type="http://schemas.openxmlformats.org/officeDocument/2006/relationships/tags" Target="../tags/tag557.xml"/><Relationship Id="rId14" Type="http://schemas.openxmlformats.org/officeDocument/2006/relationships/tags" Target="../tags/tag552.xml"/><Relationship Id="rId30" Type="http://schemas.openxmlformats.org/officeDocument/2006/relationships/tags" Target="../tags/tag568.xml"/><Relationship Id="rId35" Type="http://schemas.openxmlformats.org/officeDocument/2006/relationships/tags" Target="../tags/tag573.xml"/><Relationship Id="rId56" Type="http://schemas.openxmlformats.org/officeDocument/2006/relationships/tags" Target="../tags/tag594.xml"/><Relationship Id="rId77" Type="http://schemas.openxmlformats.org/officeDocument/2006/relationships/tags" Target="../tags/tag615.xml"/><Relationship Id="rId100" Type="http://schemas.openxmlformats.org/officeDocument/2006/relationships/tags" Target="../tags/tag638.xml"/><Relationship Id="rId105" Type="http://schemas.openxmlformats.org/officeDocument/2006/relationships/tags" Target="../tags/tag643.xml"/><Relationship Id="rId126" Type="http://schemas.openxmlformats.org/officeDocument/2006/relationships/tags" Target="../tags/tag664.xml"/><Relationship Id="rId147" Type="http://schemas.openxmlformats.org/officeDocument/2006/relationships/tags" Target="../tags/tag685.xml"/><Relationship Id="rId168" Type="http://schemas.openxmlformats.org/officeDocument/2006/relationships/notesSlide" Target="../notesSlides/notesSlide6.xml"/><Relationship Id="rId8" Type="http://schemas.openxmlformats.org/officeDocument/2006/relationships/tags" Target="../tags/tag546.xml"/><Relationship Id="rId51" Type="http://schemas.openxmlformats.org/officeDocument/2006/relationships/tags" Target="../tags/tag589.xml"/><Relationship Id="rId72" Type="http://schemas.openxmlformats.org/officeDocument/2006/relationships/tags" Target="../tags/tag610.xml"/><Relationship Id="rId93" Type="http://schemas.openxmlformats.org/officeDocument/2006/relationships/tags" Target="../tags/tag631.xml"/><Relationship Id="rId98" Type="http://schemas.openxmlformats.org/officeDocument/2006/relationships/tags" Target="../tags/tag636.xml"/><Relationship Id="rId121" Type="http://schemas.openxmlformats.org/officeDocument/2006/relationships/tags" Target="../tags/tag659.xml"/><Relationship Id="rId142" Type="http://schemas.openxmlformats.org/officeDocument/2006/relationships/tags" Target="../tags/tag680.xml"/><Relationship Id="rId163" Type="http://schemas.openxmlformats.org/officeDocument/2006/relationships/tags" Target="../tags/tag701.xml"/><Relationship Id="rId3" Type="http://schemas.openxmlformats.org/officeDocument/2006/relationships/tags" Target="../tags/tag541.xml"/><Relationship Id="rId25" Type="http://schemas.openxmlformats.org/officeDocument/2006/relationships/tags" Target="../tags/tag563.xml"/><Relationship Id="rId46" Type="http://schemas.openxmlformats.org/officeDocument/2006/relationships/tags" Target="../tags/tag584.xml"/><Relationship Id="rId67" Type="http://schemas.openxmlformats.org/officeDocument/2006/relationships/tags" Target="../tags/tag605.xml"/><Relationship Id="rId116" Type="http://schemas.openxmlformats.org/officeDocument/2006/relationships/tags" Target="../tags/tag654.xml"/><Relationship Id="rId137" Type="http://schemas.openxmlformats.org/officeDocument/2006/relationships/tags" Target="../tags/tag675.xml"/><Relationship Id="rId158" Type="http://schemas.openxmlformats.org/officeDocument/2006/relationships/tags" Target="../tags/tag696.xml"/><Relationship Id="rId20" Type="http://schemas.openxmlformats.org/officeDocument/2006/relationships/tags" Target="../tags/tag558.xml"/><Relationship Id="rId41" Type="http://schemas.openxmlformats.org/officeDocument/2006/relationships/tags" Target="../tags/tag579.xml"/><Relationship Id="rId62" Type="http://schemas.openxmlformats.org/officeDocument/2006/relationships/tags" Target="../tags/tag600.xml"/><Relationship Id="rId83" Type="http://schemas.openxmlformats.org/officeDocument/2006/relationships/tags" Target="../tags/tag621.xml"/><Relationship Id="rId88" Type="http://schemas.openxmlformats.org/officeDocument/2006/relationships/tags" Target="../tags/tag626.xml"/><Relationship Id="rId111" Type="http://schemas.openxmlformats.org/officeDocument/2006/relationships/tags" Target="../tags/tag649.xml"/><Relationship Id="rId132" Type="http://schemas.openxmlformats.org/officeDocument/2006/relationships/tags" Target="../tags/tag670.xml"/><Relationship Id="rId153" Type="http://schemas.openxmlformats.org/officeDocument/2006/relationships/tags" Target="../tags/tag691.xml"/><Relationship Id="rId15" Type="http://schemas.openxmlformats.org/officeDocument/2006/relationships/tags" Target="../tags/tag553.xml"/><Relationship Id="rId36" Type="http://schemas.openxmlformats.org/officeDocument/2006/relationships/tags" Target="../tags/tag574.xml"/><Relationship Id="rId57" Type="http://schemas.openxmlformats.org/officeDocument/2006/relationships/tags" Target="../tags/tag595.xml"/><Relationship Id="rId106" Type="http://schemas.openxmlformats.org/officeDocument/2006/relationships/tags" Target="../tags/tag644.xml"/><Relationship Id="rId127" Type="http://schemas.openxmlformats.org/officeDocument/2006/relationships/tags" Target="../tags/tag665.xml"/><Relationship Id="rId10" Type="http://schemas.openxmlformats.org/officeDocument/2006/relationships/tags" Target="../tags/tag548.xml"/><Relationship Id="rId31" Type="http://schemas.openxmlformats.org/officeDocument/2006/relationships/tags" Target="../tags/tag569.xml"/><Relationship Id="rId52" Type="http://schemas.openxmlformats.org/officeDocument/2006/relationships/tags" Target="../tags/tag590.xml"/><Relationship Id="rId73" Type="http://schemas.openxmlformats.org/officeDocument/2006/relationships/tags" Target="../tags/tag611.xml"/><Relationship Id="rId78" Type="http://schemas.openxmlformats.org/officeDocument/2006/relationships/tags" Target="../tags/tag616.xml"/><Relationship Id="rId94" Type="http://schemas.openxmlformats.org/officeDocument/2006/relationships/tags" Target="../tags/tag632.xml"/><Relationship Id="rId99" Type="http://schemas.openxmlformats.org/officeDocument/2006/relationships/tags" Target="../tags/tag637.xml"/><Relationship Id="rId101" Type="http://schemas.openxmlformats.org/officeDocument/2006/relationships/tags" Target="../tags/tag639.xml"/><Relationship Id="rId122" Type="http://schemas.openxmlformats.org/officeDocument/2006/relationships/tags" Target="../tags/tag660.xml"/><Relationship Id="rId143" Type="http://schemas.openxmlformats.org/officeDocument/2006/relationships/tags" Target="../tags/tag681.xml"/><Relationship Id="rId148" Type="http://schemas.openxmlformats.org/officeDocument/2006/relationships/tags" Target="../tags/tag686.xml"/><Relationship Id="rId164" Type="http://schemas.openxmlformats.org/officeDocument/2006/relationships/tags" Target="../tags/tag702.xml"/><Relationship Id="rId169" Type="http://schemas.openxmlformats.org/officeDocument/2006/relationships/oleObject" Target="../embeddings/oleObject17.bin"/><Relationship Id="rId4" Type="http://schemas.openxmlformats.org/officeDocument/2006/relationships/tags" Target="../tags/tag542.xml"/><Relationship Id="rId9" Type="http://schemas.openxmlformats.org/officeDocument/2006/relationships/tags" Target="../tags/tag547.xml"/><Relationship Id="rId26" Type="http://schemas.openxmlformats.org/officeDocument/2006/relationships/tags" Target="../tags/tag564.xml"/><Relationship Id="rId47" Type="http://schemas.openxmlformats.org/officeDocument/2006/relationships/tags" Target="../tags/tag585.xml"/><Relationship Id="rId68" Type="http://schemas.openxmlformats.org/officeDocument/2006/relationships/tags" Target="../tags/tag606.xml"/><Relationship Id="rId89" Type="http://schemas.openxmlformats.org/officeDocument/2006/relationships/tags" Target="../tags/tag627.xml"/><Relationship Id="rId112" Type="http://schemas.openxmlformats.org/officeDocument/2006/relationships/tags" Target="../tags/tag650.xml"/><Relationship Id="rId133" Type="http://schemas.openxmlformats.org/officeDocument/2006/relationships/tags" Target="../tags/tag671.xml"/><Relationship Id="rId154" Type="http://schemas.openxmlformats.org/officeDocument/2006/relationships/tags" Target="../tags/tag692.xml"/><Relationship Id="rId16" Type="http://schemas.openxmlformats.org/officeDocument/2006/relationships/tags" Target="../tags/tag554.xml"/><Relationship Id="rId37" Type="http://schemas.openxmlformats.org/officeDocument/2006/relationships/tags" Target="../tags/tag575.xml"/><Relationship Id="rId58" Type="http://schemas.openxmlformats.org/officeDocument/2006/relationships/tags" Target="../tags/tag596.xml"/><Relationship Id="rId79" Type="http://schemas.openxmlformats.org/officeDocument/2006/relationships/tags" Target="../tags/tag617.xml"/><Relationship Id="rId102" Type="http://schemas.openxmlformats.org/officeDocument/2006/relationships/tags" Target="../tags/tag640.xml"/><Relationship Id="rId123" Type="http://schemas.openxmlformats.org/officeDocument/2006/relationships/tags" Target="../tags/tag661.xml"/><Relationship Id="rId144" Type="http://schemas.openxmlformats.org/officeDocument/2006/relationships/tags" Target="../tags/tag682.xml"/><Relationship Id="rId90" Type="http://schemas.openxmlformats.org/officeDocument/2006/relationships/tags" Target="../tags/tag628.xml"/><Relationship Id="rId165" Type="http://schemas.openxmlformats.org/officeDocument/2006/relationships/tags" Target="../tags/tag703.xml"/><Relationship Id="rId27" Type="http://schemas.openxmlformats.org/officeDocument/2006/relationships/tags" Target="../tags/tag565.xml"/><Relationship Id="rId48" Type="http://schemas.openxmlformats.org/officeDocument/2006/relationships/tags" Target="../tags/tag586.xml"/><Relationship Id="rId69" Type="http://schemas.openxmlformats.org/officeDocument/2006/relationships/tags" Target="../tags/tag607.xml"/><Relationship Id="rId113" Type="http://schemas.openxmlformats.org/officeDocument/2006/relationships/tags" Target="../tags/tag651.xml"/><Relationship Id="rId134" Type="http://schemas.openxmlformats.org/officeDocument/2006/relationships/tags" Target="../tags/tag672.xml"/><Relationship Id="rId80" Type="http://schemas.openxmlformats.org/officeDocument/2006/relationships/tags" Target="../tags/tag618.xml"/><Relationship Id="rId155" Type="http://schemas.openxmlformats.org/officeDocument/2006/relationships/tags" Target="../tags/tag693.xml"/><Relationship Id="rId17" Type="http://schemas.openxmlformats.org/officeDocument/2006/relationships/tags" Target="../tags/tag555.xml"/><Relationship Id="rId38" Type="http://schemas.openxmlformats.org/officeDocument/2006/relationships/tags" Target="../tags/tag576.xml"/><Relationship Id="rId59" Type="http://schemas.openxmlformats.org/officeDocument/2006/relationships/tags" Target="../tags/tag597.xml"/><Relationship Id="rId103" Type="http://schemas.openxmlformats.org/officeDocument/2006/relationships/tags" Target="../tags/tag641.xml"/><Relationship Id="rId124" Type="http://schemas.openxmlformats.org/officeDocument/2006/relationships/tags" Target="../tags/tag662.xml"/><Relationship Id="rId70" Type="http://schemas.openxmlformats.org/officeDocument/2006/relationships/tags" Target="../tags/tag608.xml"/><Relationship Id="rId91" Type="http://schemas.openxmlformats.org/officeDocument/2006/relationships/tags" Target="../tags/tag629.xml"/><Relationship Id="rId145" Type="http://schemas.openxmlformats.org/officeDocument/2006/relationships/tags" Target="../tags/tag683.xml"/><Relationship Id="rId166" Type="http://schemas.openxmlformats.org/officeDocument/2006/relationships/tags" Target="../tags/tag704.xml"/></Relationships>
</file>

<file path=ppt/slides/_rels/slide28.xml.rels><?xml version="1.0" encoding="UTF-8" standalone="yes"?>
<Relationships xmlns="http://schemas.openxmlformats.org/package/2006/relationships"><Relationship Id="rId8" Type="http://schemas.openxmlformats.org/officeDocument/2006/relationships/tags" Target="../tags/tag712.xml"/><Relationship Id="rId13" Type="http://schemas.openxmlformats.org/officeDocument/2006/relationships/tags" Target="../tags/tag717.xml"/><Relationship Id="rId18" Type="http://schemas.openxmlformats.org/officeDocument/2006/relationships/tags" Target="../tags/tag722.xml"/><Relationship Id="rId3" Type="http://schemas.openxmlformats.org/officeDocument/2006/relationships/tags" Target="../tags/tag707.xml"/><Relationship Id="rId21" Type="http://schemas.openxmlformats.org/officeDocument/2006/relationships/slideLayout" Target="../slideLayouts/slideLayout2.xml"/><Relationship Id="rId7" Type="http://schemas.openxmlformats.org/officeDocument/2006/relationships/tags" Target="../tags/tag711.xml"/><Relationship Id="rId12" Type="http://schemas.openxmlformats.org/officeDocument/2006/relationships/tags" Target="../tags/tag716.xml"/><Relationship Id="rId17" Type="http://schemas.openxmlformats.org/officeDocument/2006/relationships/tags" Target="../tags/tag721.xml"/><Relationship Id="rId25" Type="http://schemas.openxmlformats.org/officeDocument/2006/relationships/chart" Target="../charts/chart12.xml"/><Relationship Id="rId2" Type="http://schemas.openxmlformats.org/officeDocument/2006/relationships/tags" Target="../tags/tag706.xml"/><Relationship Id="rId16" Type="http://schemas.openxmlformats.org/officeDocument/2006/relationships/tags" Target="../tags/tag720.xml"/><Relationship Id="rId20" Type="http://schemas.openxmlformats.org/officeDocument/2006/relationships/tags" Target="../tags/tag724.xml"/><Relationship Id="rId1" Type="http://schemas.openxmlformats.org/officeDocument/2006/relationships/tags" Target="../tags/tag705.xml"/><Relationship Id="rId6" Type="http://schemas.openxmlformats.org/officeDocument/2006/relationships/tags" Target="../tags/tag710.xml"/><Relationship Id="rId11" Type="http://schemas.openxmlformats.org/officeDocument/2006/relationships/tags" Target="../tags/tag715.xml"/><Relationship Id="rId24" Type="http://schemas.openxmlformats.org/officeDocument/2006/relationships/chart" Target="../charts/chart11.xml"/><Relationship Id="rId5" Type="http://schemas.openxmlformats.org/officeDocument/2006/relationships/tags" Target="../tags/tag709.xml"/><Relationship Id="rId15" Type="http://schemas.openxmlformats.org/officeDocument/2006/relationships/tags" Target="../tags/tag719.xml"/><Relationship Id="rId23" Type="http://schemas.openxmlformats.org/officeDocument/2006/relationships/image" Target="../media/image25.emf"/><Relationship Id="rId10" Type="http://schemas.openxmlformats.org/officeDocument/2006/relationships/tags" Target="../tags/tag714.xml"/><Relationship Id="rId19" Type="http://schemas.openxmlformats.org/officeDocument/2006/relationships/tags" Target="../tags/tag723.xml"/><Relationship Id="rId4" Type="http://schemas.openxmlformats.org/officeDocument/2006/relationships/tags" Target="../tags/tag708.xml"/><Relationship Id="rId9" Type="http://schemas.openxmlformats.org/officeDocument/2006/relationships/tags" Target="../tags/tag713.xml"/><Relationship Id="rId14" Type="http://schemas.openxmlformats.org/officeDocument/2006/relationships/tags" Target="../tags/tag718.xml"/><Relationship Id="rId22"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6.xml"/><Relationship Id="rId1" Type="http://schemas.openxmlformats.org/officeDocument/2006/relationships/tags" Target="../tags/tag725.xml"/><Relationship Id="rId6" Type="http://schemas.openxmlformats.org/officeDocument/2006/relationships/image" Target="../media/image25.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8.xml"/><Relationship Id="rId1" Type="http://schemas.openxmlformats.org/officeDocument/2006/relationships/tags" Target="../tags/tag727.xml"/><Relationship Id="rId5" Type="http://schemas.openxmlformats.org/officeDocument/2006/relationships/image" Target="../media/image25.emf"/><Relationship Id="rId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729.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730.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34.xml.rels><?xml version="1.0" encoding="UTF-8" standalone="yes"?>
<Relationships xmlns="http://schemas.openxmlformats.org/package/2006/relationships"><Relationship Id="rId8" Type="http://schemas.openxmlformats.org/officeDocument/2006/relationships/tags" Target="../tags/tag738.xml"/><Relationship Id="rId13" Type="http://schemas.openxmlformats.org/officeDocument/2006/relationships/chart" Target="../charts/chart13.xml"/><Relationship Id="rId3" Type="http://schemas.openxmlformats.org/officeDocument/2006/relationships/tags" Target="../tags/tag733.xml"/><Relationship Id="rId7" Type="http://schemas.openxmlformats.org/officeDocument/2006/relationships/tags" Target="../tags/tag737.xml"/><Relationship Id="rId12" Type="http://schemas.openxmlformats.org/officeDocument/2006/relationships/image" Target="../media/image2.emf"/><Relationship Id="rId2" Type="http://schemas.openxmlformats.org/officeDocument/2006/relationships/tags" Target="../tags/tag732.xml"/><Relationship Id="rId1" Type="http://schemas.openxmlformats.org/officeDocument/2006/relationships/tags" Target="../tags/tag731.xml"/><Relationship Id="rId6" Type="http://schemas.openxmlformats.org/officeDocument/2006/relationships/tags" Target="../tags/tag736.xml"/><Relationship Id="rId11" Type="http://schemas.openxmlformats.org/officeDocument/2006/relationships/oleObject" Target="../embeddings/oleObject22.bin"/><Relationship Id="rId5" Type="http://schemas.openxmlformats.org/officeDocument/2006/relationships/tags" Target="../tags/tag735.xml"/><Relationship Id="rId10" Type="http://schemas.openxmlformats.org/officeDocument/2006/relationships/notesSlide" Target="../notesSlides/notesSlide10.xml"/><Relationship Id="rId4" Type="http://schemas.openxmlformats.org/officeDocument/2006/relationships/tags" Target="../tags/tag734.xml"/><Relationship Id="rId9"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3" Type="http://schemas.openxmlformats.org/officeDocument/2006/relationships/tags" Target="../tags/tag751.xml"/><Relationship Id="rId18" Type="http://schemas.openxmlformats.org/officeDocument/2006/relationships/tags" Target="../tags/tag756.xml"/><Relationship Id="rId26" Type="http://schemas.openxmlformats.org/officeDocument/2006/relationships/tags" Target="../tags/tag764.xml"/><Relationship Id="rId3" Type="http://schemas.openxmlformats.org/officeDocument/2006/relationships/tags" Target="../tags/tag741.xml"/><Relationship Id="rId21" Type="http://schemas.openxmlformats.org/officeDocument/2006/relationships/tags" Target="../tags/tag759.xml"/><Relationship Id="rId7" Type="http://schemas.openxmlformats.org/officeDocument/2006/relationships/tags" Target="../tags/tag745.xml"/><Relationship Id="rId12" Type="http://schemas.openxmlformats.org/officeDocument/2006/relationships/tags" Target="../tags/tag750.xml"/><Relationship Id="rId17" Type="http://schemas.openxmlformats.org/officeDocument/2006/relationships/tags" Target="../tags/tag755.xml"/><Relationship Id="rId25" Type="http://schemas.openxmlformats.org/officeDocument/2006/relationships/tags" Target="../tags/tag763.xml"/><Relationship Id="rId33" Type="http://schemas.openxmlformats.org/officeDocument/2006/relationships/chart" Target="../charts/chart15.xml"/><Relationship Id="rId2" Type="http://schemas.openxmlformats.org/officeDocument/2006/relationships/tags" Target="../tags/tag740.xml"/><Relationship Id="rId16" Type="http://schemas.openxmlformats.org/officeDocument/2006/relationships/tags" Target="../tags/tag754.xml"/><Relationship Id="rId20" Type="http://schemas.openxmlformats.org/officeDocument/2006/relationships/tags" Target="../tags/tag758.xml"/><Relationship Id="rId29" Type="http://schemas.openxmlformats.org/officeDocument/2006/relationships/slideLayout" Target="../slideLayouts/slideLayout2.xml"/><Relationship Id="rId1" Type="http://schemas.openxmlformats.org/officeDocument/2006/relationships/tags" Target="../tags/tag739.xml"/><Relationship Id="rId6" Type="http://schemas.openxmlformats.org/officeDocument/2006/relationships/tags" Target="../tags/tag744.xml"/><Relationship Id="rId11" Type="http://schemas.openxmlformats.org/officeDocument/2006/relationships/tags" Target="../tags/tag749.xml"/><Relationship Id="rId24" Type="http://schemas.openxmlformats.org/officeDocument/2006/relationships/tags" Target="../tags/tag762.xml"/><Relationship Id="rId32" Type="http://schemas.openxmlformats.org/officeDocument/2006/relationships/chart" Target="../charts/chart14.xml"/><Relationship Id="rId5" Type="http://schemas.openxmlformats.org/officeDocument/2006/relationships/tags" Target="../tags/tag743.xml"/><Relationship Id="rId15" Type="http://schemas.openxmlformats.org/officeDocument/2006/relationships/tags" Target="../tags/tag753.xml"/><Relationship Id="rId23" Type="http://schemas.openxmlformats.org/officeDocument/2006/relationships/tags" Target="../tags/tag761.xml"/><Relationship Id="rId28" Type="http://schemas.openxmlformats.org/officeDocument/2006/relationships/tags" Target="../tags/tag766.xml"/><Relationship Id="rId10" Type="http://schemas.openxmlformats.org/officeDocument/2006/relationships/tags" Target="../tags/tag748.xml"/><Relationship Id="rId19" Type="http://schemas.openxmlformats.org/officeDocument/2006/relationships/tags" Target="../tags/tag757.xml"/><Relationship Id="rId31" Type="http://schemas.openxmlformats.org/officeDocument/2006/relationships/image" Target="../media/image1.emf"/><Relationship Id="rId4" Type="http://schemas.openxmlformats.org/officeDocument/2006/relationships/tags" Target="../tags/tag742.xml"/><Relationship Id="rId9" Type="http://schemas.openxmlformats.org/officeDocument/2006/relationships/tags" Target="../tags/tag747.xml"/><Relationship Id="rId14" Type="http://schemas.openxmlformats.org/officeDocument/2006/relationships/tags" Target="../tags/tag752.xml"/><Relationship Id="rId22" Type="http://schemas.openxmlformats.org/officeDocument/2006/relationships/tags" Target="../tags/tag760.xml"/><Relationship Id="rId27" Type="http://schemas.openxmlformats.org/officeDocument/2006/relationships/tags" Target="../tags/tag765.xml"/><Relationship Id="rId30" Type="http://schemas.openxmlformats.org/officeDocument/2006/relationships/oleObject" Target="../embeddings/oleObject23.bin"/><Relationship Id="rId8" Type="http://schemas.openxmlformats.org/officeDocument/2006/relationships/tags" Target="../tags/tag746.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767.xml"/><Relationship Id="rId4" Type="http://schemas.openxmlformats.org/officeDocument/2006/relationships/image" Target="../media/image2.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768.xml"/><Relationship Id="rId4" Type="http://schemas.openxmlformats.org/officeDocument/2006/relationships/image" Target="../media/image26.emf"/></Relationships>
</file>

<file path=ppt/slides/_rels/slide38.xml.rels><?xml version="1.0" encoding="UTF-8" standalone="yes"?>
<Relationships xmlns="http://schemas.openxmlformats.org/package/2006/relationships"><Relationship Id="rId26" Type="http://schemas.openxmlformats.org/officeDocument/2006/relationships/tags" Target="../tags/tag794.xml"/><Relationship Id="rId21" Type="http://schemas.openxmlformats.org/officeDocument/2006/relationships/tags" Target="../tags/tag789.xml"/><Relationship Id="rId42" Type="http://schemas.openxmlformats.org/officeDocument/2006/relationships/tags" Target="../tags/tag810.xml"/><Relationship Id="rId47" Type="http://schemas.openxmlformats.org/officeDocument/2006/relationships/tags" Target="../tags/tag815.xml"/><Relationship Id="rId63" Type="http://schemas.openxmlformats.org/officeDocument/2006/relationships/tags" Target="../tags/tag831.xml"/><Relationship Id="rId68" Type="http://schemas.openxmlformats.org/officeDocument/2006/relationships/tags" Target="../tags/tag836.xml"/><Relationship Id="rId84" Type="http://schemas.openxmlformats.org/officeDocument/2006/relationships/tags" Target="../tags/tag852.xml"/><Relationship Id="rId89" Type="http://schemas.openxmlformats.org/officeDocument/2006/relationships/tags" Target="../tags/tag857.xml"/><Relationship Id="rId16" Type="http://schemas.openxmlformats.org/officeDocument/2006/relationships/tags" Target="../tags/tag784.xml"/><Relationship Id="rId11" Type="http://schemas.openxmlformats.org/officeDocument/2006/relationships/tags" Target="../tags/tag779.xml"/><Relationship Id="rId32" Type="http://schemas.openxmlformats.org/officeDocument/2006/relationships/tags" Target="../tags/tag800.xml"/><Relationship Id="rId37" Type="http://schemas.openxmlformats.org/officeDocument/2006/relationships/tags" Target="../tags/tag805.xml"/><Relationship Id="rId53" Type="http://schemas.openxmlformats.org/officeDocument/2006/relationships/tags" Target="../tags/tag821.xml"/><Relationship Id="rId58" Type="http://schemas.openxmlformats.org/officeDocument/2006/relationships/tags" Target="../tags/tag826.xml"/><Relationship Id="rId74" Type="http://schemas.openxmlformats.org/officeDocument/2006/relationships/tags" Target="../tags/tag842.xml"/><Relationship Id="rId79" Type="http://schemas.openxmlformats.org/officeDocument/2006/relationships/tags" Target="../tags/tag847.xml"/><Relationship Id="rId102" Type="http://schemas.openxmlformats.org/officeDocument/2006/relationships/chart" Target="../charts/chart17.xml"/><Relationship Id="rId5" Type="http://schemas.openxmlformats.org/officeDocument/2006/relationships/tags" Target="../tags/tag773.xml"/><Relationship Id="rId90" Type="http://schemas.openxmlformats.org/officeDocument/2006/relationships/tags" Target="../tags/tag858.xml"/><Relationship Id="rId95" Type="http://schemas.openxmlformats.org/officeDocument/2006/relationships/tags" Target="../tags/tag863.xml"/><Relationship Id="rId22" Type="http://schemas.openxmlformats.org/officeDocument/2006/relationships/tags" Target="../tags/tag790.xml"/><Relationship Id="rId27" Type="http://schemas.openxmlformats.org/officeDocument/2006/relationships/tags" Target="../tags/tag795.xml"/><Relationship Id="rId43" Type="http://schemas.openxmlformats.org/officeDocument/2006/relationships/tags" Target="../tags/tag811.xml"/><Relationship Id="rId48" Type="http://schemas.openxmlformats.org/officeDocument/2006/relationships/tags" Target="../tags/tag816.xml"/><Relationship Id="rId64" Type="http://schemas.openxmlformats.org/officeDocument/2006/relationships/tags" Target="../tags/tag832.xml"/><Relationship Id="rId69" Type="http://schemas.openxmlformats.org/officeDocument/2006/relationships/tags" Target="../tags/tag837.xml"/><Relationship Id="rId80" Type="http://schemas.openxmlformats.org/officeDocument/2006/relationships/tags" Target="../tags/tag848.xml"/><Relationship Id="rId85" Type="http://schemas.openxmlformats.org/officeDocument/2006/relationships/tags" Target="../tags/tag853.xml"/><Relationship Id="rId12" Type="http://schemas.openxmlformats.org/officeDocument/2006/relationships/tags" Target="../tags/tag780.xml"/><Relationship Id="rId17" Type="http://schemas.openxmlformats.org/officeDocument/2006/relationships/tags" Target="../tags/tag785.xml"/><Relationship Id="rId25" Type="http://schemas.openxmlformats.org/officeDocument/2006/relationships/tags" Target="../tags/tag793.xml"/><Relationship Id="rId33" Type="http://schemas.openxmlformats.org/officeDocument/2006/relationships/tags" Target="../tags/tag801.xml"/><Relationship Id="rId38" Type="http://schemas.openxmlformats.org/officeDocument/2006/relationships/tags" Target="../tags/tag806.xml"/><Relationship Id="rId46" Type="http://schemas.openxmlformats.org/officeDocument/2006/relationships/tags" Target="../tags/tag814.xml"/><Relationship Id="rId59" Type="http://schemas.openxmlformats.org/officeDocument/2006/relationships/tags" Target="../tags/tag827.xml"/><Relationship Id="rId67" Type="http://schemas.openxmlformats.org/officeDocument/2006/relationships/tags" Target="../tags/tag835.xml"/><Relationship Id="rId20" Type="http://schemas.openxmlformats.org/officeDocument/2006/relationships/tags" Target="../tags/tag788.xml"/><Relationship Id="rId41" Type="http://schemas.openxmlformats.org/officeDocument/2006/relationships/tags" Target="../tags/tag809.xml"/><Relationship Id="rId54" Type="http://schemas.openxmlformats.org/officeDocument/2006/relationships/tags" Target="../tags/tag822.xml"/><Relationship Id="rId62" Type="http://schemas.openxmlformats.org/officeDocument/2006/relationships/tags" Target="../tags/tag830.xml"/><Relationship Id="rId70" Type="http://schemas.openxmlformats.org/officeDocument/2006/relationships/tags" Target="../tags/tag838.xml"/><Relationship Id="rId75" Type="http://schemas.openxmlformats.org/officeDocument/2006/relationships/tags" Target="../tags/tag843.xml"/><Relationship Id="rId83" Type="http://schemas.openxmlformats.org/officeDocument/2006/relationships/tags" Target="../tags/tag851.xml"/><Relationship Id="rId88" Type="http://schemas.openxmlformats.org/officeDocument/2006/relationships/tags" Target="../tags/tag856.xml"/><Relationship Id="rId91" Type="http://schemas.openxmlformats.org/officeDocument/2006/relationships/tags" Target="../tags/tag859.xml"/><Relationship Id="rId96" Type="http://schemas.openxmlformats.org/officeDocument/2006/relationships/tags" Target="../tags/tag864.xml"/><Relationship Id="rId1" Type="http://schemas.openxmlformats.org/officeDocument/2006/relationships/tags" Target="../tags/tag769.xml"/><Relationship Id="rId6" Type="http://schemas.openxmlformats.org/officeDocument/2006/relationships/tags" Target="../tags/tag774.xml"/><Relationship Id="rId15" Type="http://schemas.openxmlformats.org/officeDocument/2006/relationships/tags" Target="../tags/tag783.xml"/><Relationship Id="rId23" Type="http://schemas.openxmlformats.org/officeDocument/2006/relationships/tags" Target="../tags/tag791.xml"/><Relationship Id="rId28" Type="http://schemas.openxmlformats.org/officeDocument/2006/relationships/tags" Target="../tags/tag796.xml"/><Relationship Id="rId36" Type="http://schemas.openxmlformats.org/officeDocument/2006/relationships/tags" Target="../tags/tag804.xml"/><Relationship Id="rId49" Type="http://schemas.openxmlformats.org/officeDocument/2006/relationships/tags" Target="../tags/tag817.xml"/><Relationship Id="rId57" Type="http://schemas.openxmlformats.org/officeDocument/2006/relationships/tags" Target="../tags/tag825.xml"/><Relationship Id="rId10" Type="http://schemas.openxmlformats.org/officeDocument/2006/relationships/tags" Target="../tags/tag778.xml"/><Relationship Id="rId31" Type="http://schemas.openxmlformats.org/officeDocument/2006/relationships/tags" Target="../tags/tag799.xml"/><Relationship Id="rId44" Type="http://schemas.openxmlformats.org/officeDocument/2006/relationships/tags" Target="../tags/tag812.xml"/><Relationship Id="rId52" Type="http://schemas.openxmlformats.org/officeDocument/2006/relationships/tags" Target="../tags/tag820.xml"/><Relationship Id="rId60" Type="http://schemas.openxmlformats.org/officeDocument/2006/relationships/tags" Target="../tags/tag828.xml"/><Relationship Id="rId65" Type="http://schemas.openxmlformats.org/officeDocument/2006/relationships/tags" Target="../tags/tag833.xml"/><Relationship Id="rId73" Type="http://schemas.openxmlformats.org/officeDocument/2006/relationships/tags" Target="../tags/tag841.xml"/><Relationship Id="rId78" Type="http://schemas.openxmlformats.org/officeDocument/2006/relationships/tags" Target="../tags/tag846.xml"/><Relationship Id="rId81" Type="http://schemas.openxmlformats.org/officeDocument/2006/relationships/tags" Target="../tags/tag849.xml"/><Relationship Id="rId86" Type="http://schemas.openxmlformats.org/officeDocument/2006/relationships/tags" Target="../tags/tag854.xml"/><Relationship Id="rId94" Type="http://schemas.openxmlformats.org/officeDocument/2006/relationships/tags" Target="../tags/tag862.xml"/><Relationship Id="rId99" Type="http://schemas.openxmlformats.org/officeDocument/2006/relationships/oleObject" Target="../embeddings/oleObject25.bin"/><Relationship Id="rId101" Type="http://schemas.openxmlformats.org/officeDocument/2006/relationships/chart" Target="../charts/chart16.xml"/><Relationship Id="rId4" Type="http://schemas.openxmlformats.org/officeDocument/2006/relationships/tags" Target="../tags/tag772.xml"/><Relationship Id="rId9" Type="http://schemas.openxmlformats.org/officeDocument/2006/relationships/tags" Target="../tags/tag777.xml"/><Relationship Id="rId13" Type="http://schemas.openxmlformats.org/officeDocument/2006/relationships/tags" Target="../tags/tag781.xml"/><Relationship Id="rId18" Type="http://schemas.openxmlformats.org/officeDocument/2006/relationships/tags" Target="../tags/tag786.xml"/><Relationship Id="rId39" Type="http://schemas.openxmlformats.org/officeDocument/2006/relationships/tags" Target="../tags/tag807.xml"/><Relationship Id="rId34" Type="http://schemas.openxmlformats.org/officeDocument/2006/relationships/tags" Target="../tags/tag802.xml"/><Relationship Id="rId50" Type="http://schemas.openxmlformats.org/officeDocument/2006/relationships/tags" Target="../tags/tag818.xml"/><Relationship Id="rId55" Type="http://schemas.openxmlformats.org/officeDocument/2006/relationships/tags" Target="../tags/tag823.xml"/><Relationship Id="rId76" Type="http://schemas.openxmlformats.org/officeDocument/2006/relationships/tags" Target="../tags/tag844.xml"/><Relationship Id="rId97" Type="http://schemas.openxmlformats.org/officeDocument/2006/relationships/tags" Target="../tags/tag865.xml"/><Relationship Id="rId7" Type="http://schemas.openxmlformats.org/officeDocument/2006/relationships/tags" Target="../tags/tag775.xml"/><Relationship Id="rId71" Type="http://schemas.openxmlformats.org/officeDocument/2006/relationships/tags" Target="../tags/tag839.xml"/><Relationship Id="rId92" Type="http://schemas.openxmlformats.org/officeDocument/2006/relationships/tags" Target="../tags/tag860.xml"/><Relationship Id="rId2" Type="http://schemas.openxmlformats.org/officeDocument/2006/relationships/tags" Target="../tags/tag770.xml"/><Relationship Id="rId29" Type="http://schemas.openxmlformats.org/officeDocument/2006/relationships/tags" Target="../tags/tag797.xml"/><Relationship Id="rId24" Type="http://schemas.openxmlformats.org/officeDocument/2006/relationships/tags" Target="../tags/tag792.xml"/><Relationship Id="rId40" Type="http://schemas.openxmlformats.org/officeDocument/2006/relationships/tags" Target="../tags/tag808.xml"/><Relationship Id="rId45" Type="http://schemas.openxmlformats.org/officeDocument/2006/relationships/tags" Target="../tags/tag813.xml"/><Relationship Id="rId66" Type="http://schemas.openxmlformats.org/officeDocument/2006/relationships/tags" Target="../tags/tag834.xml"/><Relationship Id="rId87" Type="http://schemas.openxmlformats.org/officeDocument/2006/relationships/tags" Target="../tags/tag855.xml"/><Relationship Id="rId61" Type="http://schemas.openxmlformats.org/officeDocument/2006/relationships/tags" Target="../tags/tag829.xml"/><Relationship Id="rId82" Type="http://schemas.openxmlformats.org/officeDocument/2006/relationships/tags" Target="../tags/tag850.xml"/><Relationship Id="rId19" Type="http://schemas.openxmlformats.org/officeDocument/2006/relationships/tags" Target="../tags/tag787.xml"/><Relationship Id="rId14" Type="http://schemas.openxmlformats.org/officeDocument/2006/relationships/tags" Target="../tags/tag782.xml"/><Relationship Id="rId30" Type="http://schemas.openxmlformats.org/officeDocument/2006/relationships/tags" Target="../tags/tag798.xml"/><Relationship Id="rId35" Type="http://schemas.openxmlformats.org/officeDocument/2006/relationships/tags" Target="../tags/tag803.xml"/><Relationship Id="rId56" Type="http://schemas.openxmlformats.org/officeDocument/2006/relationships/tags" Target="../tags/tag824.xml"/><Relationship Id="rId77" Type="http://schemas.openxmlformats.org/officeDocument/2006/relationships/tags" Target="../tags/tag845.xml"/><Relationship Id="rId100" Type="http://schemas.openxmlformats.org/officeDocument/2006/relationships/image" Target="../media/image25.emf"/><Relationship Id="rId8" Type="http://schemas.openxmlformats.org/officeDocument/2006/relationships/tags" Target="../tags/tag776.xml"/><Relationship Id="rId51" Type="http://schemas.openxmlformats.org/officeDocument/2006/relationships/tags" Target="../tags/tag819.xml"/><Relationship Id="rId72" Type="http://schemas.openxmlformats.org/officeDocument/2006/relationships/tags" Target="../tags/tag840.xml"/><Relationship Id="rId93" Type="http://schemas.openxmlformats.org/officeDocument/2006/relationships/tags" Target="../tags/tag861.xml"/><Relationship Id="rId98" Type="http://schemas.openxmlformats.org/officeDocument/2006/relationships/slideLayout" Target="../slideLayouts/slideLayout2.xml"/><Relationship Id="rId3" Type="http://schemas.openxmlformats.org/officeDocument/2006/relationships/tags" Target="../tags/tag771.xml"/></Relationships>
</file>

<file path=ppt/slides/_rels/slide3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2.xml"/><Relationship Id="rId4" Type="http://schemas.openxmlformats.org/officeDocument/2006/relationships/chart" Target="../charts/char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27.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26" Type="http://schemas.openxmlformats.org/officeDocument/2006/relationships/tags" Target="../tags/tag893.xml"/><Relationship Id="rId21" Type="http://schemas.openxmlformats.org/officeDocument/2006/relationships/tags" Target="../tags/tag888.xml"/><Relationship Id="rId42" Type="http://schemas.openxmlformats.org/officeDocument/2006/relationships/tags" Target="../tags/tag909.xml"/><Relationship Id="rId47" Type="http://schemas.openxmlformats.org/officeDocument/2006/relationships/tags" Target="../tags/tag914.xml"/><Relationship Id="rId63" Type="http://schemas.openxmlformats.org/officeDocument/2006/relationships/tags" Target="../tags/tag930.xml"/><Relationship Id="rId68" Type="http://schemas.openxmlformats.org/officeDocument/2006/relationships/tags" Target="../tags/tag935.xml"/><Relationship Id="rId84" Type="http://schemas.openxmlformats.org/officeDocument/2006/relationships/tags" Target="../tags/tag951.xml"/><Relationship Id="rId89" Type="http://schemas.openxmlformats.org/officeDocument/2006/relationships/oleObject" Target="../embeddings/oleObject28.bin"/><Relationship Id="rId16" Type="http://schemas.openxmlformats.org/officeDocument/2006/relationships/tags" Target="../tags/tag883.xml"/><Relationship Id="rId11" Type="http://schemas.openxmlformats.org/officeDocument/2006/relationships/tags" Target="../tags/tag878.xml"/><Relationship Id="rId32" Type="http://schemas.openxmlformats.org/officeDocument/2006/relationships/tags" Target="../tags/tag899.xml"/><Relationship Id="rId37" Type="http://schemas.openxmlformats.org/officeDocument/2006/relationships/tags" Target="../tags/tag904.xml"/><Relationship Id="rId53" Type="http://schemas.openxmlformats.org/officeDocument/2006/relationships/tags" Target="../tags/tag920.xml"/><Relationship Id="rId58" Type="http://schemas.openxmlformats.org/officeDocument/2006/relationships/tags" Target="../tags/tag925.xml"/><Relationship Id="rId74" Type="http://schemas.openxmlformats.org/officeDocument/2006/relationships/tags" Target="../tags/tag941.xml"/><Relationship Id="rId79" Type="http://schemas.openxmlformats.org/officeDocument/2006/relationships/tags" Target="../tags/tag946.xml"/><Relationship Id="rId5" Type="http://schemas.openxmlformats.org/officeDocument/2006/relationships/tags" Target="../tags/tag872.xml"/><Relationship Id="rId90" Type="http://schemas.openxmlformats.org/officeDocument/2006/relationships/image" Target="../media/image25.emf"/><Relationship Id="rId14" Type="http://schemas.openxmlformats.org/officeDocument/2006/relationships/tags" Target="../tags/tag881.xml"/><Relationship Id="rId22" Type="http://schemas.openxmlformats.org/officeDocument/2006/relationships/tags" Target="../tags/tag889.xml"/><Relationship Id="rId27" Type="http://schemas.openxmlformats.org/officeDocument/2006/relationships/tags" Target="../tags/tag894.xml"/><Relationship Id="rId30" Type="http://schemas.openxmlformats.org/officeDocument/2006/relationships/tags" Target="../tags/tag897.xml"/><Relationship Id="rId35" Type="http://schemas.openxmlformats.org/officeDocument/2006/relationships/tags" Target="../tags/tag902.xml"/><Relationship Id="rId43" Type="http://schemas.openxmlformats.org/officeDocument/2006/relationships/tags" Target="../tags/tag910.xml"/><Relationship Id="rId48" Type="http://schemas.openxmlformats.org/officeDocument/2006/relationships/tags" Target="../tags/tag915.xml"/><Relationship Id="rId56" Type="http://schemas.openxmlformats.org/officeDocument/2006/relationships/tags" Target="../tags/tag923.xml"/><Relationship Id="rId64" Type="http://schemas.openxmlformats.org/officeDocument/2006/relationships/tags" Target="../tags/tag931.xml"/><Relationship Id="rId69" Type="http://schemas.openxmlformats.org/officeDocument/2006/relationships/tags" Target="../tags/tag936.xml"/><Relationship Id="rId77" Type="http://schemas.openxmlformats.org/officeDocument/2006/relationships/tags" Target="../tags/tag944.xml"/><Relationship Id="rId8" Type="http://schemas.openxmlformats.org/officeDocument/2006/relationships/tags" Target="../tags/tag875.xml"/><Relationship Id="rId51" Type="http://schemas.openxmlformats.org/officeDocument/2006/relationships/tags" Target="../tags/tag918.xml"/><Relationship Id="rId72" Type="http://schemas.openxmlformats.org/officeDocument/2006/relationships/tags" Target="../tags/tag939.xml"/><Relationship Id="rId80" Type="http://schemas.openxmlformats.org/officeDocument/2006/relationships/tags" Target="../tags/tag947.xml"/><Relationship Id="rId85" Type="http://schemas.openxmlformats.org/officeDocument/2006/relationships/tags" Target="../tags/tag952.xml"/><Relationship Id="rId3" Type="http://schemas.openxmlformats.org/officeDocument/2006/relationships/tags" Target="../tags/tag870.xml"/><Relationship Id="rId12" Type="http://schemas.openxmlformats.org/officeDocument/2006/relationships/tags" Target="../tags/tag879.xml"/><Relationship Id="rId17" Type="http://schemas.openxmlformats.org/officeDocument/2006/relationships/tags" Target="../tags/tag884.xml"/><Relationship Id="rId25" Type="http://schemas.openxmlformats.org/officeDocument/2006/relationships/tags" Target="../tags/tag892.xml"/><Relationship Id="rId33" Type="http://schemas.openxmlformats.org/officeDocument/2006/relationships/tags" Target="../tags/tag900.xml"/><Relationship Id="rId38" Type="http://schemas.openxmlformats.org/officeDocument/2006/relationships/tags" Target="../tags/tag905.xml"/><Relationship Id="rId46" Type="http://schemas.openxmlformats.org/officeDocument/2006/relationships/tags" Target="../tags/tag913.xml"/><Relationship Id="rId59" Type="http://schemas.openxmlformats.org/officeDocument/2006/relationships/tags" Target="../tags/tag926.xml"/><Relationship Id="rId67" Type="http://schemas.openxmlformats.org/officeDocument/2006/relationships/tags" Target="../tags/tag934.xml"/><Relationship Id="rId20" Type="http://schemas.openxmlformats.org/officeDocument/2006/relationships/tags" Target="../tags/tag887.xml"/><Relationship Id="rId41" Type="http://schemas.openxmlformats.org/officeDocument/2006/relationships/tags" Target="../tags/tag908.xml"/><Relationship Id="rId54" Type="http://schemas.openxmlformats.org/officeDocument/2006/relationships/tags" Target="../tags/tag921.xml"/><Relationship Id="rId62" Type="http://schemas.openxmlformats.org/officeDocument/2006/relationships/tags" Target="../tags/tag929.xml"/><Relationship Id="rId70" Type="http://schemas.openxmlformats.org/officeDocument/2006/relationships/tags" Target="../tags/tag937.xml"/><Relationship Id="rId75" Type="http://schemas.openxmlformats.org/officeDocument/2006/relationships/tags" Target="../tags/tag942.xml"/><Relationship Id="rId83" Type="http://schemas.openxmlformats.org/officeDocument/2006/relationships/tags" Target="../tags/tag950.xml"/><Relationship Id="rId88" Type="http://schemas.openxmlformats.org/officeDocument/2006/relationships/notesSlide" Target="../notesSlides/notesSlide11.xml"/><Relationship Id="rId91" Type="http://schemas.openxmlformats.org/officeDocument/2006/relationships/chart" Target="../charts/chart21.xml"/><Relationship Id="rId1" Type="http://schemas.openxmlformats.org/officeDocument/2006/relationships/tags" Target="../tags/tag868.xml"/><Relationship Id="rId6" Type="http://schemas.openxmlformats.org/officeDocument/2006/relationships/tags" Target="../tags/tag873.xml"/><Relationship Id="rId15" Type="http://schemas.openxmlformats.org/officeDocument/2006/relationships/tags" Target="../tags/tag882.xml"/><Relationship Id="rId23" Type="http://schemas.openxmlformats.org/officeDocument/2006/relationships/tags" Target="../tags/tag890.xml"/><Relationship Id="rId28" Type="http://schemas.openxmlformats.org/officeDocument/2006/relationships/tags" Target="../tags/tag895.xml"/><Relationship Id="rId36" Type="http://schemas.openxmlformats.org/officeDocument/2006/relationships/tags" Target="../tags/tag903.xml"/><Relationship Id="rId49" Type="http://schemas.openxmlformats.org/officeDocument/2006/relationships/tags" Target="../tags/tag916.xml"/><Relationship Id="rId57" Type="http://schemas.openxmlformats.org/officeDocument/2006/relationships/tags" Target="../tags/tag924.xml"/><Relationship Id="rId10" Type="http://schemas.openxmlformats.org/officeDocument/2006/relationships/tags" Target="../tags/tag877.xml"/><Relationship Id="rId31" Type="http://schemas.openxmlformats.org/officeDocument/2006/relationships/tags" Target="../tags/tag898.xml"/><Relationship Id="rId44" Type="http://schemas.openxmlformats.org/officeDocument/2006/relationships/tags" Target="../tags/tag911.xml"/><Relationship Id="rId52" Type="http://schemas.openxmlformats.org/officeDocument/2006/relationships/tags" Target="../tags/tag919.xml"/><Relationship Id="rId60" Type="http://schemas.openxmlformats.org/officeDocument/2006/relationships/tags" Target="../tags/tag927.xml"/><Relationship Id="rId65" Type="http://schemas.openxmlformats.org/officeDocument/2006/relationships/tags" Target="../tags/tag932.xml"/><Relationship Id="rId73" Type="http://schemas.openxmlformats.org/officeDocument/2006/relationships/tags" Target="../tags/tag940.xml"/><Relationship Id="rId78" Type="http://schemas.openxmlformats.org/officeDocument/2006/relationships/tags" Target="../tags/tag945.xml"/><Relationship Id="rId81" Type="http://schemas.openxmlformats.org/officeDocument/2006/relationships/tags" Target="../tags/tag948.xml"/><Relationship Id="rId86" Type="http://schemas.openxmlformats.org/officeDocument/2006/relationships/tags" Target="../tags/tag953.xml"/><Relationship Id="rId4" Type="http://schemas.openxmlformats.org/officeDocument/2006/relationships/tags" Target="../tags/tag871.xml"/><Relationship Id="rId9" Type="http://schemas.openxmlformats.org/officeDocument/2006/relationships/tags" Target="../tags/tag876.xml"/><Relationship Id="rId13" Type="http://schemas.openxmlformats.org/officeDocument/2006/relationships/tags" Target="../tags/tag880.xml"/><Relationship Id="rId18" Type="http://schemas.openxmlformats.org/officeDocument/2006/relationships/tags" Target="../tags/tag885.xml"/><Relationship Id="rId39" Type="http://schemas.openxmlformats.org/officeDocument/2006/relationships/tags" Target="../tags/tag906.xml"/><Relationship Id="rId34" Type="http://schemas.openxmlformats.org/officeDocument/2006/relationships/tags" Target="../tags/tag901.xml"/><Relationship Id="rId50" Type="http://schemas.openxmlformats.org/officeDocument/2006/relationships/tags" Target="../tags/tag917.xml"/><Relationship Id="rId55" Type="http://schemas.openxmlformats.org/officeDocument/2006/relationships/tags" Target="../tags/tag922.xml"/><Relationship Id="rId76" Type="http://schemas.openxmlformats.org/officeDocument/2006/relationships/tags" Target="../tags/tag943.xml"/><Relationship Id="rId7" Type="http://schemas.openxmlformats.org/officeDocument/2006/relationships/tags" Target="../tags/tag874.xml"/><Relationship Id="rId71" Type="http://schemas.openxmlformats.org/officeDocument/2006/relationships/tags" Target="../tags/tag938.xml"/><Relationship Id="rId92" Type="http://schemas.openxmlformats.org/officeDocument/2006/relationships/chart" Target="../charts/chart22.xml"/><Relationship Id="rId2" Type="http://schemas.openxmlformats.org/officeDocument/2006/relationships/tags" Target="../tags/tag869.xml"/><Relationship Id="rId29" Type="http://schemas.openxmlformats.org/officeDocument/2006/relationships/tags" Target="../tags/tag896.xml"/><Relationship Id="rId24" Type="http://schemas.openxmlformats.org/officeDocument/2006/relationships/tags" Target="../tags/tag891.xml"/><Relationship Id="rId40" Type="http://schemas.openxmlformats.org/officeDocument/2006/relationships/tags" Target="../tags/tag907.xml"/><Relationship Id="rId45" Type="http://schemas.openxmlformats.org/officeDocument/2006/relationships/tags" Target="../tags/tag912.xml"/><Relationship Id="rId66" Type="http://schemas.openxmlformats.org/officeDocument/2006/relationships/tags" Target="../tags/tag933.xml"/><Relationship Id="rId87" Type="http://schemas.openxmlformats.org/officeDocument/2006/relationships/slideLayout" Target="../slideLayouts/slideLayout2.xml"/><Relationship Id="rId61" Type="http://schemas.openxmlformats.org/officeDocument/2006/relationships/tags" Target="../tags/tag928.xml"/><Relationship Id="rId82" Type="http://schemas.openxmlformats.org/officeDocument/2006/relationships/tags" Target="../tags/tag949.xml"/><Relationship Id="rId19" Type="http://schemas.openxmlformats.org/officeDocument/2006/relationships/tags" Target="../tags/tag886.xml"/></Relationships>
</file>

<file path=ppt/slides/_rels/slide43.xml.rels><?xml version="1.0" encoding="UTF-8" standalone="yes"?>
<Relationships xmlns="http://schemas.openxmlformats.org/package/2006/relationships"><Relationship Id="rId8" Type="http://schemas.openxmlformats.org/officeDocument/2006/relationships/tags" Target="../tags/tag961.xml"/><Relationship Id="rId13" Type="http://schemas.openxmlformats.org/officeDocument/2006/relationships/tags" Target="../tags/tag966.xml"/><Relationship Id="rId18" Type="http://schemas.openxmlformats.org/officeDocument/2006/relationships/tags" Target="../tags/tag971.xml"/><Relationship Id="rId26" Type="http://schemas.openxmlformats.org/officeDocument/2006/relationships/tags" Target="../tags/tag979.xml"/><Relationship Id="rId3" Type="http://schemas.openxmlformats.org/officeDocument/2006/relationships/tags" Target="../tags/tag956.xml"/><Relationship Id="rId21" Type="http://schemas.openxmlformats.org/officeDocument/2006/relationships/tags" Target="../tags/tag974.xml"/><Relationship Id="rId7" Type="http://schemas.openxmlformats.org/officeDocument/2006/relationships/tags" Target="../tags/tag960.xml"/><Relationship Id="rId12" Type="http://schemas.openxmlformats.org/officeDocument/2006/relationships/tags" Target="../tags/tag965.xml"/><Relationship Id="rId17" Type="http://schemas.openxmlformats.org/officeDocument/2006/relationships/tags" Target="../tags/tag970.xml"/><Relationship Id="rId25" Type="http://schemas.openxmlformats.org/officeDocument/2006/relationships/tags" Target="../tags/tag978.xml"/><Relationship Id="rId2" Type="http://schemas.openxmlformats.org/officeDocument/2006/relationships/tags" Target="../tags/tag955.xml"/><Relationship Id="rId16" Type="http://schemas.openxmlformats.org/officeDocument/2006/relationships/tags" Target="../tags/tag969.xml"/><Relationship Id="rId20" Type="http://schemas.openxmlformats.org/officeDocument/2006/relationships/tags" Target="../tags/tag973.xml"/><Relationship Id="rId29" Type="http://schemas.openxmlformats.org/officeDocument/2006/relationships/image" Target="../media/image27.emf"/><Relationship Id="rId1" Type="http://schemas.openxmlformats.org/officeDocument/2006/relationships/tags" Target="../tags/tag954.xml"/><Relationship Id="rId6" Type="http://schemas.openxmlformats.org/officeDocument/2006/relationships/tags" Target="../tags/tag959.xml"/><Relationship Id="rId11" Type="http://schemas.openxmlformats.org/officeDocument/2006/relationships/tags" Target="../tags/tag964.xml"/><Relationship Id="rId24" Type="http://schemas.openxmlformats.org/officeDocument/2006/relationships/tags" Target="../tags/tag977.xml"/><Relationship Id="rId5" Type="http://schemas.openxmlformats.org/officeDocument/2006/relationships/tags" Target="../tags/tag958.xml"/><Relationship Id="rId15" Type="http://schemas.openxmlformats.org/officeDocument/2006/relationships/tags" Target="../tags/tag968.xml"/><Relationship Id="rId23" Type="http://schemas.openxmlformats.org/officeDocument/2006/relationships/tags" Target="../tags/tag976.xml"/><Relationship Id="rId28" Type="http://schemas.openxmlformats.org/officeDocument/2006/relationships/oleObject" Target="../embeddings/oleObject29.bin"/><Relationship Id="rId10" Type="http://schemas.openxmlformats.org/officeDocument/2006/relationships/tags" Target="../tags/tag963.xml"/><Relationship Id="rId19" Type="http://schemas.openxmlformats.org/officeDocument/2006/relationships/tags" Target="../tags/tag972.xml"/><Relationship Id="rId4" Type="http://schemas.openxmlformats.org/officeDocument/2006/relationships/tags" Target="../tags/tag957.xml"/><Relationship Id="rId9" Type="http://schemas.openxmlformats.org/officeDocument/2006/relationships/tags" Target="../tags/tag962.xml"/><Relationship Id="rId14" Type="http://schemas.openxmlformats.org/officeDocument/2006/relationships/tags" Target="../tags/tag967.xml"/><Relationship Id="rId22" Type="http://schemas.openxmlformats.org/officeDocument/2006/relationships/tags" Target="../tags/tag975.xml"/><Relationship Id="rId27" Type="http://schemas.openxmlformats.org/officeDocument/2006/relationships/slideLayout" Target="../slideLayouts/slideLayout2.xml"/><Relationship Id="rId30" Type="http://schemas.openxmlformats.org/officeDocument/2006/relationships/chart" Target="../charts/chart23.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980.xml"/><Relationship Id="rId4" Type="http://schemas.openxmlformats.org/officeDocument/2006/relationships/image" Target="../media/image20.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981.xml"/><Relationship Id="rId4" Type="http://schemas.openxmlformats.org/officeDocument/2006/relationships/image" Target="../media/image20.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982.xml"/><Relationship Id="rId4" Type="http://schemas.openxmlformats.org/officeDocument/2006/relationships/image" Target="../media/image2.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983.xml"/><Relationship Id="rId4" Type="http://schemas.openxmlformats.org/officeDocument/2006/relationships/image" Target="../media/image20.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984.xml"/><Relationship Id="rId4" Type="http://schemas.openxmlformats.org/officeDocument/2006/relationships/image" Target="../media/image20.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985.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986.xml"/><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987.xml"/><Relationship Id="rId4" Type="http://schemas.openxmlformats.org/officeDocument/2006/relationships/image" Target="../media/image2.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tags" Target="../tags/tag995.xml"/><Relationship Id="rId13" Type="http://schemas.openxmlformats.org/officeDocument/2006/relationships/tags" Target="../tags/tag1000.xml"/><Relationship Id="rId18" Type="http://schemas.openxmlformats.org/officeDocument/2006/relationships/tags" Target="../tags/tag1005.xml"/><Relationship Id="rId3" Type="http://schemas.openxmlformats.org/officeDocument/2006/relationships/tags" Target="../tags/tag990.xml"/><Relationship Id="rId21" Type="http://schemas.openxmlformats.org/officeDocument/2006/relationships/oleObject" Target="../embeddings/oleObject38.bin"/><Relationship Id="rId7" Type="http://schemas.openxmlformats.org/officeDocument/2006/relationships/tags" Target="../tags/tag994.xml"/><Relationship Id="rId12" Type="http://schemas.openxmlformats.org/officeDocument/2006/relationships/tags" Target="../tags/tag999.xml"/><Relationship Id="rId17" Type="http://schemas.openxmlformats.org/officeDocument/2006/relationships/tags" Target="../tags/tag1004.xml"/><Relationship Id="rId2" Type="http://schemas.openxmlformats.org/officeDocument/2006/relationships/tags" Target="../tags/tag989.xml"/><Relationship Id="rId16" Type="http://schemas.openxmlformats.org/officeDocument/2006/relationships/tags" Target="../tags/tag1003.xml"/><Relationship Id="rId20" Type="http://schemas.openxmlformats.org/officeDocument/2006/relationships/slideLayout" Target="../slideLayouts/slideLayout2.xml"/><Relationship Id="rId1" Type="http://schemas.openxmlformats.org/officeDocument/2006/relationships/tags" Target="../tags/tag988.xml"/><Relationship Id="rId6" Type="http://schemas.openxmlformats.org/officeDocument/2006/relationships/tags" Target="../tags/tag993.xml"/><Relationship Id="rId11" Type="http://schemas.openxmlformats.org/officeDocument/2006/relationships/tags" Target="../tags/tag998.xml"/><Relationship Id="rId5" Type="http://schemas.openxmlformats.org/officeDocument/2006/relationships/tags" Target="../tags/tag992.xml"/><Relationship Id="rId15" Type="http://schemas.openxmlformats.org/officeDocument/2006/relationships/tags" Target="../tags/tag1002.xml"/><Relationship Id="rId23" Type="http://schemas.openxmlformats.org/officeDocument/2006/relationships/chart" Target="../charts/chart24.xml"/><Relationship Id="rId10" Type="http://schemas.openxmlformats.org/officeDocument/2006/relationships/tags" Target="../tags/tag997.xml"/><Relationship Id="rId19" Type="http://schemas.openxmlformats.org/officeDocument/2006/relationships/tags" Target="../tags/tag1006.xml"/><Relationship Id="rId4" Type="http://schemas.openxmlformats.org/officeDocument/2006/relationships/tags" Target="../tags/tag991.xml"/><Relationship Id="rId9" Type="http://schemas.openxmlformats.org/officeDocument/2006/relationships/tags" Target="../tags/tag996.xml"/><Relationship Id="rId14" Type="http://schemas.openxmlformats.org/officeDocument/2006/relationships/tags" Target="../tags/tag1001.xml"/><Relationship Id="rId22" Type="http://schemas.openxmlformats.org/officeDocument/2006/relationships/image" Target="../media/image2.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1007.xml"/><Relationship Id="rId4" Type="http://schemas.openxmlformats.org/officeDocument/2006/relationships/image" Target="../media/image27.emf"/></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008.xml"/><Relationship Id="rId5" Type="http://schemas.openxmlformats.org/officeDocument/2006/relationships/image" Target="../media/image28.emf"/><Relationship Id="rId4" Type="http://schemas.openxmlformats.org/officeDocument/2006/relationships/oleObject" Target="../embeddings/oleObject40.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009.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010.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011.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012.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013.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014.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015.xml"/><Relationship Id="rId4" Type="http://schemas.openxmlformats.org/officeDocument/2006/relationships/image" Target="../media/image27.emf"/></Relationships>
</file>

<file path=ppt/slides/_rels/slide65.xml.rels><?xml version="1.0" encoding="UTF-8" standalone="yes"?>
<Relationships xmlns="http://schemas.openxmlformats.org/package/2006/relationships"><Relationship Id="rId13" Type="http://schemas.openxmlformats.org/officeDocument/2006/relationships/tags" Target="../tags/tag1028.xml"/><Relationship Id="rId18" Type="http://schemas.openxmlformats.org/officeDocument/2006/relationships/tags" Target="../tags/tag1033.xml"/><Relationship Id="rId26" Type="http://schemas.openxmlformats.org/officeDocument/2006/relationships/tags" Target="../tags/tag1041.xml"/><Relationship Id="rId39" Type="http://schemas.openxmlformats.org/officeDocument/2006/relationships/tags" Target="../tags/tag1054.xml"/><Relationship Id="rId21" Type="http://schemas.openxmlformats.org/officeDocument/2006/relationships/tags" Target="../tags/tag1036.xml"/><Relationship Id="rId34" Type="http://schemas.openxmlformats.org/officeDocument/2006/relationships/tags" Target="../tags/tag1049.xml"/><Relationship Id="rId42" Type="http://schemas.openxmlformats.org/officeDocument/2006/relationships/tags" Target="../tags/tag1057.xml"/><Relationship Id="rId47" Type="http://schemas.openxmlformats.org/officeDocument/2006/relationships/tags" Target="../tags/tag1062.xml"/><Relationship Id="rId50" Type="http://schemas.openxmlformats.org/officeDocument/2006/relationships/tags" Target="../tags/tag1065.xml"/><Relationship Id="rId55" Type="http://schemas.openxmlformats.org/officeDocument/2006/relationships/chart" Target="../charts/chart25.xml"/><Relationship Id="rId7" Type="http://schemas.openxmlformats.org/officeDocument/2006/relationships/tags" Target="../tags/tag1022.xml"/><Relationship Id="rId2" Type="http://schemas.openxmlformats.org/officeDocument/2006/relationships/tags" Target="../tags/tag1017.xml"/><Relationship Id="rId16" Type="http://schemas.openxmlformats.org/officeDocument/2006/relationships/tags" Target="../tags/tag1031.xml"/><Relationship Id="rId29" Type="http://schemas.openxmlformats.org/officeDocument/2006/relationships/tags" Target="../tags/tag1044.xml"/><Relationship Id="rId11" Type="http://schemas.openxmlformats.org/officeDocument/2006/relationships/tags" Target="../tags/tag1026.xml"/><Relationship Id="rId24" Type="http://schemas.openxmlformats.org/officeDocument/2006/relationships/tags" Target="../tags/tag1039.xml"/><Relationship Id="rId32" Type="http://schemas.openxmlformats.org/officeDocument/2006/relationships/tags" Target="../tags/tag1047.xml"/><Relationship Id="rId37" Type="http://schemas.openxmlformats.org/officeDocument/2006/relationships/tags" Target="../tags/tag1052.xml"/><Relationship Id="rId40" Type="http://schemas.openxmlformats.org/officeDocument/2006/relationships/tags" Target="../tags/tag1055.xml"/><Relationship Id="rId45" Type="http://schemas.openxmlformats.org/officeDocument/2006/relationships/tags" Target="../tags/tag1060.xml"/><Relationship Id="rId53" Type="http://schemas.openxmlformats.org/officeDocument/2006/relationships/oleObject" Target="../embeddings/oleObject43.bin"/><Relationship Id="rId5" Type="http://schemas.openxmlformats.org/officeDocument/2006/relationships/tags" Target="../tags/tag1020.xml"/><Relationship Id="rId10" Type="http://schemas.openxmlformats.org/officeDocument/2006/relationships/tags" Target="../tags/tag1025.xml"/><Relationship Id="rId19" Type="http://schemas.openxmlformats.org/officeDocument/2006/relationships/tags" Target="../tags/tag1034.xml"/><Relationship Id="rId31" Type="http://schemas.openxmlformats.org/officeDocument/2006/relationships/tags" Target="../tags/tag1046.xml"/><Relationship Id="rId44" Type="http://schemas.openxmlformats.org/officeDocument/2006/relationships/tags" Target="../tags/tag1059.xml"/><Relationship Id="rId52" Type="http://schemas.openxmlformats.org/officeDocument/2006/relationships/slideLayout" Target="../slideLayouts/slideLayout2.xml"/><Relationship Id="rId4" Type="http://schemas.openxmlformats.org/officeDocument/2006/relationships/tags" Target="../tags/tag1019.xml"/><Relationship Id="rId9" Type="http://schemas.openxmlformats.org/officeDocument/2006/relationships/tags" Target="../tags/tag1024.xml"/><Relationship Id="rId14" Type="http://schemas.openxmlformats.org/officeDocument/2006/relationships/tags" Target="../tags/tag1029.xml"/><Relationship Id="rId22" Type="http://schemas.openxmlformats.org/officeDocument/2006/relationships/tags" Target="../tags/tag1037.xml"/><Relationship Id="rId27" Type="http://schemas.openxmlformats.org/officeDocument/2006/relationships/tags" Target="../tags/tag1042.xml"/><Relationship Id="rId30" Type="http://schemas.openxmlformats.org/officeDocument/2006/relationships/tags" Target="../tags/tag1045.xml"/><Relationship Id="rId35" Type="http://schemas.openxmlformats.org/officeDocument/2006/relationships/tags" Target="../tags/tag1050.xml"/><Relationship Id="rId43" Type="http://schemas.openxmlformats.org/officeDocument/2006/relationships/tags" Target="../tags/tag1058.xml"/><Relationship Id="rId48" Type="http://schemas.openxmlformats.org/officeDocument/2006/relationships/tags" Target="../tags/tag1063.xml"/><Relationship Id="rId8" Type="http://schemas.openxmlformats.org/officeDocument/2006/relationships/tags" Target="../tags/tag1023.xml"/><Relationship Id="rId51" Type="http://schemas.openxmlformats.org/officeDocument/2006/relationships/tags" Target="../tags/tag1066.xml"/><Relationship Id="rId3" Type="http://schemas.openxmlformats.org/officeDocument/2006/relationships/tags" Target="../tags/tag1018.xml"/><Relationship Id="rId12" Type="http://schemas.openxmlformats.org/officeDocument/2006/relationships/tags" Target="../tags/tag1027.xml"/><Relationship Id="rId17" Type="http://schemas.openxmlformats.org/officeDocument/2006/relationships/tags" Target="../tags/tag1032.xml"/><Relationship Id="rId25" Type="http://schemas.openxmlformats.org/officeDocument/2006/relationships/tags" Target="../tags/tag1040.xml"/><Relationship Id="rId33" Type="http://schemas.openxmlformats.org/officeDocument/2006/relationships/tags" Target="../tags/tag1048.xml"/><Relationship Id="rId38" Type="http://schemas.openxmlformats.org/officeDocument/2006/relationships/tags" Target="../tags/tag1053.xml"/><Relationship Id="rId46" Type="http://schemas.openxmlformats.org/officeDocument/2006/relationships/tags" Target="../tags/tag1061.xml"/><Relationship Id="rId20" Type="http://schemas.openxmlformats.org/officeDocument/2006/relationships/tags" Target="../tags/tag1035.xml"/><Relationship Id="rId41" Type="http://schemas.openxmlformats.org/officeDocument/2006/relationships/tags" Target="../tags/tag1056.xml"/><Relationship Id="rId54" Type="http://schemas.openxmlformats.org/officeDocument/2006/relationships/image" Target="../media/image25.emf"/><Relationship Id="rId1" Type="http://schemas.openxmlformats.org/officeDocument/2006/relationships/tags" Target="../tags/tag1016.xml"/><Relationship Id="rId6" Type="http://schemas.openxmlformats.org/officeDocument/2006/relationships/tags" Target="../tags/tag1021.xml"/><Relationship Id="rId15" Type="http://schemas.openxmlformats.org/officeDocument/2006/relationships/tags" Target="../tags/tag1030.xml"/><Relationship Id="rId23" Type="http://schemas.openxmlformats.org/officeDocument/2006/relationships/tags" Target="../tags/tag1038.xml"/><Relationship Id="rId28" Type="http://schemas.openxmlformats.org/officeDocument/2006/relationships/tags" Target="../tags/tag1043.xml"/><Relationship Id="rId36" Type="http://schemas.openxmlformats.org/officeDocument/2006/relationships/tags" Target="../tags/tag1051.xml"/><Relationship Id="rId49" Type="http://schemas.openxmlformats.org/officeDocument/2006/relationships/tags" Target="../tags/tag106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tags" Target="../tags/tag1074.xml"/><Relationship Id="rId13" Type="http://schemas.openxmlformats.org/officeDocument/2006/relationships/tags" Target="../tags/tag1079.xml"/><Relationship Id="rId18" Type="http://schemas.openxmlformats.org/officeDocument/2006/relationships/tags" Target="../tags/tag1084.xml"/><Relationship Id="rId26" Type="http://schemas.openxmlformats.org/officeDocument/2006/relationships/chart" Target="../charts/chart26.xml"/><Relationship Id="rId3" Type="http://schemas.openxmlformats.org/officeDocument/2006/relationships/tags" Target="../tags/tag1069.xml"/><Relationship Id="rId21" Type="http://schemas.openxmlformats.org/officeDocument/2006/relationships/tags" Target="../tags/tag1087.xml"/><Relationship Id="rId7" Type="http://schemas.openxmlformats.org/officeDocument/2006/relationships/tags" Target="../tags/tag1073.xml"/><Relationship Id="rId12" Type="http://schemas.openxmlformats.org/officeDocument/2006/relationships/tags" Target="../tags/tag1078.xml"/><Relationship Id="rId17" Type="http://schemas.openxmlformats.org/officeDocument/2006/relationships/tags" Target="../tags/tag1083.xml"/><Relationship Id="rId25" Type="http://schemas.openxmlformats.org/officeDocument/2006/relationships/image" Target="../media/image25.emf"/><Relationship Id="rId2" Type="http://schemas.openxmlformats.org/officeDocument/2006/relationships/tags" Target="../tags/tag1068.xml"/><Relationship Id="rId16" Type="http://schemas.openxmlformats.org/officeDocument/2006/relationships/tags" Target="../tags/tag1082.xml"/><Relationship Id="rId20" Type="http://schemas.openxmlformats.org/officeDocument/2006/relationships/tags" Target="../tags/tag1086.xml"/><Relationship Id="rId1" Type="http://schemas.openxmlformats.org/officeDocument/2006/relationships/tags" Target="../tags/tag1067.xml"/><Relationship Id="rId6" Type="http://schemas.openxmlformats.org/officeDocument/2006/relationships/tags" Target="../tags/tag1072.xml"/><Relationship Id="rId11" Type="http://schemas.openxmlformats.org/officeDocument/2006/relationships/tags" Target="../tags/tag1077.xml"/><Relationship Id="rId24" Type="http://schemas.openxmlformats.org/officeDocument/2006/relationships/oleObject" Target="../embeddings/oleObject44.bin"/><Relationship Id="rId5" Type="http://schemas.openxmlformats.org/officeDocument/2006/relationships/tags" Target="../tags/tag1071.xml"/><Relationship Id="rId15" Type="http://schemas.openxmlformats.org/officeDocument/2006/relationships/tags" Target="../tags/tag1081.xml"/><Relationship Id="rId23" Type="http://schemas.openxmlformats.org/officeDocument/2006/relationships/slideLayout" Target="../slideLayouts/slideLayout2.xml"/><Relationship Id="rId10" Type="http://schemas.openxmlformats.org/officeDocument/2006/relationships/tags" Target="../tags/tag1076.xml"/><Relationship Id="rId19" Type="http://schemas.openxmlformats.org/officeDocument/2006/relationships/tags" Target="../tags/tag1085.xml"/><Relationship Id="rId4" Type="http://schemas.openxmlformats.org/officeDocument/2006/relationships/tags" Target="../tags/tag1070.xml"/><Relationship Id="rId9" Type="http://schemas.openxmlformats.org/officeDocument/2006/relationships/tags" Target="../tags/tag1075.xml"/><Relationship Id="rId14" Type="http://schemas.openxmlformats.org/officeDocument/2006/relationships/tags" Target="../tags/tag1080.xml"/><Relationship Id="rId22" Type="http://schemas.openxmlformats.org/officeDocument/2006/relationships/tags" Target="../tags/tag1088.xml"/><Relationship Id="rId27" Type="http://schemas.openxmlformats.org/officeDocument/2006/relationships/chart" Target="../charts/chart2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tags" Target="../tags/tag1096.xml"/><Relationship Id="rId13" Type="http://schemas.openxmlformats.org/officeDocument/2006/relationships/tags" Target="../tags/tag1101.xml"/><Relationship Id="rId18" Type="http://schemas.openxmlformats.org/officeDocument/2006/relationships/tags" Target="../tags/tag1106.xml"/><Relationship Id="rId26" Type="http://schemas.openxmlformats.org/officeDocument/2006/relationships/chart" Target="../charts/chart28.xml"/><Relationship Id="rId3" Type="http://schemas.openxmlformats.org/officeDocument/2006/relationships/tags" Target="../tags/tag1091.xml"/><Relationship Id="rId21" Type="http://schemas.openxmlformats.org/officeDocument/2006/relationships/tags" Target="../tags/tag1109.xml"/><Relationship Id="rId7" Type="http://schemas.openxmlformats.org/officeDocument/2006/relationships/tags" Target="../tags/tag1095.xml"/><Relationship Id="rId12" Type="http://schemas.openxmlformats.org/officeDocument/2006/relationships/tags" Target="../tags/tag1100.xml"/><Relationship Id="rId17" Type="http://schemas.openxmlformats.org/officeDocument/2006/relationships/tags" Target="../tags/tag1105.xml"/><Relationship Id="rId25" Type="http://schemas.openxmlformats.org/officeDocument/2006/relationships/image" Target="../media/image25.emf"/><Relationship Id="rId2" Type="http://schemas.openxmlformats.org/officeDocument/2006/relationships/tags" Target="../tags/tag1090.xml"/><Relationship Id="rId16" Type="http://schemas.openxmlformats.org/officeDocument/2006/relationships/tags" Target="../tags/tag1104.xml"/><Relationship Id="rId20" Type="http://schemas.openxmlformats.org/officeDocument/2006/relationships/tags" Target="../tags/tag1108.xml"/><Relationship Id="rId1" Type="http://schemas.openxmlformats.org/officeDocument/2006/relationships/tags" Target="../tags/tag1089.xml"/><Relationship Id="rId6" Type="http://schemas.openxmlformats.org/officeDocument/2006/relationships/tags" Target="../tags/tag1094.xml"/><Relationship Id="rId11" Type="http://schemas.openxmlformats.org/officeDocument/2006/relationships/tags" Target="../tags/tag1099.xml"/><Relationship Id="rId24" Type="http://schemas.openxmlformats.org/officeDocument/2006/relationships/oleObject" Target="../embeddings/oleObject45.bin"/><Relationship Id="rId5" Type="http://schemas.openxmlformats.org/officeDocument/2006/relationships/tags" Target="../tags/tag1093.xml"/><Relationship Id="rId15" Type="http://schemas.openxmlformats.org/officeDocument/2006/relationships/tags" Target="../tags/tag1103.xml"/><Relationship Id="rId23" Type="http://schemas.openxmlformats.org/officeDocument/2006/relationships/slideLayout" Target="../slideLayouts/slideLayout2.xml"/><Relationship Id="rId10" Type="http://schemas.openxmlformats.org/officeDocument/2006/relationships/tags" Target="../tags/tag1098.xml"/><Relationship Id="rId19" Type="http://schemas.openxmlformats.org/officeDocument/2006/relationships/tags" Target="../tags/tag1107.xml"/><Relationship Id="rId4" Type="http://schemas.openxmlformats.org/officeDocument/2006/relationships/tags" Target="../tags/tag1092.xml"/><Relationship Id="rId9" Type="http://schemas.openxmlformats.org/officeDocument/2006/relationships/tags" Target="../tags/tag1097.xml"/><Relationship Id="rId14" Type="http://schemas.openxmlformats.org/officeDocument/2006/relationships/tags" Target="../tags/tag1102.xml"/><Relationship Id="rId22" Type="http://schemas.openxmlformats.org/officeDocument/2006/relationships/tags" Target="../tags/tag1110.xml"/><Relationship Id="rId27" Type="http://schemas.openxmlformats.org/officeDocument/2006/relationships/chart" Target="../charts/chart2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2.xml"/><Relationship Id="rId1" Type="http://schemas.openxmlformats.org/officeDocument/2006/relationships/tags" Target="../tags/tag1111.xml"/><Relationship Id="rId5" Type="http://schemas.openxmlformats.org/officeDocument/2006/relationships/image" Target="../media/image29.emf"/><Relationship Id="rId4" Type="http://schemas.openxmlformats.org/officeDocument/2006/relationships/oleObject" Target="../embeddings/oleObject46.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1113.xml"/><Relationship Id="rId4" Type="http://schemas.openxmlformats.org/officeDocument/2006/relationships/image" Target="../media/image29.emf"/></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5.xml"/><Relationship Id="rId1" Type="http://schemas.openxmlformats.org/officeDocument/2006/relationships/tags" Target="../tags/tag1114.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1116.xml"/><Relationship Id="rId4" Type="http://schemas.openxmlformats.org/officeDocument/2006/relationships/image" Target="../media/image27.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1117.xml"/><Relationship Id="rId4" Type="http://schemas.openxmlformats.org/officeDocument/2006/relationships/image" Target="../media/image27.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1118.xml"/><Relationship Id="rId5" Type="http://schemas.openxmlformats.org/officeDocument/2006/relationships/chart" Target="../charts/chart30.xml"/><Relationship Id="rId4" Type="http://schemas.openxmlformats.org/officeDocument/2006/relationships/image" Target="../media/image2.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1119.xml"/><Relationship Id="rId4" Type="http://schemas.openxmlformats.org/officeDocument/2006/relationships/image" Target="../media/image20.emf"/></Relationships>
</file>

<file path=ppt/slides/_rels/slide87.xml.rels><?xml version="1.0" encoding="UTF-8" standalone="yes"?>
<Relationships xmlns="http://schemas.openxmlformats.org/package/2006/relationships"><Relationship Id="rId8" Type="http://schemas.openxmlformats.org/officeDocument/2006/relationships/tags" Target="../tags/tag1127.xml"/><Relationship Id="rId13" Type="http://schemas.openxmlformats.org/officeDocument/2006/relationships/image" Target="../media/image32.png"/><Relationship Id="rId3" Type="http://schemas.openxmlformats.org/officeDocument/2006/relationships/tags" Target="../tags/tag1122.xml"/><Relationship Id="rId7" Type="http://schemas.openxmlformats.org/officeDocument/2006/relationships/tags" Target="../tags/tag1126.xml"/><Relationship Id="rId12" Type="http://schemas.openxmlformats.org/officeDocument/2006/relationships/image" Target="../media/image27.emf"/><Relationship Id="rId2" Type="http://schemas.openxmlformats.org/officeDocument/2006/relationships/tags" Target="../tags/tag1121.xml"/><Relationship Id="rId1" Type="http://schemas.openxmlformats.org/officeDocument/2006/relationships/tags" Target="../tags/tag1120.xml"/><Relationship Id="rId6" Type="http://schemas.openxmlformats.org/officeDocument/2006/relationships/tags" Target="../tags/tag1125.xml"/><Relationship Id="rId11" Type="http://schemas.openxmlformats.org/officeDocument/2006/relationships/oleObject" Target="../embeddings/oleObject53.bin"/><Relationship Id="rId5" Type="http://schemas.openxmlformats.org/officeDocument/2006/relationships/tags" Target="../tags/tag1124.xml"/><Relationship Id="rId10" Type="http://schemas.openxmlformats.org/officeDocument/2006/relationships/slideLayout" Target="../slideLayouts/slideLayout2.xml"/><Relationship Id="rId4" Type="http://schemas.openxmlformats.org/officeDocument/2006/relationships/tags" Target="../tags/tag1123.xml"/><Relationship Id="rId9" Type="http://schemas.openxmlformats.org/officeDocument/2006/relationships/tags" Target="../tags/tag1128.xml"/></Relationships>
</file>

<file path=ppt/slides/_rels/slide88.xml.rels><?xml version="1.0" encoding="UTF-8" standalone="yes"?>
<Relationships xmlns="http://schemas.openxmlformats.org/package/2006/relationships"><Relationship Id="rId13" Type="http://schemas.openxmlformats.org/officeDocument/2006/relationships/tags" Target="../tags/tag1141.xml"/><Relationship Id="rId18" Type="http://schemas.openxmlformats.org/officeDocument/2006/relationships/tags" Target="../tags/tag1146.xml"/><Relationship Id="rId26" Type="http://schemas.openxmlformats.org/officeDocument/2006/relationships/image" Target="../media/image27.emf"/><Relationship Id="rId39" Type="http://schemas.openxmlformats.org/officeDocument/2006/relationships/image" Target="../media/image45.png"/><Relationship Id="rId21" Type="http://schemas.openxmlformats.org/officeDocument/2006/relationships/tags" Target="../tags/tag1149.xml"/><Relationship Id="rId34" Type="http://schemas.openxmlformats.org/officeDocument/2006/relationships/image" Target="../media/image40.svg"/><Relationship Id="rId42" Type="http://schemas.openxmlformats.org/officeDocument/2006/relationships/image" Target="../media/image48.svg"/><Relationship Id="rId7" Type="http://schemas.openxmlformats.org/officeDocument/2006/relationships/tags" Target="../tags/tag1135.xml"/><Relationship Id="rId2" Type="http://schemas.openxmlformats.org/officeDocument/2006/relationships/tags" Target="../tags/tag1130.xml"/><Relationship Id="rId16" Type="http://schemas.openxmlformats.org/officeDocument/2006/relationships/tags" Target="../tags/tag1144.xml"/><Relationship Id="rId29" Type="http://schemas.openxmlformats.org/officeDocument/2006/relationships/image" Target="../media/image35.png"/><Relationship Id="rId1" Type="http://schemas.openxmlformats.org/officeDocument/2006/relationships/tags" Target="../tags/tag1129.xml"/><Relationship Id="rId6" Type="http://schemas.openxmlformats.org/officeDocument/2006/relationships/tags" Target="../tags/tag1134.xml"/><Relationship Id="rId11" Type="http://schemas.openxmlformats.org/officeDocument/2006/relationships/tags" Target="../tags/tag1139.xml"/><Relationship Id="rId24" Type="http://schemas.openxmlformats.org/officeDocument/2006/relationships/notesSlide" Target="../notesSlides/notesSlide19.xml"/><Relationship Id="rId32" Type="http://schemas.openxmlformats.org/officeDocument/2006/relationships/image" Target="../media/image38.svg"/><Relationship Id="rId37" Type="http://schemas.openxmlformats.org/officeDocument/2006/relationships/image" Target="../media/image43.png"/><Relationship Id="rId40" Type="http://schemas.openxmlformats.org/officeDocument/2006/relationships/image" Target="../media/image46.svg"/><Relationship Id="rId45" Type="http://schemas.openxmlformats.org/officeDocument/2006/relationships/image" Target="../media/image51.png"/><Relationship Id="rId5" Type="http://schemas.openxmlformats.org/officeDocument/2006/relationships/tags" Target="../tags/tag1133.xml"/><Relationship Id="rId15" Type="http://schemas.openxmlformats.org/officeDocument/2006/relationships/tags" Target="../tags/tag1143.xml"/><Relationship Id="rId23" Type="http://schemas.openxmlformats.org/officeDocument/2006/relationships/slideLayout" Target="../slideLayouts/slideLayout2.xml"/><Relationship Id="rId28" Type="http://schemas.openxmlformats.org/officeDocument/2006/relationships/image" Target="../media/image34.svg"/><Relationship Id="rId36" Type="http://schemas.openxmlformats.org/officeDocument/2006/relationships/image" Target="../media/image42.svg"/><Relationship Id="rId10" Type="http://schemas.openxmlformats.org/officeDocument/2006/relationships/tags" Target="../tags/tag1138.xml"/><Relationship Id="rId19" Type="http://schemas.openxmlformats.org/officeDocument/2006/relationships/tags" Target="../tags/tag1147.xml"/><Relationship Id="rId31" Type="http://schemas.openxmlformats.org/officeDocument/2006/relationships/image" Target="../media/image37.png"/><Relationship Id="rId44" Type="http://schemas.openxmlformats.org/officeDocument/2006/relationships/image" Target="../media/image50.svg"/><Relationship Id="rId4" Type="http://schemas.openxmlformats.org/officeDocument/2006/relationships/tags" Target="../tags/tag1132.xml"/><Relationship Id="rId9" Type="http://schemas.openxmlformats.org/officeDocument/2006/relationships/tags" Target="../tags/tag1137.xml"/><Relationship Id="rId14" Type="http://schemas.openxmlformats.org/officeDocument/2006/relationships/tags" Target="../tags/tag1142.xml"/><Relationship Id="rId22" Type="http://schemas.openxmlformats.org/officeDocument/2006/relationships/tags" Target="../tags/tag1150.xml"/><Relationship Id="rId27" Type="http://schemas.openxmlformats.org/officeDocument/2006/relationships/image" Target="../media/image33.png"/><Relationship Id="rId30" Type="http://schemas.openxmlformats.org/officeDocument/2006/relationships/image" Target="../media/image36.svg"/><Relationship Id="rId35" Type="http://schemas.openxmlformats.org/officeDocument/2006/relationships/image" Target="../media/image41.png"/><Relationship Id="rId43" Type="http://schemas.openxmlformats.org/officeDocument/2006/relationships/image" Target="../media/image49.png"/><Relationship Id="rId8" Type="http://schemas.openxmlformats.org/officeDocument/2006/relationships/tags" Target="../tags/tag1136.xml"/><Relationship Id="rId3" Type="http://schemas.openxmlformats.org/officeDocument/2006/relationships/tags" Target="../tags/tag1131.xml"/><Relationship Id="rId12" Type="http://schemas.openxmlformats.org/officeDocument/2006/relationships/tags" Target="../tags/tag1140.xml"/><Relationship Id="rId17" Type="http://schemas.openxmlformats.org/officeDocument/2006/relationships/tags" Target="../tags/tag1145.xml"/><Relationship Id="rId25" Type="http://schemas.openxmlformats.org/officeDocument/2006/relationships/oleObject" Target="../embeddings/oleObject54.bin"/><Relationship Id="rId33" Type="http://schemas.openxmlformats.org/officeDocument/2006/relationships/image" Target="../media/image39.png"/><Relationship Id="rId38" Type="http://schemas.openxmlformats.org/officeDocument/2006/relationships/image" Target="../media/image44.svg"/><Relationship Id="rId46" Type="http://schemas.openxmlformats.org/officeDocument/2006/relationships/image" Target="../media/image52.svg"/><Relationship Id="rId20" Type="http://schemas.openxmlformats.org/officeDocument/2006/relationships/tags" Target="../tags/tag1148.xml"/><Relationship Id="rId41" Type="http://schemas.openxmlformats.org/officeDocument/2006/relationships/image" Target="../media/image47.png"/></Relationships>
</file>

<file path=ppt/slides/_rels/slide89.xml.rels><?xml version="1.0" encoding="UTF-8" standalone="yes"?>
<Relationships xmlns="http://schemas.openxmlformats.org/package/2006/relationships"><Relationship Id="rId26" Type="http://schemas.openxmlformats.org/officeDocument/2006/relationships/tags" Target="../tags/tag1176.xml"/><Relationship Id="rId21" Type="http://schemas.openxmlformats.org/officeDocument/2006/relationships/tags" Target="../tags/tag1171.xml"/><Relationship Id="rId42" Type="http://schemas.openxmlformats.org/officeDocument/2006/relationships/tags" Target="../tags/tag1192.xml"/><Relationship Id="rId47" Type="http://schemas.openxmlformats.org/officeDocument/2006/relationships/tags" Target="../tags/tag1197.xml"/><Relationship Id="rId63" Type="http://schemas.openxmlformats.org/officeDocument/2006/relationships/image" Target="../media/image60.svg"/><Relationship Id="rId68" Type="http://schemas.openxmlformats.org/officeDocument/2006/relationships/image" Target="../media/image65.png"/><Relationship Id="rId84" Type="http://schemas.openxmlformats.org/officeDocument/2006/relationships/image" Target="../media/image81.png"/><Relationship Id="rId89" Type="http://schemas.openxmlformats.org/officeDocument/2006/relationships/image" Target="../media/image86.svg"/><Relationship Id="rId16" Type="http://schemas.openxmlformats.org/officeDocument/2006/relationships/tags" Target="../tags/tag1166.xml"/><Relationship Id="rId11" Type="http://schemas.openxmlformats.org/officeDocument/2006/relationships/tags" Target="../tags/tag1161.xml"/><Relationship Id="rId32" Type="http://schemas.openxmlformats.org/officeDocument/2006/relationships/tags" Target="../tags/tag1182.xml"/><Relationship Id="rId37" Type="http://schemas.openxmlformats.org/officeDocument/2006/relationships/tags" Target="../tags/tag1187.xml"/><Relationship Id="rId53" Type="http://schemas.openxmlformats.org/officeDocument/2006/relationships/notesSlide" Target="../notesSlides/notesSlide20.xml"/><Relationship Id="rId58" Type="http://schemas.openxmlformats.org/officeDocument/2006/relationships/image" Target="../media/image55.png"/><Relationship Id="rId74" Type="http://schemas.openxmlformats.org/officeDocument/2006/relationships/image" Target="../media/image71.png"/><Relationship Id="rId79" Type="http://schemas.openxmlformats.org/officeDocument/2006/relationships/image" Target="../media/image76.svg"/><Relationship Id="rId5" Type="http://schemas.openxmlformats.org/officeDocument/2006/relationships/tags" Target="../tags/tag1155.xml"/><Relationship Id="rId90" Type="http://schemas.openxmlformats.org/officeDocument/2006/relationships/image" Target="../media/image87.png"/><Relationship Id="rId95" Type="http://schemas.openxmlformats.org/officeDocument/2006/relationships/image" Target="../media/image92.png"/><Relationship Id="rId22" Type="http://schemas.openxmlformats.org/officeDocument/2006/relationships/tags" Target="../tags/tag1172.xml"/><Relationship Id="rId27" Type="http://schemas.openxmlformats.org/officeDocument/2006/relationships/tags" Target="../tags/tag1177.xml"/><Relationship Id="rId43" Type="http://schemas.openxmlformats.org/officeDocument/2006/relationships/tags" Target="../tags/tag1193.xml"/><Relationship Id="rId48" Type="http://schemas.openxmlformats.org/officeDocument/2006/relationships/tags" Target="../tags/tag1198.xml"/><Relationship Id="rId64" Type="http://schemas.openxmlformats.org/officeDocument/2006/relationships/image" Target="../media/image61.png"/><Relationship Id="rId69" Type="http://schemas.openxmlformats.org/officeDocument/2006/relationships/image" Target="../media/image66.svg"/><Relationship Id="rId80" Type="http://schemas.openxmlformats.org/officeDocument/2006/relationships/image" Target="../media/image77.png"/><Relationship Id="rId85" Type="http://schemas.openxmlformats.org/officeDocument/2006/relationships/image" Target="../media/image82.svg"/><Relationship Id="rId3" Type="http://schemas.openxmlformats.org/officeDocument/2006/relationships/tags" Target="../tags/tag1153.xml"/><Relationship Id="rId12" Type="http://schemas.openxmlformats.org/officeDocument/2006/relationships/tags" Target="../tags/tag1162.xml"/><Relationship Id="rId17" Type="http://schemas.openxmlformats.org/officeDocument/2006/relationships/tags" Target="../tags/tag1167.xml"/><Relationship Id="rId25" Type="http://schemas.openxmlformats.org/officeDocument/2006/relationships/tags" Target="../tags/tag1175.xml"/><Relationship Id="rId33" Type="http://schemas.openxmlformats.org/officeDocument/2006/relationships/tags" Target="../tags/tag1183.xml"/><Relationship Id="rId38" Type="http://schemas.openxmlformats.org/officeDocument/2006/relationships/tags" Target="../tags/tag1188.xml"/><Relationship Id="rId46" Type="http://schemas.openxmlformats.org/officeDocument/2006/relationships/tags" Target="../tags/tag1196.xml"/><Relationship Id="rId59" Type="http://schemas.openxmlformats.org/officeDocument/2006/relationships/image" Target="../media/image56.svg"/><Relationship Id="rId67" Type="http://schemas.openxmlformats.org/officeDocument/2006/relationships/image" Target="../media/image64.svg"/><Relationship Id="rId20" Type="http://schemas.openxmlformats.org/officeDocument/2006/relationships/tags" Target="../tags/tag1170.xml"/><Relationship Id="rId41" Type="http://schemas.openxmlformats.org/officeDocument/2006/relationships/tags" Target="../tags/tag1191.xml"/><Relationship Id="rId54" Type="http://schemas.openxmlformats.org/officeDocument/2006/relationships/oleObject" Target="../embeddings/oleObject55.bin"/><Relationship Id="rId62" Type="http://schemas.openxmlformats.org/officeDocument/2006/relationships/image" Target="../media/image59.png"/><Relationship Id="rId70" Type="http://schemas.openxmlformats.org/officeDocument/2006/relationships/image" Target="../media/image67.png"/><Relationship Id="rId75" Type="http://schemas.openxmlformats.org/officeDocument/2006/relationships/image" Target="../media/image72.svg"/><Relationship Id="rId83" Type="http://schemas.openxmlformats.org/officeDocument/2006/relationships/image" Target="../media/image80.svg"/><Relationship Id="rId88" Type="http://schemas.openxmlformats.org/officeDocument/2006/relationships/image" Target="../media/image85.png"/><Relationship Id="rId91" Type="http://schemas.openxmlformats.org/officeDocument/2006/relationships/image" Target="../media/image88.svg"/><Relationship Id="rId96" Type="http://schemas.openxmlformats.org/officeDocument/2006/relationships/image" Target="../media/image93.png"/><Relationship Id="rId1" Type="http://schemas.openxmlformats.org/officeDocument/2006/relationships/tags" Target="../tags/tag1151.xml"/><Relationship Id="rId6" Type="http://schemas.openxmlformats.org/officeDocument/2006/relationships/tags" Target="../tags/tag1156.xml"/><Relationship Id="rId15" Type="http://schemas.openxmlformats.org/officeDocument/2006/relationships/tags" Target="../tags/tag1165.xml"/><Relationship Id="rId23" Type="http://schemas.openxmlformats.org/officeDocument/2006/relationships/tags" Target="../tags/tag1173.xml"/><Relationship Id="rId28" Type="http://schemas.openxmlformats.org/officeDocument/2006/relationships/tags" Target="../tags/tag1178.xml"/><Relationship Id="rId36" Type="http://schemas.openxmlformats.org/officeDocument/2006/relationships/tags" Target="../tags/tag1186.xml"/><Relationship Id="rId49" Type="http://schemas.openxmlformats.org/officeDocument/2006/relationships/tags" Target="../tags/tag1199.xml"/><Relationship Id="rId57" Type="http://schemas.openxmlformats.org/officeDocument/2006/relationships/image" Target="../media/image54.svg"/><Relationship Id="rId10" Type="http://schemas.openxmlformats.org/officeDocument/2006/relationships/tags" Target="../tags/tag1160.xml"/><Relationship Id="rId31" Type="http://schemas.openxmlformats.org/officeDocument/2006/relationships/tags" Target="../tags/tag1181.xml"/><Relationship Id="rId44" Type="http://schemas.openxmlformats.org/officeDocument/2006/relationships/tags" Target="../tags/tag1194.xml"/><Relationship Id="rId52" Type="http://schemas.openxmlformats.org/officeDocument/2006/relationships/slideLayout" Target="../slideLayouts/slideLayout2.xml"/><Relationship Id="rId60" Type="http://schemas.openxmlformats.org/officeDocument/2006/relationships/image" Target="../media/image57.png"/><Relationship Id="rId65" Type="http://schemas.openxmlformats.org/officeDocument/2006/relationships/image" Target="../media/image62.svg"/><Relationship Id="rId73" Type="http://schemas.openxmlformats.org/officeDocument/2006/relationships/image" Target="../media/image70.svg"/><Relationship Id="rId78" Type="http://schemas.openxmlformats.org/officeDocument/2006/relationships/image" Target="../media/image75.png"/><Relationship Id="rId81" Type="http://schemas.openxmlformats.org/officeDocument/2006/relationships/image" Target="../media/image78.svg"/><Relationship Id="rId86" Type="http://schemas.openxmlformats.org/officeDocument/2006/relationships/image" Target="../media/image83.png"/><Relationship Id="rId94" Type="http://schemas.openxmlformats.org/officeDocument/2006/relationships/image" Target="../media/image91.png"/><Relationship Id="rId4" Type="http://schemas.openxmlformats.org/officeDocument/2006/relationships/tags" Target="../tags/tag1154.xml"/><Relationship Id="rId9" Type="http://schemas.openxmlformats.org/officeDocument/2006/relationships/tags" Target="../tags/tag1159.xml"/><Relationship Id="rId13" Type="http://schemas.openxmlformats.org/officeDocument/2006/relationships/tags" Target="../tags/tag1163.xml"/><Relationship Id="rId18" Type="http://schemas.openxmlformats.org/officeDocument/2006/relationships/tags" Target="../tags/tag1168.xml"/><Relationship Id="rId39" Type="http://schemas.openxmlformats.org/officeDocument/2006/relationships/tags" Target="../tags/tag1189.xml"/><Relationship Id="rId34" Type="http://schemas.openxmlformats.org/officeDocument/2006/relationships/tags" Target="../tags/tag1184.xml"/><Relationship Id="rId50" Type="http://schemas.openxmlformats.org/officeDocument/2006/relationships/tags" Target="../tags/tag1200.xml"/><Relationship Id="rId55" Type="http://schemas.openxmlformats.org/officeDocument/2006/relationships/image" Target="../media/image20.emf"/><Relationship Id="rId76" Type="http://schemas.openxmlformats.org/officeDocument/2006/relationships/image" Target="../media/image73.png"/><Relationship Id="rId97" Type="http://schemas.openxmlformats.org/officeDocument/2006/relationships/image" Target="../media/image94.png"/><Relationship Id="rId7" Type="http://schemas.openxmlformats.org/officeDocument/2006/relationships/tags" Target="../tags/tag1157.xml"/><Relationship Id="rId71" Type="http://schemas.openxmlformats.org/officeDocument/2006/relationships/image" Target="../media/image68.svg"/><Relationship Id="rId92" Type="http://schemas.openxmlformats.org/officeDocument/2006/relationships/image" Target="../media/image89.png"/><Relationship Id="rId2" Type="http://schemas.openxmlformats.org/officeDocument/2006/relationships/tags" Target="../tags/tag1152.xml"/><Relationship Id="rId29" Type="http://schemas.openxmlformats.org/officeDocument/2006/relationships/tags" Target="../tags/tag1179.xml"/><Relationship Id="rId24" Type="http://schemas.openxmlformats.org/officeDocument/2006/relationships/tags" Target="../tags/tag1174.xml"/><Relationship Id="rId40" Type="http://schemas.openxmlformats.org/officeDocument/2006/relationships/tags" Target="../tags/tag1190.xml"/><Relationship Id="rId45" Type="http://schemas.openxmlformats.org/officeDocument/2006/relationships/tags" Target="../tags/tag1195.xml"/><Relationship Id="rId66" Type="http://schemas.openxmlformats.org/officeDocument/2006/relationships/image" Target="../media/image63.png"/><Relationship Id="rId87" Type="http://schemas.openxmlformats.org/officeDocument/2006/relationships/image" Target="../media/image84.svg"/><Relationship Id="rId61" Type="http://schemas.openxmlformats.org/officeDocument/2006/relationships/image" Target="../media/image58.svg"/><Relationship Id="rId82" Type="http://schemas.openxmlformats.org/officeDocument/2006/relationships/image" Target="../media/image79.png"/><Relationship Id="rId19" Type="http://schemas.openxmlformats.org/officeDocument/2006/relationships/tags" Target="../tags/tag1169.xml"/><Relationship Id="rId14" Type="http://schemas.openxmlformats.org/officeDocument/2006/relationships/tags" Target="../tags/tag1164.xml"/><Relationship Id="rId30" Type="http://schemas.openxmlformats.org/officeDocument/2006/relationships/tags" Target="../tags/tag1180.xml"/><Relationship Id="rId35" Type="http://schemas.openxmlformats.org/officeDocument/2006/relationships/tags" Target="../tags/tag1185.xml"/><Relationship Id="rId56" Type="http://schemas.openxmlformats.org/officeDocument/2006/relationships/image" Target="../media/image53.png"/><Relationship Id="rId77" Type="http://schemas.openxmlformats.org/officeDocument/2006/relationships/image" Target="../media/image74.svg"/><Relationship Id="rId8" Type="http://schemas.openxmlformats.org/officeDocument/2006/relationships/tags" Target="../tags/tag1158.xml"/><Relationship Id="rId51" Type="http://schemas.openxmlformats.org/officeDocument/2006/relationships/tags" Target="../tags/tag1201.xml"/><Relationship Id="rId72" Type="http://schemas.openxmlformats.org/officeDocument/2006/relationships/image" Target="../media/image69.png"/><Relationship Id="rId93" Type="http://schemas.openxmlformats.org/officeDocument/2006/relationships/image" Target="../media/image90.svg"/><Relationship Id="rId98" Type="http://schemas.openxmlformats.org/officeDocument/2006/relationships/image" Target="../media/image9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3" Type="http://schemas.openxmlformats.org/officeDocument/2006/relationships/oleObject" Target="../embeddings/oleObject56.bin"/><Relationship Id="rId18" Type="http://schemas.openxmlformats.org/officeDocument/2006/relationships/image" Target="../media/image99.png"/><Relationship Id="rId26" Type="http://schemas.openxmlformats.org/officeDocument/2006/relationships/image" Target="../media/image107.png"/><Relationship Id="rId39" Type="http://schemas.openxmlformats.org/officeDocument/2006/relationships/image" Target="../media/image120.png"/><Relationship Id="rId21" Type="http://schemas.openxmlformats.org/officeDocument/2006/relationships/image" Target="../media/image102.png"/><Relationship Id="rId34" Type="http://schemas.openxmlformats.org/officeDocument/2006/relationships/image" Target="../media/image115.png"/><Relationship Id="rId42" Type="http://schemas.openxmlformats.org/officeDocument/2006/relationships/image" Target="../media/image123.svg"/><Relationship Id="rId7" Type="http://schemas.openxmlformats.org/officeDocument/2006/relationships/tags" Target="../tags/tag1208.xml"/><Relationship Id="rId2" Type="http://schemas.openxmlformats.org/officeDocument/2006/relationships/tags" Target="../tags/tag1203.xml"/><Relationship Id="rId16" Type="http://schemas.openxmlformats.org/officeDocument/2006/relationships/image" Target="../media/image97.png"/><Relationship Id="rId20" Type="http://schemas.openxmlformats.org/officeDocument/2006/relationships/image" Target="../media/image101.png"/><Relationship Id="rId29" Type="http://schemas.openxmlformats.org/officeDocument/2006/relationships/image" Target="../media/image110.png"/><Relationship Id="rId41" Type="http://schemas.openxmlformats.org/officeDocument/2006/relationships/image" Target="../media/image122.png"/><Relationship Id="rId1" Type="http://schemas.openxmlformats.org/officeDocument/2006/relationships/tags" Target="../tags/tag1202.xml"/><Relationship Id="rId6" Type="http://schemas.openxmlformats.org/officeDocument/2006/relationships/tags" Target="../tags/tag1207.xml"/><Relationship Id="rId11" Type="http://schemas.openxmlformats.org/officeDocument/2006/relationships/tags" Target="../tags/tag1212.xml"/><Relationship Id="rId24" Type="http://schemas.openxmlformats.org/officeDocument/2006/relationships/image" Target="../media/image105.png"/><Relationship Id="rId32" Type="http://schemas.openxmlformats.org/officeDocument/2006/relationships/image" Target="../media/image113.png"/><Relationship Id="rId37" Type="http://schemas.openxmlformats.org/officeDocument/2006/relationships/image" Target="../media/image118.png"/><Relationship Id="rId40" Type="http://schemas.openxmlformats.org/officeDocument/2006/relationships/image" Target="../media/image121.svg"/><Relationship Id="rId5" Type="http://schemas.openxmlformats.org/officeDocument/2006/relationships/tags" Target="../tags/tag1206.xml"/><Relationship Id="rId15" Type="http://schemas.openxmlformats.org/officeDocument/2006/relationships/image" Target="../media/image96.png"/><Relationship Id="rId23" Type="http://schemas.openxmlformats.org/officeDocument/2006/relationships/image" Target="../media/image104.png"/><Relationship Id="rId28" Type="http://schemas.openxmlformats.org/officeDocument/2006/relationships/image" Target="../media/image109.png"/><Relationship Id="rId36" Type="http://schemas.openxmlformats.org/officeDocument/2006/relationships/image" Target="../media/image117.svg"/><Relationship Id="rId10" Type="http://schemas.openxmlformats.org/officeDocument/2006/relationships/tags" Target="../tags/tag1211.xml"/><Relationship Id="rId19" Type="http://schemas.openxmlformats.org/officeDocument/2006/relationships/image" Target="../media/image100.png"/><Relationship Id="rId31" Type="http://schemas.openxmlformats.org/officeDocument/2006/relationships/image" Target="../media/image112.png"/><Relationship Id="rId4" Type="http://schemas.openxmlformats.org/officeDocument/2006/relationships/tags" Target="../tags/tag1205.xml"/><Relationship Id="rId9" Type="http://schemas.openxmlformats.org/officeDocument/2006/relationships/tags" Target="../tags/tag1210.xml"/><Relationship Id="rId14" Type="http://schemas.openxmlformats.org/officeDocument/2006/relationships/image" Target="../media/image20.emf"/><Relationship Id="rId22" Type="http://schemas.openxmlformats.org/officeDocument/2006/relationships/image" Target="../media/image103.png"/><Relationship Id="rId27" Type="http://schemas.openxmlformats.org/officeDocument/2006/relationships/image" Target="../media/image108.png"/><Relationship Id="rId30" Type="http://schemas.openxmlformats.org/officeDocument/2006/relationships/image" Target="../media/image111.png"/><Relationship Id="rId35" Type="http://schemas.openxmlformats.org/officeDocument/2006/relationships/image" Target="../media/image116.png"/><Relationship Id="rId8" Type="http://schemas.openxmlformats.org/officeDocument/2006/relationships/tags" Target="../tags/tag1209.xml"/><Relationship Id="rId3" Type="http://schemas.openxmlformats.org/officeDocument/2006/relationships/tags" Target="../tags/tag1204.xml"/><Relationship Id="rId12" Type="http://schemas.openxmlformats.org/officeDocument/2006/relationships/slideLayout" Target="../slideLayouts/slideLayout2.xml"/><Relationship Id="rId17" Type="http://schemas.openxmlformats.org/officeDocument/2006/relationships/image" Target="../media/image98.png"/><Relationship Id="rId25" Type="http://schemas.openxmlformats.org/officeDocument/2006/relationships/image" Target="../media/image106.png"/><Relationship Id="rId33" Type="http://schemas.openxmlformats.org/officeDocument/2006/relationships/image" Target="../media/image114.png"/><Relationship Id="rId38" Type="http://schemas.openxmlformats.org/officeDocument/2006/relationships/image" Target="../media/image119.svg"/></Relationships>
</file>

<file path=ppt/slides/_rels/slide91.xml.rels><?xml version="1.0" encoding="UTF-8" standalone="yes"?>
<Relationships xmlns="http://schemas.openxmlformats.org/package/2006/relationships"><Relationship Id="rId8" Type="http://schemas.openxmlformats.org/officeDocument/2006/relationships/tags" Target="../tags/tag1220.xml"/><Relationship Id="rId13" Type="http://schemas.openxmlformats.org/officeDocument/2006/relationships/tags" Target="../tags/tag1225.xml"/><Relationship Id="rId18" Type="http://schemas.openxmlformats.org/officeDocument/2006/relationships/image" Target="../media/image25.emf"/><Relationship Id="rId3" Type="http://schemas.openxmlformats.org/officeDocument/2006/relationships/tags" Target="../tags/tag1215.xml"/><Relationship Id="rId7" Type="http://schemas.openxmlformats.org/officeDocument/2006/relationships/tags" Target="../tags/tag1219.xml"/><Relationship Id="rId12" Type="http://schemas.openxmlformats.org/officeDocument/2006/relationships/tags" Target="../tags/tag1224.xml"/><Relationship Id="rId17" Type="http://schemas.openxmlformats.org/officeDocument/2006/relationships/oleObject" Target="../embeddings/oleObject57.bin"/><Relationship Id="rId2" Type="http://schemas.openxmlformats.org/officeDocument/2006/relationships/tags" Target="../tags/tag1214.xml"/><Relationship Id="rId16" Type="http://schemas.openxmlformats.org/officeDocument/2006/relationships/slideLayout" Target="../slideLayouts/slideLayout2.xml"/><Relationship Id="rId20" Type="http://schemas.openxmlformats.org/officeDocument/2006/relationships/chart" Target="../charts/chart32.xml"/><Relationship Id="rId1" Type="http://schemas.openxmlformats.org/officeDocument/2006/relationships/tags" Target="../tags/tag1213.xml"/><Relationship Id="rId6" Type="http://schemas.openxmlformats.org/officeDocument/2006/relationships/tags" Target="../tags/tag1218.xml"/><Relationship Id="rId11" Type="http://schemas.openxmlformats.org/officeDocument/2006/relationships/tags" Target="../tags/tag1223.xml"/><Relationship Id="rId5" Type="http://schemas.openxmlformats.org/officeDocument/2006/relationships/tags" Target="../tags/tag1217.xml"/><Relationship Id="rId15" Type="http://schemas.openxmlformats.org/officeDocument/2006/relationships/tags" Target="../tags/tag1227.xml"/><Relationship Id="rId10" Type="http://schemas.openxmlformats.org/officeDocument/2006/relationships/tags" Target="../tags/tag1222.xml"/><Relationship Id="rId19" Type="http://schemas.openxmlformats.org/officeDocument/2006/relationships/chart" Target="../charts/chart31.xml"/><Relationship Id="rId4" Type="http://schemas.openxmlformats.org/officeDocument/2006/relationships/tags" Target="../tags/tag1216.xml"/><Relationship Id="rId9" Type="http://schemas.openxmlformats.org/officeDocument/2006/relationships/tags" Target="../tags/tag1221.xml"/><Relationship Id="rId14" Type="http://schemas.openxmlformats.org/officeDocument/2006/relationships/tags" Target="../tags/tag1226.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228.xml"/><Relationship Id="rId5" Type="http://schemas.openxmlformats.org/officeDocument/2006/relationships/image" Target="../media/image124.emf"/><Relationship Id="rId4" Type="http://schemas.openxmlformats.org/officeDocument/2006/relationships/oleObject" Target="../embeddings/oleObject58.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229.xml"/><Relationship Id="rId5" Type="http://schemas.openxmlformats.org/officeDocument/2006/relationships/image" Target="../media/image124.emf"/><Relationship Id="rId4" Type="http://schemas.openxmlformats.org/officeDocument/2006/relationships/oleObject" Target="../embeddings/oleObject59.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1230.xml"/><Relationship Id="rId4" Type="http://schemas.openxmlformats.org/officeDocument/2006/relationships/image" Target="../media/image20.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1231.xml"/><Relationship Id="rId4" Type="http://schemas.openxmlformats.org/officeDocument/2006/relationships/image" Target="../media/image20.emf"/></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サウジアラビア</a:t>
            </a:r>
            <a:r>
              <a:rPr lang="ja-JP" altLang="en-US" sz="3400" dirty="0">
                <a:solidFill>
                  <a:srgbClr val="FFFFFF"/>
                </a:solidFill>
              </a:rPr>
              <a:t>編</a:t>
            </a:r>
          </a:p>
        </p:txBody>
      </p:sp>
    </p:spTree>
    <p:extLst>
      <p:ext uri="{BB962C8B-B14F-4D97-AF65-F5344CB8AC3E}">
        <p14:creationId xmlns:p14="http://schemas.microsoft.com/office/powerpoint/2010/main" val="21270372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数、病床数</a:t>
            </a:r>
          </a:p>
        </p:txBody>
      </p:sp>
      <p:graphicFrame>
        <p:nvGraphicFramePr>
          <p:cNvPr id="5" name="表 4"/>
          <p:cNvGraphicFramePr>
            <a:graphicFrameLocks noGrp="1"/>
          </p:cNvGraphicFramePr>
          <p:nvPr>
            <p:extLst>
              <p:ext uri="{D42A27DB-BD31-4B8C-83A1-F6EECF244321}">
                <p14:modId xmlns:p14="http://schemas.microsoft.com/office/powerpoint/2010/main" val="4178687158"/>
              </p:ext>
            </p:extLst>
          </p:nvPr>
        </p:nvGraphicFramePr>
        <p:xfrm>
          <a:off x="491436" y="1306761"/>
          <a:ext cx="4173532" cy="477516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917020">
                  <a:extLst>
                    <a:ext uri="{9D8B030D-6E8A-4147-A177-3AD203B41FA5}">
                      <a16:colId xmlns:a16="http://schemas.microsoft.com/office/drawing/2014/main" val="20001"/>
                    </a:ext>
                  </a:extLst>
                </a:gridCol>
                <a:gridCol w="1016787">
                  <a:extLst>
                    <a:ext uri="{9D8B030D-6E8A-4147-A177-3AD203B41FA5}">
                      <a16:colId xmlns:a16="http://schemas.microsoft.com/office/drawing/2014/main" val="20002"/>
                    </a:ext>
                  </a:extLst>
                </a:gridCol>
                <a:gridCol w="1016787">
                  <a:extLst>
                    <a:ext uri="{9D8B030D-6E8A-4147-A177-3AD203B41FA5}">
                      <a16:colId xmlns:a16="http://schemas.microsoft.com/office/drawing/2014/main" val="20003"/>
                    </a:ext>
                  </a:extLst>
                </a:gridCol>
              </a:tblGrid>
              <a:tr h="22738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機関数</a:t>
                      </a:r>
                      <a:endParaRPr kumimoji="1" lang="ja-JP" altLang="en-US" sz="1200" b="0" kern="1200" baseline="300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27389">
                <a:tc vMerge="1">
                  <a:txBody>
                    <a:bodyPr/>
                    <a:lstStyle/>
                    <a:p>
                      <a:pPr algn="l" fontAlgn="ct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公的病院</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民間病院</a:t>
                      </a:r>
                    </a:p>
                  </a:txBody>
                  <a:tcPr marL="36000" marR="36000" marT="0" marB="0" anchor="ctr">
                    <a:solidFill>
                      <a:srgbClr val="3D6AA7"/>
                    </a:solidFill>
                  </a:tcPr>
                </a:tc>
                <a:extLst>
                  <a:ext uri="{0D108BD9-81ED-4DB2-BD59-A6C34878D82A}">
                    <a16:rowId xmlns:a16="http://schemas.microsoft.com/office/drawing/2014/main" val="10001"/>
                  </a:ext>
                </a:extLst>
              </a:tr>
              <a:tr h="227389">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6,26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4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2,78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7389">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0,94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5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42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7389">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44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3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7389">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8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3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738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7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7389">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4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14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738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4,75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4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738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53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7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7389">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35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9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738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59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7389">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21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5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7389">
                <a:tc>
                  <a:txBody>
                    <a:bodyPr/>
                    <a:lstStyle/>
                    <a:p>
                      <a:pPr algn="l" fontAlgn="ctr"/>
                      <a:r>
                        <a:rPr lang="ja-JP" altLang="en-US" sz="1200" u="none" strike="noStrike" dirty="0">
                          <a:effectLst/>
                        </a:rPr>
                        <a:t>ドイツ</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98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7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0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738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59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7389">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49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738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3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1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7389">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12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7389">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27389">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61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9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738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u="none" strike="noStrike" dirty="0">
                          <a:effectLst/>
                        </a:rPr>
                        <a:t>4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31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14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pic>
        <p:nvPicPr>
          <p:cNvPr id="44057"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6"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5"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4"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3"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59050" y="90328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4052"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1"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0"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9"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8"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7"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46"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59050" y="90328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表 5"/>
          <p:cNvGraphicFramePr>
            <a:graphicFrameLocks noGrp="1"/>
          </p:cNvGraphicFramePr>
          <p:nvPr>
            <p:extLst>
              <p:ext uri="{D42A27DB-BD31-4B8C-83A1-F6EECF244321}">
                <p14:modId xmlns:p14="http://schemas.microsoft.com/office/powerpoint/2010/main" val="4009009664"/>
              </p:ext>
            </p:extLst>
          </p:nvPr>
        </p:nvGraphicFramePr>
        <p:xfrm>
          <a:off x="5318239" y="1306761"/>
          <a:ext cx="3955241" cy="477516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1395975">
                  <a:extLst>
                    <a:ext uri="{9D8B030D-6E8A-4147-A177-3AD203B41FA5}">
                      <a16:colId xmlns:a16="http://schemas.microsoft.com/office/drawing/2014/main" val="20001"/>
                    </a:ext>
                  </a:extLst>
                </a:gridCol>
                <a:gridCol w="1336328">
                  <a:extLst>
                    <a:ext uri="{9D8B030D-6E8A-4147-A177-3AD203B41FA5}">
                      <a16:colId xmlns:a16="http://schemas.microsoft.com/office/drawing/2014/main" val="20002"/>
                    </a:ext>
                  </a:extLst>
                </a:gridCol>
              </a:tblGrid>
              <a:tr h="22738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病床数（床）</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extLst>
                  <a:ext uri="{0D108BD9-81ED-4DB2-BD59-A6C34878D82A}">
                    <a16:rowId xmlns:a16="http://schemas.microsoft.com/office/drawing/2014/main" val="10000"/>
                  </a:ext>
                </a:extLst>
              </a:tr>
              <a:tr h="227389">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7389">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2.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565,36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738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9.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5,2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7389">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70,0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738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07,5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7389">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00,5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7389">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8,1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738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9,1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7389">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4,0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7389">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06,42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738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3,71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7389">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886,59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738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13,4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7389">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09,0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7389">
                <a:tc>
                  <a:txBody>
                    <a:bodyPr/>
                    <a:lstStyle/>
                    <a:p>
                      <a:pPr algn="l" fontAlgn="ctr"/>
                      <a:r>
                        <a:rPr lang="ja-JP" altLang="en-US" sz="1200" u="none" strike="noStrike">
                          <a:effectLst/>
                        </a:rPr>
                        <a:t>ブラジル</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3,00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738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u="none" strike="noStrike" dirty="0">
                          <a:effectLst/>
                        </a:rPr>
                        <a:t>2.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4,3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7389">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11,8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738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2,7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27389">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0.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35,98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7389">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0.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948,17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31" name="テキスト ボックス 3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err="1">
                <a:solidFill>
                  <a:srgbClr val="000000"/>
                </a:solidFill>
                <a:cs typeface="Arial" panose="020B0604020202020204" pitchFamily="34" charset="0"/>
              </a:rPr>
              <a:t>Espicom</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Medical Markets Fact Book 2014</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
        <p:nvSpPr>
          <p:cNvPr id="32" name="テキスト ボックス 31"/>
          <p:cNvSpPr txBox="1"/>
          <p:nvPr/>
        </p:nvSpPr>
        <p:spPr>
          <a:xfrm>
            <a:off x="491436" y="6165304"/>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機関数」、「病床数」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Tree>
    <p:extLst>
      <p:ext uri="{BB962C8B-B14F-4D97-AF65-F5344CB8AC3E}">
        <p14:creationId xmlns:p14="http://schemas.microsoft.com/office/powerpoint/2010/main" val="376936923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1/3</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422401"/>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765184"/>
          <a:ext cx="9504000" cy="4760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24164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中東放射線医療センター構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三菱重工業</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ヒアリングを通じた事業環境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ネットワーク型放射線医療ソリューション」や日本の高度医療に関する現地セミナーの開催</a:t>
                      </a: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2012</a:t>
                      </a:r>
                      <a:r>
                        <a:rPr lang="ja-JP" altLang="en-US" sz="1000" dirty="0"/>
                        <a:t>年</a:t>
                      </a:r>
                      <a:r>
                        <a:rPr lang="en-US" altLang="ja-JP" sz="1000" dirty="0"/>
                        <a:t>12</a:t>
                      </a:r>
                      <a:r>
                        <a:rPr lang="ja-JP" altLang="en-US" sz="1000" dirty="0"/>
                        <a:t>月に京都大学平岡先生、公益財団法人医用原子力技術振興財団辻井理事とともに、</a:t>
                      </a:r>
                      <a:r>
                        <a:rPr lang="en-US" altLang="ja-JP" sz="1000" dirty="0"/>
                        <a:t>King </a:t>
                      </a:r>
                      <a:r>
                        <a:rPr lang="en-US" altLang="ja-JP" sz="1000" dirty="0" err="1"/>
                        <a:t>AbdulAziz</a:t>
                      </a:r>
                      <a:r>
                        <a:rPr lang="en-US" altLang="ja-JP" sz="1000" dirty="0"/>
                        <a:t> University Hospital </a:t>
                      </a:r>
                      <a:r>
                        <a:rPr lang="ja-JP" altLang="en-US" sz="1000" dirty="0"/>
                        <a:t>と</a:t>
                      </a:r>
                      <a:r>
                        <a:rPr lang="en-US" altLang="ja-JP" sz="1000" dirty="0"/>
                        <a:t>King Saud University King Khalid Hospital</a:t>
                      </a:r>
                      <a:r>
                        <a:rPr lang="ja-JP" altLang="en-US" sz="1000" dirty="0" err="1"/>
                        <a:t>にて</a:t>
                      </a:r>
                      <a:r>
                        <a:rPr lang="ja-JP" altLang="en-US" sz="1000" dirty="0"/>
                        <a:t>現地セミナーを開催し、合計で</a:t>
                      </a:r>
                      <a:r>
                        <a:rPr lang="en-US" altLang="ja-JP" sz="1000" dirty="0"/>
                        <a:t>30</a:t>
                      </a:r>
                      <a:r>
                        <a:rPr lang="ja-JP" altLang="en-US" sz="1000" dirty="0"/>
                        <a:t>名を集客。日本型最先端放射線医療システムに対する高いニーズ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ウジアラビアの医療事情を調査した結果、今後</a:t>
                      </a:r>
                      <a:r>
                        <a:rPr lang="en-US" altLang="ja-JP" sz="1000" dirty="0"/>
                        <a:t>10</a:t>
                      </a:r>
                      <a:r>
                        <a:rPr lang="ja-JP" altLang="en-US" sz="1000" dirty="0"/>
                        <a:t>～</a:t>
                      </a:r>
                      <a:r>
                        <a:rPr lang="en-US" altLang="ja-JP" sz="1000" dirty="0"/>
                        <a:t>20</a:t>
                      </a:r>
                      <a:r>
                        <a:rPr lang="ja-JP" altLang="en-US" sz="1000" dirty="0"/>
                        <a:t>年以内にがん患者の大幅な増加が予測されるため、ポテンシャルのあるマーケットであることが明らかとなっ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2</a:t>
                      </a: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王国における</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先進循環器医療製品の普及</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および</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医療教育提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プロジェクト</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大阪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王国におけるハイブリッドシステムに関するニーズの確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王国への訪問医療スタッフの受入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ハイブリッド</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R</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用の血管造影システムの貸</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後モニタリング技術の提供等に向けた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pecialized Medical Center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や販売代理店を訪問し、ハイブリッドシステムに関する一定の需要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コメディカルの受入れ準備を行い、来年度以降の受入体制が整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後モニタリング技術等、必要となる周辺システムの提供に向けた準備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2</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王国　リヤド市に</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おける救急医療</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実態調査</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アイテック</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の現地調査による、サウジアラビア王国およびリヤド市の医療政策動向、医療供給体制、医療需要状況の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移動無線関連の技術面での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市新救急医療体制の在り方の検証</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型救急病院建設のニーズを把握できたとともに、救急隊のシステム化や救急救命士の育成の必要性も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今後は、赤新月社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ational Guard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MATC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E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先行導入に向けて、継続的にアプローチす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また、赤新月社から打診のあった、日本における赤新月社の救急救命士の　研修事業に対応し、関係強化を図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6213551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2/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03656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396603"/>
          <a:ext cx="9504000" cy="4988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7295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74996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サウジアラビア</a:t>
                      </a:r>
                      <a:endParaRPr kumimoji="1" lang="en-US" altLang="ja-JP" sz="1000" kern="1200" dirty="0">
                        <a:solidFill>
                          <a:schemeClr val="dk1"/>
                        </a:solidFill>
                        <a:latin typeface="+mn-lt"/>
                        <a:ea typeface="+mn-ea"/>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透析センター</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設立プロジェクト</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松圓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での透析医療施設開設に向けた具体的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での日本型透析普及啓発活動</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でのサウジアラビア現地雇用看護師等の育成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東展開を想定した中東対応日本型透析アンテナショップ構想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要人（透析施設ガイドラインの監修責任者他）と当該事業パートナー候補を日本に招聘し、実際の日本型透析システムの視察および説明・ディスカッションを実施し、事業遂行に必要な交渉が進んだ</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のダンマンに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ほどの透析医療関係者に対して日本型透析セミナー（日本型透析概要・臨床工学技士の役割等）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ている現地教育施設と協働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MDN</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Method Dialysis Nursing</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レーニングマニュアルの第一版を完成させ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該教育施設の本プロジェクト担当者を日本に招聘し、実際の日本型透析システムを見せながら日本人看護師から研修を行った。またトレーニングプログラムの第三者認証の必要性について検討し、ビジネスモデルの具体化について現地パートナーと協議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626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中東地域日本式心臓カテーテル治療の</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海外展開事業化実証事業</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テルモ</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サウジアラビア、</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ウェー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プログラム化した現地研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ウェー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受入研修の基本プログラムの構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クウェートでの現地プログラム化した研修では、日本式医療の高い有効性が立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クウェートにて現地病院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たことにより、中東への日本式医療普及の足がかりとなる関係を築い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5899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7</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女性健康増進事業整備促進プロジェクト</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メディヴァ</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運営方法と医療機器を取り入れた女性向けの健診センターを設立し、運営を支援していくことを最終目的として、医療需給調査、規制・政治環境調査、競合調査、先行事例研究等を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対象人口は最も少ない試算（リヤド都市部限定、対象</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年間受診者数は、リヤード州全域の健診対象人口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程度</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の日サ・ビジネスフォーラムにおいて、サウジアラビアスポーツ庁、富士フイルム、メディヴァ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者間で女性の健康増進、疾患予防、健康教育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野で協力していくことの覚書に調印</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81292315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3/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r>
              <a:rPr lang="ja-JP" altLang="en-US" sz="800" dirty="0"/>
              <a:t>、</a:t>
            </a:r>
            <a:r>
              <a:rPr lang="en-US" altLang="ja-JP" sz="800" dirty="0"/>
              <a:t>MEJ</a:t>
            </a:r>
            <a:r>
              <a:rPr lang="ja-JP" altLang="en-US" sz="800" dirty="0"/>
              <a:t>ニュース：サウジアラビア官民ミッション </a:t>
            </a:r>
            <a:r>
              <a:rPr lang="en-US" altLang="ja-JP" sz="800" dirty="0"/>
              <a:t>no. 2017 – 002</a:t>
            </a:r>
            <a:endParaRPr lang="ja-JP" altLang="en-US" sz="800" dirty="0"/>
          </a:p>
        </p:txBody>
      </p:sp>
      <p:sp>
        <p:nvSpPr>
          <p:cNvPr id="12" name="Rectangle 6"/>
          <p:cNvSpPr>
            <a:spLocks noChangeArrowheads="1"/>
          </p:cNvSpPr>
          <p:nvPr/>
        </p:nvSpPr>
        <p:spPr bwMode="auto">
          <a:xfrm>
            <a:off x="200472" y="103656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025" y="1429976"/>
          <a:ext cx="9505056" cy="16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技術・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内視鏡、②循環器、③糖尿病、④救急・災害の４分野に分かれ、日本人医師とサウジアラビアの医師によるプレゼンテーションおよび会場全体で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Q&amp;A</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ッションを実施</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ウジアラビアの</a:t>
                      </a:r>
                      <a:r>
                        <a:rPr kumimoji="1" lang="en-GB"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H</a:t>
                      </a:r>
                      <a:r>
                        <a:rPr kumimoji="1" lang="ja-JP" altLang="en-GB"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GB"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laib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次官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3587711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a:t>
            </a:r>
            <a:r>
              <a:rPr lang="zh-TW" altLang="en-US" dirty="0"/>
              <a:t>医療国際化関連事業</a:t>
            </a:r>
            <a:endParaRPr lang="ja-JP" altLang="en-US" dirty="0"/>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en-US" altLang="zh-TW" sz="800" dirty="0"/>
              <a:t>HP</a:t>
            </a:r>
          </a:p>
        </p:txBody>
      </p:sp>
    </p:spTree>
    <p:extLst>
      <p:ext uri="{BB962C8B-B14F-4D97-AF65-F5344CB8AC3E}">
        <p14:creationId xmlns:p14="http://schemas.microsoft.com/office/powerpoint/2010/main" val="12936483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サウジアラビ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サウジアラビア保健省及び労働・社会発展省との協力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7" name="フリーフォーム 6"/>
          <p:cNvSpPr/>
          <p:nvPr/>
        </p:nvSpPr>
        <p:spPr>
          <a:xfrm>
            <a:off x="4179241" y="2719188"/>
            <a:ext cx="735371" cy="17018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8" name="片側の 2 つの角を丸めた四角形 7"/>
          <p:cNvSpPr/>
          <p:nvPr/>
        </p:nvSpPr>
        <p:spPr>
          <a:xfrm>
            <a:off x="4880992" y="3212976"/>
            <a:ext cx="4608512" cy="122413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研修及び研究の分野の協力</a:t>
            </a: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専門家の交流を通じた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験の交換を通じた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円/楕円 8"/>
          <p:cNvSpPr/>
          <p:nvPr/>
        </p:nvSpPr>
        <p:spPr>
          <a:xfrm>
            <a:off x="5043489" y="33754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円/楕円 9"/>
          <p:cNvSpPr/>
          <p:nvPr/>
        </p:nvSpPr>
        <p:spPr>
          <a:xfrm>
            <a:off x="5043489" y="363674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円/楕円 10"/>
          <p:cNvSpPr/>
          <p:nvPr/>
        </p:nvSpPr>
        <p:spPr>
          <a:xfrm>
            <a:off x="5043489" y="38980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p:cNvGrpSpPr/>
          <p:nvPr/>
        </p:nvGrpSpPr>
        <p:grpSpPr>
          <a:xfrm>
            <a:off x="344488" y="1700808"/>
            <a:ext cx="9217024"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9" name="片側の 2 つの角を丸めた四角形 18"/>
          <p:cNvSpPr/>
          <p:nvPr/>
        </p:nvSpPr>
        <p:spPr>
          <a:xfrm>
            <a:off x="4880992" y="2708920"/>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サウジアラビア王国保健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0" name="正方形/長方形 19"/>
          <p:cNvSpPr/>
          <p:nvPr/>
        </p:nvSpPr>
        <p:spPr>
          <a:xfrm>
            <a:off x="272479" y="2098948"/>
            <a:ext cx="9289030"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7</a:t>
            </a:r>
            <a:r>
              <a:rPr lang="ja-JP" altLang="en-US" sz="1200" dirty="0"/>
              <a:t>年</a:t>
            </a:r>
            <a:r>
              <a:rPr lang="en-US" altLang="ja-JP" sz="1200" dirty="0"/>
              <a:t>3</a:t>
            </a:r>
            <a:r>
              <a:rPr lang="ja-JP" altLang="en-US" sz="1200" dirty="0"/>
              <a:t>月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サルマン国王の来日の際に、「日・サウジ・ビジョン</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公表され、その中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件の先行プロジェクト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と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厚生労働省とサウジアラビア保健省及び労働・社会発展省との協力に関する覚書が締結された</a:t>
            </a:r>
          </a:p>
        </p:txBody>
      </p:sp>
      <p:sp>
        <p:nvSpPr>
          <p:cNvPr id="21" name="円/楕円 20"/>
          <p:cNvSpPr/>
          <p:nvPr/>
        </p:nvSpPr>
        <p:spPr>
          <a:xfrm>
            <a:off x="488504" y="37636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a:off x="1692029" y="4029196"/>
            <a:ext cx="1516104" cy="1201785"/>
            <a:chOff x="1692029" y="3406524"/>
            <a:chExt cx="1516104" cy="1201785"/>
          </a:xfrm>
        </p:grpSpPr>
        <p:grpSp>
          <p:nvGrpSpPr>
            <p:cNvPr id="23" name="Group 339"/>
            <p:cNvGrpSpPr>
              <a:grpSpLocks noChangeAspect="1"/>
            </p:cNvGrpSpPr>
            <p:nvPr/>
          </p:nvGrpSpPr>
          <p:grpSpPr bwMode="auto">
            <a:xfrm>
              <a:off x="1729320" y="3440013"/>
              <a:ext cx="1478813" cy="1168296"/>
              <a:chOff x="1968" y="2736"/>
              <a:chExt cx="864" cy="672"/>
            </a:xfrm>
          </p:grpSpPr>
          <p:sp>
            <p:nvSpPr>
              <p:cNvPr id="27"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9"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0"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1"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24" name="グループ化 23"/>
            <p:cNvGrpSpPr/>
            <p:nvPr/>
          </p:nvGrpSpPr>
          <p:grpSpPr>
            <a:xfrm>
              <a:off x="1692029" y="3406524"/>
              <a:ext cx="1392861" cy="382825"/>
              <a:chOff x="1692029" y="3406524"/>
              <a:chExt cx="1392861" cy="382825"/>
            </a:xfrm>
          </p:grpSpPr>
          <p:sp>
            <p:nvSpPr>
              <p:cNvPr id="25" name="正方形/長方形 24"/>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3" name="グループ化 32"/>
          <p:cNvGrpSpPr/>
          <p:nvPr/>
        </p:nvGrpSpPr>
        <p:grpSpPr>
          <a:xfrm>
            <a:off x="3270565" y="4183058"/>
            <a:ext cx="1034363" cy="992911"/>
            <a:chOff x="3224808" y="3622125"/>
            <a:chExt cx="1034363" cy="992911"/>
          </a:xfrm>
        </p:grpSpPr>
        <p:sp>
          <p:nvSpPr>
            <p:cNvPr id="34" name="円/楕円 33"/>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円/楕円 34"/>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36" name="グループ化 35"/>
          <p:cNvGrpSpPr/>
          <p:nvPr/>
        </p:nvGrpSpPr>
        <p:grpSpPr>
          <a:xfrm>
            <a:off x="632520" y="4183058"/>
            <a:ext cx="1033987" cy="992911"/>
            <a:chOff x="704528" y="3622125"/>
            <a:chExt cx="1033987" cy="992911"/>
          </a:xfrm>
        </p:grpSpPr>
        <p:sp>
          <p:nvSpPr>
            <p:cNvPr id="37" name="円/楕円 36"/>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9" name="グループ化 38"/>
          <p:cNvGrpSpPr/>
          <p:nvPr/>
        </p:nvGrpSpPr>
        <p:grpSpPr>
          <a:xfrm>
            <a:off x="3728864" y="2996952"/>
            <a:ext cx="918852" cy="792088"/>
            <a:chOff x="4376936" y="2348880"/>
            <a:chExt cx="991479" cy="854695"/>
          </a:xfrm>
        </p:grpSpPr>
        <p:sp>
          <p:nvSpPr>
            <p:cNvPr id="40"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43" name="グループ化 42"/>
            <p:cNvGrpSpPr/>
            <p:nvPr/>
          </p:nvGrpSpPr>
          <p:grpSpPr>
            <a:xfrm>
              <a:off x="4517548" y="2455845"/>
              <a:ext cx="693478" cy="571401"/>
              <a:chOff x="4508023" y="2462195"/>
              <a:chExt cx="693478" cy="571401"/>
            </a:xfrm>
          </p:grpSpPr>
          <p:grpSp>
            <p:nvGrpSpPr>
              <p:cNvPr id="44" name="グループ化 43"/>
              <p:cNvGrpSpPr/>
              <p:nvPr/>
            </p:nvGrpSpPr>
            <p:grpSpPr>
              <a:xfrm>
                <a:off x="4520723" y="2462195"/>
                <a:ext cx="680778" cy="555526"/>
                <a:chOff x="4586456" y="2455845"/>
                <a:chExt cx="680778" cy="555526"/>
              </a:xfrm>
            </p:grpSpPr>
            <p:sp>
              <p:nvSpPr>
                <p:cNvPr id="56" name="フリーフォーム 55"/>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59"/>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61"/>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62"/>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グループ化 44"/>
              <p:cNvGrpSpPr/>
              <p:nvPr/>
            </p:nvGrpSpPr>
            <p:grpSpPr>
              <a:xfrm>
                <a:off x="4508023" y="2478070"/>
                <a:ext cx="680778" cy="555526"/>
                <a:chOff x="4586456" y="2455845"/>
                <a:chExt cx="680778" cy="555526"/>
              </a:xfrm>
            </p:grpSpPr>
            <p:sp>
              <p:nvSpPr>
                <p:cNvPr id="46" name="フリーフォーム 45"/>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66" name="正方形/長方形 65"/>
          <p:cNvSpPr/>
          <p:nvPr/>
        </p:nvSpPr>
        <p:spPr>
          <a:xfrm>
            <a:off x="272480" y="30953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サウジアラビア王国保健省</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との間の医療・保健分野におけ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7" name="円/楕円 66"/>
          <p:cNvSpPr/>
          <p:nvPr/>
        </p:nvSpPr>
        <p:spPr>
          <a:xfrm>
            <a:off x="1676636" y="38990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68" name="円/楕円 67"/>
          <p:cNvSpPr/>
          <p:nvPr/>
        </p:nvSpPr>
        <p:spPr>
          <a:xfrm>
            <a:off x="1676636" y="38990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97348680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5" name="テキスト ボックス 14"/>
          <p:cNvSpPr txBox="1"/>
          <p:nvPr/>
        </p:nvSpPr>
        <p:spPr>
          <a:xfrm>
            <a:off x="200472" y="112410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サウジアラビア王国食品医薬品庁と薬事規制に関する協力・連携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フリーフォーム 6">
            <a:extLst>
              <a:ext uri="{FF2B5EF4-FFF2-40B4-BE49-F238E27FC236}">
                <a16:creationId xmlns:a16="http://schemas.microsoft.com/office/drawing/2014/main" id="{5BA0E5D0-1B27-8733-8457-816126A1D554}"/>
              </a:ext>
            </a:extLst>
          </p:cNvPr>
          <p:cNvSpPr/>
          <p:nvPr/>
        </p:nvSpPr>
        <p:spPr>
          <a:xfrm>
            <a:off x="4179241" y="2719188"/>
            <a:ext cx="735371" cy="17018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片側の 2 つの角を丸めた四角形 7">
            <a:extLst>
              <a:ext uri="{FF2B5EF4-FFF2-40B4-BE49-F238E27FC236}">
                <a16:creationId xmlns:a16="http://schemas.microsoft.com/office/drawing/2014/main" id="{35901967-28BE-758D-8AE1-F4A585B0F397}"/>
              </a:ext>
            </a:extLst>
          </p:cNvPr>
          <p:cNvSpPr/>
          <p:nvPr/>
        </p:nvSpPr>
        <p:spPr>
          <a:xfrm>
            <a:off x="4880992" y="3212976"/>
            <a:ext cx="4608512" cy="2327970"/>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厚生労働省によって承認され、日本で販売される新医薬品が</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F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進士江された際の優先審査及び許可</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ジア医薬品・医療機器トレーニングセンターのトレーニングを通じた</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F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職員の能力強化</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規制調和国際会議（</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H</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医療機器規制当局フォーラム（</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DRF</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査察共同スキーム（</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IC/S</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の多国感国際会議の場における連携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審査の技術的事項及び医薬品・医療機器に関して、日本の専門家に助言を求めるアドホックな相談　　　等</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7">
            <a:extLst>
              <a:ext uri="{FF2B5EF4-FFF2-40B4-BE49-F238E27FC236}">
                <a16:creationId xmlns:a16="http://schemas.microsoft.com/office/drawing/2014/main" id="{2A481AA9-6085-2C34-851B-32DED223D65E}"/>
              </a:ext>
            </a:extLst>
          </p:cNvPr>
          <p:cNvGrpSpPr/>
          <p:nvPr/>
        </p:nvGrpSpPr>
        <p:grpSpPr>
          <a:xfrm>
            <a:off x="344488" y="1700808"/>
            <a:ext cx="9217024" cy="288032"/>
            <a:chOff x="4803500" y="2113806"/>
            <a:chExt cx="2954133" cy="288032"/>
          </a:xfrm>
        </p:grpSpPr>
        <p:cxnSp>
          <p:nvCxnSpPr>
            <p:cNvPr id="8" name="直線コネクタ 16">
              <a:extLst>
                <a:ext uri="{FF2B5EF4-FFF2-40B4-BE49-F238E27FC236}">
                  <a16:creationId xmlns:a16="http://schemas.microsoft.com/office/drawing/2014/main" id="{90750231-77B4-F02D-1918-62E757243E5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BEFCBBDC-BD13-F821-6AFD-519F653F42E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0" name="片側の 2 つの角を丸めた四角形 18">
            <a:extLst>
              <a:ext uri="{FF2B5EF4-FFF2-40B4-BE49-F238E27FC236}">
                <a16:creationId xmlns:a16="http://schemas.microsoft.com/office/drawing/2014/main" id="{2EB8E1AA-7819-F4F7-C983-F43CD02AFE36}"/>
              </a:ext>
            </a:extLst>
          </p:cNvPr>
          <p:cNvSpPr/>
          <p:nvPr/>
        </p:nvSpPr>
        <p:spPr>
          <a:xfrm>
            <a:off x="4880992" y="2708920"/>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製品に関する日本国厚生労働省と</a:t>
            </a:r>
            <a:b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サウジ食品医薬品庁との間の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11" name="正方形/長方形 19">
            <a:extLst>
              <a:ext uri="{FF2B5EF4-FFF2-40B4-BE49-F238E27FC236}">
                <a16:creationId xmlns:a16="http://schemas.microsoft.com/office/drawing/2014/main" id="{1C5CC0DB-155C-AC53-9E12-00843D15A4DF}"/>
              </a:ext>
            </a:extLst>
          </p:cNvPr>
          <p:cNvSpPr/>
          <p:nvPr/>
        </p:nvSpPr>
        <p:spPr>
          <a:xfrm>
            <a:off x="272479" y="2098948"/>
            <a:ext cx="9289030"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医薬品、生物医薬品、医療機器、再生医療製品、医薬部外品、化粧品及び医薬品への使用が糸される原材料を含む医療製品に関する連携協力強化のため、日本国厚生労働省とサウジ食品医薬品庁との間の協力覚書が締結された</a:t>
            </a:r>
          </a:p>
        </p:txBody>
      </p:sp>
      <p:sp>
        <p:nvSpPr>
          <p:cNvPr id="12" name="円/楕円 20">
            <a:extLst>
              <a:ext uri="{FF2B5EF4-FFF2-40B4-BE49-F238E27FC236}">
                <a16:creationId xmlns:a16="http://schemas.microsoft.com/office/drawing/2014/main" id="{52B28C0C-12BA-1F4E-2C08-A74EBDA12BD3}"/>
              </a:ext>
            </a:extLst>
          </p:cNvPr>
          <p:cNvSpPr/>
          <p:nvPr/>
        </p:nvSpPr>
        <p:spPr>
          <a:xfrm>
            <a:off x="488504" y="37636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32">
            <a:extLst>
              <a:ext uri="{FF2B5EF4-FFF2-40B4-BE49-F238E27FC236}">
                <a16:creationId xmlns:a16="http://schemas.microsoft.com/office/drawing/2014/main" id="{91277229-B43F-6442-3517-ADCFA186DAA8}"/>
              </a:ext>
            </a:extLst>
          </p:cNvPr>
          <p:cNvGrpSpPr/>
          <p:nvPr/>
        </p:nvGrpSpPr>
        <p:grpSpPr>
          <a:xfrm>
            <a:off x="3270565" y="4183058"/>
            <a:ext cx="1034363" cy="992911"/>
            <a:chOff x="3224808" y="3622125"/>
            <a:chExt cx="1034363" cy="992911"/>
          </a:xfrm>
        </p:grpSpPr>
        <p:sp>
          <p:nvSpPr>
            <p:cNvPr id="14" name="円/楕円 33">
              <a:extLst>
                <a:ext uri="{FF2B5EF4-FFF2-40B4-BE49-F238E27FC236}">
                  <a16:creationId xmlns:a16="http://schemas.microsoft.com/office/drawing/2014/main" id="{A1697220-F1D3-EE65-02B3-B0D8BB09D292}"/>
                </a:ext>
              </a:extLst>
            </p:cNvPr>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34">
              <a:extLst>
                <a:ext uri="{FF2B5EF4-FFF2-40B4-BE49-F238E27FC236}">
                  <a16:creationId xmlns:a16="http://schemas.microsoft.com/office/drawing/2014/main" id="{68AC74CE-A8FD-B585-DA8A-C2BF6A510B46}"/>
                </a:ext>
              </a:extLst>
            </p:cNvPr>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7" name="グループ化 35">
            <a:extLst>
              <a:ext uri="{FF2B5EF4-FFF2-40B4-BE49-F238E27FC236}">
                <a16:creationId xmlns:a16="http://schemas.microsoft.com/office/drawing/2014/main" id="{F9E15486-423B-6190-7169-A63176ADCCE2}"/>
              </a:ext>
            </a:extLst>
          </p:cNvPr>
          <p:cNvGrpSpPr/>
          <p:nvPr/>
        </p:nvGrpSpPr>
        <p:grpSpPr>
          <a:xfrm>
            <a:off x="632520" y="4183058"/>
            <a:ext cx="1033987" cy="992911"/>
            <a:chOff x="704528" y="3622125"/>
            <a:chExt cx="1033987" cy="992911"/>
          </a:xfrm>
        </p:grpSpPr>
        <p:sp>
          <p:nvSpPr>
            <p:cNvPr id="18" name="円/楕円 36">
              <a:extLst>
                <a:ext uri="{FF2B5EF4-FFF2-40B4-BE49-F238E27FC236}">
                  <a16:creationId xmlns:a16="http://schemas.microsoft.com/office/drawing/2014/main" id="{940291CA-8AF2-AD58-B0CF-E7F53FC2B205}"/>
                </a:ext>
              </a:extLst>
            </p:cNvPr>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37">
              <a:extLst>
                <a:ext uri="{FF2B5EF4-FFF2-40B4-BE49-F238E27FC236}">
                  <a16:creationId xmlns:a16="http://schemas.microsoft.com/office/drawing/2014/main" id="{FF85E77F-D48A-DD84-FC1E-29707BC7C11B}"/>
                </a:ext>
              </a:extLst>
            </p:cNvPr>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sp>
        <p:nvSpPr>
          <p:cNvPr id="20" name="正方形/長方形 65">
            <a:extLst>
              <a:ext uri="{FF2B5EF4-FFF2-40B4-BE49-F238E27FC236}">
                <a16:creationId xmlns:a16="http://schemas.microsoft.com/office/drawing/2014/main" id="{5FE8C15E-A2A7-17B7-B2A3-C5376398C478}"/>
              </a:ext>
            </a:extLst>
          </p:cNvPr>
          <p:cNvSpPr/>
          <p:nvPr/>
        </p:nvSpPr>
        <p:spPr>
          <a:xfrm>
            <a:off x="272480" y="30953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製品に関する日本国厚生労働省と</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サウジ食品医薬品庁との間の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1" name="円/楕円 8">
            <a:extLst>
              <a:ext uri="{FF2B5EF4-FFF2-40B4-BE49-F238E27FC236}">
                <a16:creationId xmlns:a16="http://schemas.microsoft.com/office/drawing/2014/main" id="{2F5D7B26-07F7-4D29-D660-0D782C525D62}"/>
              </a:ext>
            </a:extLst>
          </p:cNvPr>
          <p:cNvSpPr/>
          <p:nvPr/>
        </p:nvSpPr>
        <p:spPr>
          <a:xfrm>
            <a:off x="5043489" y="33754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9">
            <a:extLst>
              <a:ext uri="{FF2B5EF4-FFF2-40B4-BE49-F238E27FC236}">
                <a16:creationId xmlns:a16="http://schemas.microsoft.com/office/drawing/2014/main" id="{3A39080C-1E44-4619-A9DA-206845813730}"/>
              </a:ext>
            </a:extLst>
          </p:cNvPr>
          <p:cNvSpPr/>
          <p:nvPr/>
        </p:nvSpPr>
        <p:spPr>
          <a:xfrm>
            <a:off x="5043489" y="386104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10">
            <a:extLst>
              <a:ext uri="{FF2B5EF4-FFF2-40B4-BE49-F238E27FC236}">
                <a16:creationId xmlns:a16="http://schemas.microsoft.com/office/drawing/2014/main" id="{6F857968-7030-F464-25E6-96261193D29D}"/>
              </a:ext>
            </a:extLst>
          </p:cNvPr>
          <p:cNvSpPr/>
          <p:nvPr/>
        </p:nvSpPr>
        <p:spPr>
          <a:xfrm>
            <a:off x="5043489" y="432181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21">
            <a:extLst>
              <a:ext uri="{FF2B5EF4-FFF2-40B4-BE49-F238E27FC236}">
                <a16:creationId xmlns:a16="http://schemas.microsoft.com/office/drawing/2014/main" id="{78240AB9-E7DF-738A-1F22-5835AA18CDE8}"/>
              </a:ext>
            </a:extLst>
          </p:cNvPr>
          <p:cNvGrpSpPr/>
          <p:nvPr/>
        </p:nvGrpSpPr>
        <p:grpSpPr>
          <a:xfrm>
            <a:off x="1692029" y="4029196"/>
            <a:ext cx="1516104" cy="1201785"/>
            <a:chOff x="1692029" y="3406524"/>
            <a:chExt cx="1516104" cy="1201785"/>
          </a:xfrm>
        </p:grpSpPr>
        <p:grpSp>
          <p:nvGrpSpPr>
            <p:cNvPr id="25" name="Group 339">
              <a:extLst>
                <a:ext uri="{FF2B5EF4-FFF2-40B4-BE49-F238E27FC236}">
                  <a16:creationId xmlns:a16="http://schemas.microsoft.com/office/drawing/2014/main" id="{B47F8B40-78A3-9FBC-8022-D02B2810BC7C}"/>
                </a:ext>
              </a:extLst>
            </p:cNvPr>
            <p:cNvGrpSpPr>
              <a:grpSpLocks noChangeAspect="1"/>
            </p:cNvGrpSpPr>
            <p:nvPr/>
          </p:nvGrpSpPr>
          <p:grpSpPr bwMode="auto">
            <a:xfrm>
              <a:off x="1729320" y="3440013"/>
              <a:ext cx="1478813" cy="1168296"/>
              <a:chOff x="1968" y="2736"/>
              <a:chExt cx="864" cy="672"/>
            </a:xfrm>
          </p:grpSpPr>
          <p:sp>
            <p:nvSpPr>
              <p:cNvPr id="29" name="Freeform 168">
                <a:extLst>
                  <a:ext uri="{FF2B5EF4-FFF2-40B4-BE49-F238E27FC236}">
                    <a16:creationId xmlns:a16="http://schemas.microsoft.com/office/drawing/2014/main" id="{B6BFADEC-490C-8552-29CB-0BFA11132631}"/>
                  </a:ext>
                </a:extLst>
              </p:cNvPr>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0" name="Freeform 170">
                <a:extLst>
                  <a:ext uri="{FF2B5EF4-FFF2-40B4-BE49-F238E27FC236}">
                    <a16:creationId xmlns:a16="http://schemas.microsoft.com/office/drawing/2014/main" id="{942F3F52-F7E0-8AD2-0C96-CFC1E85C78D8}"/>
                  </a:ext>
                </a:extLst>
              </p:cNvPr>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1" name="AutoShape 171">
                <a:extLst>
                  <a:ext uri="{FF2B5EF4-FFF2-40B4-BE49-F238E27FC236}">
                    <a16:creationId xmlns:a16="http://schemas.microsoft.com/office/drawing/2014/main" id="{718D974E-5E37-1F7E-9398-584B240FF848}"/>
                  </a:ext>
                </a:extLst>
              </p:cNvPr>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 name="AutoShape 172">
                <a:extLst>
                  <a:ext uri="{FF2B5EF4-FFF2-40B4-BE49-F238E27FC236}">
                    <a16:creationId xmlns:a16="http://schemas.microsoft.com/office/drawing/2014/main" id="{4DA37EC5-C93C-2B62-214D-2A1B8A4A63F4}"/>
                  </a:ext>
                </a:extLst>
              </p:cNvPr>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3" name="AutoShape 173">
                <a:extLst>
                  <a:ext uri="{FF2B5EF4-FFF2-40B4-BE49-F238E27FC236}">
                    <a16:creationId xmlns:a16="http://schemas.microsoft.com/office/drawing/2014/main" id="{D19E00DC-8DDB-5BB4-4971-0C55B8132441}"/>
                  </a:ext>
                </a:extLst>
              </p:cNvPr>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4" name="AutoShape 174">
                <a:extLst>
                  <a:ext uri="{FF2B5EF4-FFF2-40B4-BE49-F238E27FC236}">
                    <a16:creationId xmlns:a16="http://schemas.microsoft.com/office/drawing/2014/main" id="{41664FFC-A6AF-065A-F76A-477D164AC469}"/>
                  </a:ext>
                </a:extLst>
              </p:cNvPr>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26" name="グループ化 23">
              <a:extLst>
                <a:ext uri="{FF2B5EF4-FFF2-40B4-BE49-F238E27FC236}">
                  <a16:creationId xmlns:a16="http://schemas.microsoft.com/office/drawing/2014/main" id="{6B5B6C41-293F-E9DC-0D41-13BB9EF37B83}"/>
                </a:ext>
              </a:extLst>
            </p:cNvPr>
            <p:cNvGrpSpPr/>
            <p:nvPr/>
          </p:nvGrpSpPr>
          <p:grpSpPr>
            <a:xfrm>
              <a:off x="1692029" y="3406524"/>
              <a:ext cx="1392861" cy="382825"/>
              <a:chOff x="1692029" y="3406524"/>
              <a:chExt cx="1392861" cy="382825"/>
            </a:xfrm>
          </p:grpSpPr>
          <p:sp>
            <p:nvSpPr>
              <p:cNvPr id="27" name="正方形/長方形 24">
                <a:extLst>
                  <a:ext uri="{FF2B5EF4-FFF2-40B4-BE49-F238E27FC236}">
                    <a16:creationId xmlns:a16="http://schemas.microsoft.com/office/drawing/2014/main" id="{657CCD05-4010-A91A-EA6D-E6417E49C5B3}"/>
                  </a:ext>
                </a:extLst>
              </p:cNvPr>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5">
                <a:extLst>
                  <a:ext uri="{FF2B5EF4-FFF2-40B4-BE49-F238E27FC236}">
                    <a16:creationId xmlns:a16="http://schemas.microsoft.com/office/drawing/2014/main" id="{2BE8C7A4-DBC1-42E9-FB9C-D52A5814E9C2}"/>
                  </a:ext>
                </a:extLst>
              </p:cNvPr>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35" name="円/楕円 10">
            <a:extLst>
              <a:ext uri="{FF2B5EF4-FFF2-40B4-BE49-F238E27FC236}">
                <a16:creationId xmlns:a16="http://schemas.microsoft.com/office/drawing/2014/main" id="{F6DE2E14-BACB-6D25-5A60-508BB18B3481}"/>
              </a:ext>
            </a:extLst>
          </p:cNvPr>
          <p:cNvSpPr/>
          <p:nvPr/>
        </p:nvSpPr>
        <p:spPr>
          <a:xfrm>
            <a:off x="5043489" y="499254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261249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57715391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文部科学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30174987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a:t>
            </a:r>
            <a:r>
              <a:rPr lang="zh-TW" altLang="en-US" dirty="0"/>
              <a:t>医療国際化関連事業</a:t>
            </a:r>
            <a:endParaRPr lang="ja-JP" altLang="en-US" dirty="0"/>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関連事業は実施されていない</a:t>
            </a:r>
          </a:p>
        </p:txBody>
      </p:sp>
    </p:spTree>
    <p:extLst>
      <p:ext uri="{BB962C8B-B14F-4D97-AF65-F5344CB8AC3E}">
        <p14:creationId xmlns:p14="http://schemas.microsoft.com/office/powerpoint/2010/main" val="204604199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関連事業は確認できなかった</a:t>
            </a:r>
          </a:p>
        </p:txBody>
      </p:sp>
    </p:spTree>
    <p:extLst>
      <p:ext uri="{BB962C8B-B14F-4D97-AF65-F5344CB8AC3E}">
        <p14:creationId xmlns:p14="http://schemas.microsoft.com/office/powerpoint/2010/main" val="157182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数、看護師数、歯科医数、薬剤師数</a:t>
            </a:r>
          </a:p>
        </p:txBody>
      </p:sp>
      <p:pic>
        <p:nvPicPr>
          <p:cNvPr id="44057"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6"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5"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4"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3"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59050" y="90328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4052"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1"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0"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9"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8"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7"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46"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59050" y="90328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p:cNvGraphicFramePr>
            <a:graphicFrameLocks noGrp="1"/>
          </p:cNvGraphicFramePr>
          <p:nvPr>
            <p:extLst>
              <p:ext uri="{D42A27DB-BD31-4B8C-83A1-F6EECF244321}">
                <p14:modId xmlns:p14="http://schemas.microsoft.com/office/powerpoint/2010/main" val="2193294582"/>
              </p:ext>
            </p:extLst>
          </p:nvPr>
        </p:nvGraphicFramePr>
        <p:xfrm>
          <a:off x="128464" y="1125539"/>
          <a:ext cx="2432150" cy="5226584"/>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703825">
                  <a:extLst>
                    <a:ext uri="{9D8B030D-6E8A-4147-A177-3AD203B41FA5}">
                      <a16:colId xmlns:a16="http://schemas.microsoft.com/office/drawing/2014/main" val="20002"/>
                    </a:ext>
                  </a:extLst>
                </a:gridCol>
              </a:tblGrid>
              <a:tr h="224634">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医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49268">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あ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4634">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50.88</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231695</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4634">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2.2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11183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4634">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4.9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52967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4634">
                <a:tc>
                  <a:txBody>
                    <a:bodyPr/>
                    <a:lstStyle/>
                    <a:p>
                      <a:pPr algn="l" fontAlgn="b">
                        <a:buNone/>
                      </a:pPr>
                      <a:r>
                        <a:rPr lang="ja-JP" altLang="en-US" sz="1100" b="0" i="0" u="none" strike="noStrike" dirty="0">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8.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1343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4634">
                <a:tc>
                  <a:txBody>
                    <a:bodyPr/>
                    <a:lstStyle/>
                    <a:p>
                      <a:pPr algn="l" fontAlgn="b">
                        <a:buNone/>
                      </a:pPr>
                      <a:r>
                        <a:rPr lang="ja-JP" altLang="en-US" sz="1100" b="0" i="0" u="none" strike="noStrike">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8.1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00965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4634">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0.0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6638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4634">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5.9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8834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4634">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5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38613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4634">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5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15832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4634">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3.0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1572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4634">
                <a:tc>
                  <a:txBody>
                    <a:bodyPr/>
                    <a:lstStyle/>
                    <a:p>
                      <a:pPr algn="l" fontAlgn="b">
                        <a:buNone/>
                      </a:pPr>
                      <a:r>
                        <a:rPr lang="ja-JP" altLang="en-US" sz="1100" b="0" i="0" u="none" strike="noStrike">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6.4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33109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4634">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7.5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5700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4634">
                <a:tc>
                  <a:txBody>
                    <a:bodyPr/>
                    <a:lstStyle/>
                    <a:p>
                      <a:pPr algn="l" fontAlgn="b">
                        <a:buNone/>
                      </a:pPr>
                      <a:r>
                        <a:rPr lang="ja-JP" altLang="en-US" sz="1100" b="0" i="0" u="none" strike="noStrike">
                          <a:effectLst/>
                          <a:latin typeface="Aptos Narrow" panose="020B0004020202020204" pitchFamily="34" charset="0"/>
                        </a:rPr>
                        <a:t>韓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6.6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3780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4634">
                <a:tc>
                  <a:txBody>
                    <a:bodyPr/>
                    <a:lstStyle/>
                    <a:p>
                      <a:pPr algn="l" fontAlgn="b">
                        <a:buNone/>
                      </a:pPr>
                      <a:r>
                        <a:rPr lang="ja-JP" altLang="en-US" sz="1100" b="0" i="0" u="none" strike="noStrike" dirty="0">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1.1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7441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4634">
                <a:tc>
                  <a:txBody>
                    <a:bodyPr/>
                    <a:lstStyle/>
                    <a:p>
                      <a:pPr algn="l" fontAlgn="b">
                        <a:buNone/>
                      </a:pPr>
                      <a:r>
                        <a:rPr lang="ja-JP" altLang="en-US" sz="1100" b="0" i="0" u="none" strike="noStrike">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4.0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133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4634">
                <a:tc>
                  <a:txBody>
                    <a:bodyPr/>
                    <a:lstStyle/>
                    <a:p>
                      <a:pPr algn="l" fontAlgn="b">
                        <a:buNone/>
                      </a:pPr>
                      <a:r>
                        <a:rPr lang="ja-JP" altLang="en-US" sz="1100" b="0" i="0" u="none" strike="noStrike">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6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905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4634">
                <a:tc>
                  <a:txBody>
                    <a:bodyPr/>
                    <a:lstStyle/>
                    <a:p>
                      <a:pPr algn="l" fontAlgn="b">
                        <a:buNone/>
                      </a:pPr>
                      <a:r>
                        <a:rPr lang="ja-JP" altLang="en-US" sz="1100" b="0" i="0" u="none" strike="noStrike">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3.4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0422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85512">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33.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23039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4634">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6.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effectLst/>
                          <a:latin typeface="+mn-lt"/>
                        </a:rPr>
                        <a:t>90642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7" name="表 6"/>
          <p:cNvGraphicFramePr>
            <a:graphicFrameLocks noGrp="1"/>
          </p:cNvGraphicFramePr>
          <p:nvPr>
            <p:extLst>
              <p:ext uri="{D42A27DB-BD31-4B8C-83A1-F6EECF244321}">
                <p14:modId xmlns:p14="http://schemas.microsoft.com/office/powerpoint/2010/main" val="3882641786"/>
              </p:ext>
            </p:extLst>
          </p:nvPr>
        </p:nvGraphicFramePr>
        <p:xfrm>
          <a:off x="2613778" y="1125538"/>
          <a:ext cx="2432150" cy="5208777"/>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703825">
                  <a:extLst>
                    <a:ext uri="{9D8B030D-6E8A-4147-A177-3AD203B41FA5}">
                      <a16:colId xmlns:a16="http://schemas.microsoft.com/office/drawing/2014/main" val="20002"/>
                    </a:ext>
                  </a:extLst>
                </a:gridCol>
              </a:tblGrid>
              <a:tr h="22378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看護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4757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あ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3786">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64.87</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295393</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3786">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44.3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38550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3786">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8.3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23634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3786">
                <a:tc>
                  <a:txBody>
                    <a:bodyPr/>
                    <a:lstStyle/>
                    <a:p>
                      <a:pPr algn="l" fontAlgn="b">
                        <a:buNone/>
                      </a:pPr>
                      <a:r>
                        <a:rPr lang="ja-JP" altLang="en-US" sz="1100" b="0" i="0" u="none" strike="noStrike" dirty="0">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16.2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6174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3786">
                <a:tc>
                  <a:txBody>
                    <a:bodyPr/>
                    <a:lstStyle/>
                    <a:p>
                      <a:pPr algn="l" fontAlgn="b">
                        <a:buNone/>
                      </a:pPr>
                      <a:r>
                        <a:rPr lang="ja-JP" altLang="en-US" sz="1100" b="0" i="0" u="none" strike="noStrike">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9.6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63714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3786">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4.2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2263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3786">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4.0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0480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3786">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7.1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93943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3786">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3.0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93541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3786">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0.9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2215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3786">
                <a:tc>
                  <a:txBody>
                    <a:bodyPr/>
                    <a:lstStyle/>
                    <a:p>
                      <a:pPr algn="l" fontAlgn="b">
                        <a:buNone/>
                      </a:pPr>
                      <a:r>
                        <a:rPr lang="ja-JP" altLang="en-US" sz="1100" b="0" i="0" u="none" strike="noStrike" dirty="0">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4.4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55545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3786">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0.4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9542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3786">
                <a:tc>
                  <a:txBody>
                    <a:bodyPr/>
                    <a:lstStyle/>
                    <a:p>
                      <a:pPr algn="l" fontAlgn="b">
                        <a:buNone/>
                      </a:pPr>
                      <a:r>
                        <a:rPr lang="ja-JP" altLang="en-US" sz="1100" b="0" i="0" u="none" strike="noStrike">
                          <a:effectLst/>
                          <a:latin typeface="Aptos Narrow" panose="020B0004020202020204" pitchFamily="34" charset="0"/>
                        </a:rPr>
                        <a:t>韓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8.0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069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3786">
                <a:tc>
                  <a:txBody>
                    <a:bodyPr/>
                    <a:lstStyle/>
                    <a:p>
                      <a:pPr algn="l" fontAlgn="b">
                        <a:buNone/>
                      </a:pPr>
                      <a:r>
                        <a:rPr lang="ja-JP" altLang="en-US" sz="1100" b="0" i="0" u="none" strike="noStrike">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0.3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0247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3786">
                <a:tc>
                  <a:txBody>
                    <a:bodyPr/>
                    <a:lstStyle/>
                    <a:p>
                      <a:pPr algn="l" fontAlgn="b">
                        <a:buNone/>
                      </a:pPr>
                      <a:r>
                        <a:rPr lang="ja-JP" altLang="en-US" sz="1100" b="0" i="0" u="none" strike="noStrike" dirty="0">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65.5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1810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3786">
                <a:tc>
                  <a:txBody>
                    <a:bodyPr/>
                    <a:lstStyle/>
                    <a:p>
                      <a:pPr algn="l" fontAlgn="b">
                        <a:buNone/>
                      </a:pPr>
                      <a:r>
                        <a:rPr lang="ja-JP" altLang="en-US" sz="1100" b="0" i="0" u="none" strike="noStrike">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1.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6587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3786">
                <a:tc>
                  <a:txBody>
                    <a:bodyPr/>
                    <a:lstStyle/>
                    <a:p>
                      <a:pPr algn="l" fontAlgn="b">
                        <a:buNone/>
                      </a:pPr>
                      <a:r>
                        <a:rPr lang="ja-JP" altLang="en-US" sz="1100" b="0" i="0" u="none" strike="noStrike">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5.3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0803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83680">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95.5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5657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3786">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3.9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effectLst/>
                          <a:latin typeface="+mn-lt"/>
                        </a:rPr>
                        <a:t>428046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8" name="表 7"/>
          <p:cNvGraphicFramePr>
            <a:graphicFrameLocks noGrp="1"/>
          </p:cNvGraphicFramePr>
          <p:nvPr>
            <p:extLst>
              <p:ext uri="{D42A27DB-BD31-4B8C-83A1-F6EECF244321}">
                <p14:modId xmlns:p14="http://schemas.microsoft.com/office/powerpoint/2010/main" val="611357437"/>
              </p:ext>
            </p:extLst>
          </p:nvPr>
        </p:nvGraphicFramePr>
        <p:xfrm>
          <a:off x="5099092" y="1125540"/>
          <a:ext cx="2321025" cy="5208777"/>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592700">
                  <a:extLst>
                    <a:ext uri="{9D8B030D-6E8A-4147-A177-3AD203B41FA5}">
                      <a16:colId xmlns:a16="http://schemas.microsoft.com/office/drawing/2014/main" val="20002"/>
                    </a:ext>
                  </a:extLst>
                </a:gridCol>
              </a:tblGrid>
              <a:tr h="22378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歯科医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4757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あ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3786">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10.84</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9356</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3786">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6.5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1725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3786">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8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16644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3786">
                <a:tc>
                  <a:txBody>
                    <a:bodyPr/>
                    <a:lstStyle/>
                    <a:p>
                      <a:pPr algn="l" fontAlgn="b">
                        <a:buNone/>
                      </a:pPr>
                      <a:r>
                        <a:rPr lang="ja-JP" altLang="en-US" sz="1100" b="0" i="0" u="none" strike="noStrike">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6.5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490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3786">
                <a:tc>
                  <a:txBody>
                    <a:bodyPr/>
                    <a:lstStyle/>
                    <a:p>
                      <a:pPr algn="l" fontAlgn="b">
                        <a:buNone/>
                      </a:pPr>
                      <a:r>
                        <a:rPr lang="ja-JP" altLang="en-US" sz="1100" b="0" i="0" u="none" strike="noStrike" dirty="0">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5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370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3786">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0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4654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3786">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8.4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7137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3786">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4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5279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3786">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480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3786">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8.1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857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3786">
                <a:tc>
                  <a:txBody>
                    <a:bodyPr/>
                    <a:lstStyle/>
                    <a:p>
                      <a:pPr algn="l" fontAlgn="b">
                        <a:buNone/>
                      </a:pPr>
                      <a:r>
                        <a:rPr lang="ja-JP" altLang="en-US" sz="1100" b="0" i="0" u="none" strike="noStrike" dirty="0">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8.1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IN" sz="1100" b="0" i="0" u="none" strike="noStrike">
                          <a:effectLst/>
                          <a:latin typeface="+mn-lt"/>
                        </a:rPr>
                        <a:t>10195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223786">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3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805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3786">
                <a:tc>
                  <a:txBody>
                    <a:bodyPr/>
                    <a:lstStyle/>
                    <a:p>
                      <a:pPr algn="l" fontAlgn="b">
                        <a:buNone/>
                      </a:pPr>
                      <a:r>
                        <a:rPr lang="ja-JP" altLang="en-US" sz="1100" b="0" i="0" u="none" strike="noStrike">
                          <a:effectLst/>
                          <a:latin typeface="Aptos Narrow" panose="020B0004020202020204" pitchFamily="34" charset="0"/>
                        </a:rPr>
                        <a:t>韓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4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839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3786">
                <a:tc>
                  <a:txBody>
                    <a:bodyPr/>
                    <a:lstStyle/>
                    <a:p>
                      <a:pPr algn="l" fontAlgn="b">
                        <a:buNone/>
                      </a:pPr>
                      <a:r>
                        <a:rPr lang="ja-JP" altLang="en-US" sz="1100" b="0" i="0" u="none" strike="noStrike">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7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082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3786">
                <a:tc>
                  <a:txBody>
                    <a:bodyPr/>
                    <a:lstStyle/>
                    <a:p>
                      <a:pPr algn="l" fontAlgn="b">
                        <a:buNone/>
                      </a:pPr>
                      <a:r>
                        <a:rPr lang="ja-JP" altLang="en-US" sz="1100" b="0" i="0" u="none" strike="noStrike">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8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59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3786">
                <a:tc>
                  <a:txBody>
                    <a:bodyPr/>
                    <a:lstStyle/>
                    <a:p>
                      <a:pPr algn="l" fontAlgn="b">
                        <a:buNone/>
                      </a:pPr>
                      <a:r>
                        <a:rPr lang="ja-JP" altLang="en-US" sz="1100" b="0" i="0" u="none" strike="noStrike" dirty="0">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0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86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3786">
                <a:tc>
                  <a:txBody>
                    <a:bodyPr/>
                    <a:lstStyle/>
                    <a:p>
                      <a:pPr algn="l" fontAlgn="b">
                        <a:buNone/>
                      </a:pPr>
                      <a:r>
                        <a:rPr lang="ja-JP" altLang="en-US" sz="1100" b="0" i="0" u="none" strike="noStrike">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2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4571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83680">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0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3492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3786">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8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effectLst/>
                          <a:latin typeface="+mn-lt"/>
                        </a:rPr>
                        <a:t>2023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2405218123"/>
              </p:ext>
            </p:extLst>
          </p:nvPr>
        </p:nvGraphicFramePr>
        <p:xfrm>
          <a:off x="7473280" y="1125540"/>
          <a:ext cx="2321025" cy="5250995"/>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592700">
                  <a:extLst>
                    <a:ext uri="{9D8B030D-6E8A-4147-A177-3AD203B41FA5}">
                      <a16:colId xmlns:a16="http://schemas.microsoft.com/office/drawing/2014/main" val="20002"/>
                    </a:ext>
                  </a:extLst>
                </a:gridCol>
              </a:tblGrid>
              <a:tr h="224327">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薬剤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48656">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あ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4327">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5.78</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6314</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4327">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9.5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2533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4327">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8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8060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4327">
                <a:tc>
                  <a:txBody>
                    <a:bodyPr/>
                    <a:lstStyle/>
                    <a:p>
                      <a:pPr algn="l" fontAlgn="b">
                        <a:buNone/>
                      </a:pPr>
                      <a:r>
                        <a:rPr lang="ja-JP" altLang="en-US" sz="1100" b="0" i="0" u="none" strike="noStrike">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1.6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633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4327">
                <a:tc>
                  <a:txBody>
                    <a:bodyPr/>
                    <a:lstStyle/>
                    <a:p>
                      <a:pPr algn="l" fontAlgn="b">
                        <a:buNone/>
                      </a:pPr>
                      <a:r>
                        <a:rPr lang="ja-JP" altLang="en-US" sz="1100" b="0" i="0" u="none" strike="noStrike">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0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6948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4327">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4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264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4327">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6.6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621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4327">
                <a:tc>
                  <a:txBody>
                    <a:bodyPr/>
                    <a:lstStyle/>
                    <a:p>
                      <a:pPr algn="l" fontAlgn="b">
                        <a:buNone/>
                      </a:pPr>
                      <a:r>
                        <a:rPr lang="ja-JP" altLang="en-US" sz="1100" b="0" i="0" u="none" strike="noStrike" dirty="0">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1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75804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4327">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4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918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55183">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3.8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8239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4327">
                <a:tc>
                  <a:txBody>
                    <a:bodyPr/>
                    <a:lstStyle/>
                    <a:p>
                      <a:pPr algn="l" fontAlgn="b">
                        <a:buNone/>
                      </a:pPr>
                      <a:r>
                        <a:rPr lang="ja-JP" altLang="en-US" sz="1100" b="0" i="0" u="none" strike="noStrike">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0.2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5319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4327">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0.4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58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4327">
                <a:tc>
                  <a:txBody>
                    <a:bodyPr/>
                    <a:lstStyle/>
                    <a:p>
                      <a:pPr algn="l" fontAlgn="b">
                        <a:buNone/>
                      </a:pPr>
                      <a:r>
                        <a:rPr lang="ja-JP" altLang="en-US" sz="1100" b="0" i="0" u="none" strike="noStrike">
                          <a:effectLst/>
                          <a:latin typeface="Aptos Narrow" panose="020B0004020202020204" pitchFamily="34" charset="0"/>
                        </a:rPr>
                        <a:t>韓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8.2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4272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4327">
                <a:tc>
                  <a:txBody>
                    <a:bodyPr/>
                    <a:lstStyle/>
                    <a:p>
                      <a:pPr algn="l" fontAlgn="b">
                        <a:buNone/>
                      </a:pPr>
                      <a:r>
                        <a:rPr lang="ja-JP" altLang="en-US" sz="1100" b="0" i="0" u="none" strike="noStrike">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0.3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74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4327">
                <a:tc>
                  <a:txBody>
                    <a:bodyPr/>
                    <a:lstStyle/>
                    <a:p>
                      <a:pPr algn="l" fontAlgn="b">
                        <a:buNone/>
                      </a:pPr>
                      <a:r>
                        <a:rPr lang="ja-JP" altLang="en-US" sz="1100" b="0" i="0" u="none" strike="noStrike">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1.0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368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4327">
                <a:tc>
                  <a:txBody>
                    <a:bodyPr/>
                    <a:lstStyle/>
                    <a:p>
                      <a:pPr algn="l" fontAlgn="b">
                        <a:buNone/>
                      </a:pPr>
                      <a:r>
                        <a:rPr lang="ja-JP" altLang="en-US" sz="1100" b="0" i="0" u="none" strike="noStrike" dirty="0">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8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831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4327">
                <a:tc>
                  <a:txBody>
                    <a:bodyPr/>
                    <a:lstStyle/>
                    <a:p>
                      <a:pPr algn="l" fontAlgn="b">
                        <a:buNone/>
                      </a:pPr>
                      <a:r>
                        <a:rPr lang="ja-JP" altLang="en-US" sz="1100" b="0" i="0" u="none" strike="noStrike">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6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406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84850">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5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6540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4327">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Aptos Narrow" panose="020B0004020202020204" pitchFamily="34" charset="0"/>
                        </a:rPr>
                        <a:t>9.5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effectLst/>
                          <a:latin typeface="Aptos Narrow" panose="020B0004020202020204" pitchFamily="34" charset="0"/>
                        </a:rPr>
                        <a:t>3288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70" name="テキスト ボックス 69"/>
          <p:cNvSpPr txBox="1"/>
          <p:nvPr/>
        </p:nvSpPr>
        <p:spPr>
          <a:xfrm>
            <a:off x="128464" y="6407736"/>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師数」、「看護師数」、「歯科医数」、「薬剤師数」に関するデータはすべ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観測所から入手可能な最新デー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基づいています。</a:t>
            </a:r>
          </a:p>
        </p:txBody>
      </p:sp>
      <p:sp>
        <p:nvSpPr>
          <p:cNvPr id="71" name="テキスト ボックス 7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IN" altLang="ja-JP" sz="800" dirty="0">
                <a:solidFill>
                  <a:srgbClr val="000000"/>
                </a:solidFill>
                <a:cs typeface="Arial" panose="020B0604020202020204" pitchFamily="34" charset="0"/>
              </a:rPr>
              <a:t>WHO Global Health Observatory</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Tree>
    <p:extLst>
      <p:ext uri="{BB962C8B-B14F-4D97-AF65-F5344CB8AC3E}">
        <p14:creationId xmlns:p14="http://schemas.microsoft.com/office/powerpoint/2010/main" val="13271280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a:t>
            </a:r>
            <a:r>
              <a:rPr lang="zh-TW" altLang="en-US" dirty="0"/>
              <a:t>医療国際化関連事業</a:t>
            </a:r>
            <a:endParaRPr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の公開を行っ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lang="en-US" altLang="ja-JP" sz="800" dirty="0"/>
              <a:t>HP</a:t>
            </a:r>
          </a:p>
        </p:txBody>
      </p:sp>
      <p:grpSp>
        <p:nvGrpSpPr>
          <p:cNvPr id="98" name="グループ化 7"/>
          <p:cNvGrpSpPr/>
          <p:nvPr/>
        </p:nvGrpSpPr>
        <p:grpSpPr>
          <a:xfrm>
            <a:off x="1460612" y="1916832"/>
            <a:ext cx="6984776"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graphicFrame>
        <p:nvGraphicFramePr>
          <p:cNvPr id="6" name="表 4">
            <a:extLst>
              <a:ext uri="{FF2B5EF4-FFF2-40B4-BE49-F238E27FC236}">
                <a16:creationId xmlns:a16="http://schemas.microsoft.com/office/drawing/2014/main" id="{9C9A1333-2ACF-1CAC-E70D-76794F831BA3}"/>
              </a:ext>
            </a:extLst>
          </p:cNvPr>
          <p:cNvGraphicFramePr>
            <a:graphicFrameLocks noGrp="1"/>
          </p:cNvGraphicFramePr>
          <p:nvPr>
            <p:extLst>
              <p:ext uri="{D42A27DB-BD31-4B8C-83A1-F6EECF244321}">
                <p14:modId xmlns:p14="http://schemas.microsoft.com/office/powerpoint/2010/main" val="1224939690"/>
              </p:ext>
            </p:extLst>
          </p:nvPr>
        </p:nvGraphicFramePr>
        <p:xfrm>
          <a:off x="1460611" y="2447637"/>
          <a:ext cx="6989075" cy="2708065"/>
        </p:xfrm>
        <a:graphic>
          <a:graphicData uri="http://schemas.openxmlformats.org/drawingml/2006/table">
            <a:tbl>
              <a:tblPr firstRow="1" bandRow="1">
                <a:tableStyleId>{5C22544A-7EE6-4342-B048-85BDC9FD1C3A}</a:tableStyleId>
              </a:tblPr>
              <a:tblGrid>
                <a:gridCol w="3459693">
                  <a:extLst>
                    <a:ext uri="{9D8B030D-6E8A-4147-A177-3AD203B41FA5}">
                      <a16:colId xmlns:a16="http://schemas.microsoft.com/office/drawing/2014/main" val="2204362235"/>
                    </a:ext>
                  </a:extLst>
                </a:gridCol>
                <a:gridCol w="575977">
                  <a:extLst>
                    <a:ext uri="{9D8B030D-6E8A-4147-A177-3AD203B41FA5}">
                      <a16:colId xmlns:a16="http://schemas.microsoft.com/office/drawing/2014/main" val="2450997363"/>
                    </a:ext>
                  </a:extLst>
                </a:gridCol>
                <a:gridCol w="2953405">
                  <a:extLst>
                    <a:ext uri="{9D8B030D-6E8A-4147-A177-3AD203B41FA5}">
                      <a16:colId xmlns:a16="http://schemas.microsoft.com/office/drawing/2014/main" val="3038062072"/>
                    </a:ext>
                  </a:extLst>
                </a:gridCol>
              </a:tblGrid>
              <a:tr h="258611">
                <a:tc>
                  <a:txBody>
                    <a:bodyPr/>
                    <a:lstStyle/>
                    <a:p>
                      <a:pPr algn="ctr"/>
                      <a:r>
                        <a:rPr kumimoji="1" lang="ja-JP" altLang="en-US" sz="1400"/>
                        <a:t>レポート</a:t>
                      </a:r>
                      <a:endParaRPr kumimoji="1" lang="ja-JP" altLang="en-US" sz="1400" dirty="0"/>
                    </a:p>
                  </a:txBody>
                  <a:tcPr marL="36000" marR="36000" marT="0" marB="0"/>
                </a:tc>
                <a:tc>
                  <a:txBody>
                    <a:bodyPr/>
                    <a:lstStyle/>
                    <a:p>
                      <a:pPr algn="ctr"/>
                      <a:r>
                        <a:rPr kumimoji="1" lang="ja-JP" altLang="en-US" sz="1400" dirty="0"/>
                        <a:t>年</a:t>
                      </a:r>
                    </a:p>
                  </a:txBody>
                  <a:tcPr marL="36000" marR="36000" marT="0" marB="0"/>
                </a:tc>
                <a:tc>
                  <a:txBody>
                    <a:bodyPr/>
                    <a:lstStyle/>
                    <a:p>
                      <a:pPr algn="ctr"/>
                      <a:r>
                        <a:rPr kumimoji="1" lang="ja-JP" altLang="en-US" sz="1400" dirty="0"/>
                        <a:t>リンク</a:t>
                      </a:r>
                    </a:p>
                  </a:txBody>
                  <a:tcPr marL="36000" marR="36000" marT="0" marB="0"/>
                </a:tc>
                <a:extLst>
                  <a:ext uri="{0D108BD9-81ED-4DB2-BD59-A6C34878D82A}">
                    <a16:rowId xmlns:a16="http://schemas.microsoft.com/office/drawing/2014/main" val="935988904"/>
                  </a:ext>
                </a:extLst>
              </a:tr>
              <a:tr h="416565">
                <a:tc>
                  <a:txBody>
                    <a:bodyPr/>
                    <a:lstStyle/>
                    <a:p>
                      <a:r>
                        <a:rPr lang="ja-JP" altLang="en-US" sz="1400" dirty="0"/>
                        <a:t>中東医療機器ディストリビューター調査</a:t>
                      </a:r>
                      <a:endParaRPr kumimoji="1" lang="ja-JP" altLang="en-US" sz="1400" dirty="0"/>
                    </a:p>
                  </a:txBody>
                  <a:tcPr marL="36000" marR="36000" marT="0" marB="0"/>
                </a:tc>
                <a:tc>
                  <a:txBody>
                    <a:bodyPr/>
                    <a:lstStyle/>
                    <a:p>
                      <a:pPr algn="ctr"/>
                      <a:r>
                        <a:rPr kumimoji="1" lang="en-US" altLang="ja-JP" sz="1400" dirty="0"/>
                        <a:t>2021</a:t>
                      </a:r>
                      <a:endParaRPr kumimoji="1" lang="ja-JP" altLang="en-US" sz="14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3"/>
                        </a:rPr>
                        <a:t>https://www.jetro.go.jp/world/reports/2021/02/2ccc58fac1d29884.html</a:t>
                      </a:r>
                      <a:endParaRPr lang="en-US" altLang="ja-JP" sz="1050" dirty="0"/>
                    </a:p>
                  </a:txBody>
                  <a:tcPr marL="36000" marR="36000" marT="0" marB="0"/>
                </a:tc>
                <a:extLst>
                  <a:ext uri="{0D108BD9-81ED-4DB2-BD59-A6C34878D82A}">
                    <a16:rowId xmlns:a16="http://schemas.microsoft.com/office/drawing/2014/main" val="679400558"/>
                  </a:ext>
                </a:extLst>
              </a:tr>
              <a:tr h="581876">
                <a:tc>
                  <a:txBody>
                    <a:bodyPr/>
                    <a:lstStyle/>
                    <a:p>
                      <a:r>
                        <a:rPr lang="ja-JP" altLang="en-US" sz="1400" dirty="0"/>
                        <a:t>サウジアラビアの有望産業（医薬品産業）についての投資環境・市場調査</a:t>
                      </a:r>
                      <a:endParaRPr kumimoji="1" lang="ja-JP" altLang="en-US" sz="1400" dirty="0"/>
                    </a:p>
                  </a:txBody>
                  <a:tcPr marL="36000" marR="36000" marT="0" marB="0"/>
                </a:tc>
                <a:tc>
                  <a:txBody>
                    <a:bodyPr/>
                    <a:lstStyle/>
                    <a:p>
                      <a:pPr algn="ctr"/>
                      <a:r>
                        <a:rPr kumimoji="1" lang="en-US" altLang="ja-JP" sz="1400" dirty="0"/>
                        <a:t>2019</a:t>
                      </a:r>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4"/>
                        </a:rPr>
                        <a:t>https://www.jetro.go.jp/world/reports/2019/01/7aac324198bb7d1b.html</a:t>
                      </a:r>
                      <a:endParaRPr lang="en-US" altLang="ja-JP" sz="1050" dirty="0"/>
                    </a:p>
                  </a:txBody>
                  <a:tcPr marL="36000" marR="36000" marT="0" marB="0"/>
                </a:tc>
                <a:extLst>
                  <a:ext uri="{0D108BD9-81ED-4DB2-BD59-A6C34878D82A}">
                    <a16:rowId xmlns:a16="http://schemas.microsoft.com/office/drawing/2014/main" val="1499029188"/>
                  </a:ext>
                </a:extLst>
              </a:tr>
              <a:tr h="416565">
                <a:tc>
                  <a:txBody>
                    <a:bodyPr/>
                    <a:lstStyle/>
                    <a:p>
                      <a:r>
                        <a:rPr lang="ja-JP" altLang="en-US" sz="1400" dirty="0"/>
                        <a:t>中東医療機器市場ディストリビューター調査</a:t>
                      </a:r>
                      <a:endParaRPr kumimoji="1" lang="ja-JP" altLang="en-US" sz="1400" dirty="0"/>
                    </a:p>
                  </a:txBody>
                  <a:tcPr marL="36000" marR="36000" marT="0" marB="0"/>
                </a:tc>
                <a:tc>
                  <a:txBody>
                    <a:bodyPr/>
                    <a:lstStyle/>
                    <a:p>
                      <a:pPr algn="ctr"/>
                      <a:r>
                        <a:rPr kumimoji="1" lang="en-US" altLang="ja-JP" sz="1400" dirty="0"/>
                        <a:t>2017</a:t>
                      </a:r>
                      <a:endParaRPr kumimoji="1" lang="ja-JP" altLang="en-US" sz="14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5"/>
                        </a:rPr>
                        <a:t>https://www.jetro.go.jp/world/reports/2017/02/4a859bf448563ae0.html</a:t>
                      </a:r>
                      <a:endParaRPr lang="en-US" altLang="ja-JP" sz="1050" dirty="0"/>
                    </a:p>
                  </a:txBody>
                  <a:tcPr marL="36000" marR="36000" marT="0" marB="0"/>
                </a:tc>
                <a:extLst>
                  <a:ext uri="{0D108BD9-81ED-4DB2-BD59-A6C34878D82A}">
                    <a16:rowId xmlns:a16="http://schemas.microsoft.com/office/drawing/2014/main" val="2055452671"/>
                  </a:ext>
                </a:extLst>
              </a:tr>
              <a:tr h="517224">
                <a:tc>
                  <a:txBody>
                    <a:bodyPr/>
                    <a:lstStyle/>
                    <a:p>
                      <a:r>
                        <a:rPr lang="ja-JP" altLang="en-US" sz="1400" dirty="0"/>
                        <a:t>主要国・地域の健康長寿関連市場の動向</a:t>
                      </a:r>
                      <a:endParaRPr lang="en-US" altLang="ja-JP" sz="1400" dirty="0"/>
                    </a:p>
                    <a:p>
                      <a:r>
                        <a:rPr lang="ja-JP" altLang="en-US" sz="1400" dirty="0"/>
                        <a:t>調査</a:t>
                      </a:r>
                      <a:endParaRPr kumimoji="1" lang="ja-JP" altLang="en-US" sz="1400" dirty="0"/>
                    </a:p>
                  </a:txBody>
                  <a:tcPr marL="36000" marR="36000" marT="0" marB="0"/>
                </a:tc>
                <a:tc>
                  <a:txBody>
                    <a:bodyPr/>
                    <a:lstStyle/>
                    <a:p>
                      <a:pPr algn="ctr"/>
                      <a:r>
                        <a:rPr kumimoji="1" lang="en-US" altLang="ja-JP" sz="1400" dirty="0"/>
                        <a:t>2016</a:t>
                      </a:r>
                      <a:endParaRPr kumimoji="1" lang="ja-JP" altLang="en-US" sz="14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6"/>
                        </a:rPr>
                        <a:t>https://www.jetro.go.jp/world/reports/2016/02/995ecff75525fbb4.html</a:t>
                      </a:r>
                      <a:endParaRPr lang="en-US" altLang="ja-JP" sz="1050" dirty="0"/>
                    </a:p>
                  </a:txBody>
                  <a:tcPr marL="36000" marR="36000" marT="0" marB="0"/>
                </a:tc>
                <a:extLst>
                  <a:ext uri="{0D108BD9-81ED-4DB2-BD59-A6C34878D82A}">
                    <a16:rowId xmlns:a16="http://schemas.microsoft.com/office/drawing/2014/main" val="791464061"/>
                  </a:ext>
                </a:extLst>
              </a:tr>
              <a:tr h="517224">
                <a:tc>
                  <a:txBody>
                    <a:bodyPr/>
                    <a:lstStyle/>
                    <a:p>
                      <a:r>
                        <a:rPr lang="ja-JP" altLang="en-US" sz="1400" dirty="0"/>
                        <a:t>中東・北アフリカにおける医療機器市場に関する調査</a:t>
                      </a:r>
                      <a:endParaRPr kumimoji="1" lang="ja-JP" altLang="en-US" sz="1400" dirty="0"/>
                    </a:p>
                  </a:txBody>
                  <a:tcPr marL="36000" marR="36000" marT="0" marB="0"/>
                </a:tc>
                <a:tc>
                  <a:txBody>
                    <a:bodyPr/>
                    <a:lstStyle/>
                    <a:p>
                      <a:pPr algn="ctr"/>
                      <a:r>
                        <a:rPr kumimoji="1" lang="en-US" altLang="ja-JP" sz="1400" dirty="0"/>
                        <a:t>2011</a:t>
                      </a:r>
                      <a:endParaRPr kumimoji="1" lang="ja-JP" altLang="en-US" sz="14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7"/>
                        </a:rPr>
                        <a:t>https://www.jetro.go.jp/world/reports/2011/07000700.html</a:t>
                      </a:r>
                      <a:endParaRPr lang="en-US" altLang="ja-JP" sz="1050" dirty="0"/>
                    </a:p>
                  </a:txBody>
                  <a:tcPr marL="36000" marR="36000" marT="0" marB="0"/>
                </a:tc>
                <a:extLst>
                  <a:ext uri="{0D108BD9-81ED-4DB2-BD59-A6C34878D82A}">
                    <a16:rowId xmlns:a16="http://schemas.microsoft.com/office/drawing/2014/main" val="1710970755"/>
                  </a:ext>
                </a:extLst>
              </a:tr>
            </a:tbl>
          </a:graphicData>
        </a:graphic>
      </p:graphicFrame>
    </p:spTree>
    <p:extLst>
      <p:ext uri="{BB962C8B-B14F-4D97-AF65-F5344CB8AC3E}">
        <p14:creationId xmlns:p14="http://schemas.microsoft.com/office/powerpoint/2010/main" val="2013891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EDE342-869E-4AF2-B702-AE04FFB5FB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7" name="Object 6" hidden="1">
                        <a:extLst>
                          <a:ext uri="{FF2B5EF4-FFF2-40B4-BE49-F238E27FC236}">
                            <a16:creationId xmlns:a16="http://schemas.microsoft.com/office/drawing/2014/main" id="{76EDE342-869E-4AF2-B702-AE04FFB5FB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Autofit/>
          </a:bodyPr>
          <a:lstStyle/>
          <a:p>
            <a:r>
              <a:rPr lang="ja-JP" altLang="en-US" dirty="0"/>
              <a:t>サウジアラビア／一般概況</a:t>
            </a:r>
          </a:p>
        </p:txBody>
      </p:sp>
      <p:sp>
        <p:nvSpPr>
          <p:cNvPr id="8" name="テキスト プレースホルダー 7"/>
          <p:cNvSpPr>
            <a:spLocks noGrp="1"/>
          </p:cNvSpPr>
          <p:nvPr>
            <p:ph type="body" sz="quarter" idx="15"/>
          </p:nvPr>
        </p:nvSpPr>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762212276"/>
              </p:ext>
            </p:extLst>
          </p:nvPr>
        </p:nvGraphicFramePr>
        <p:xfrm>
          <a:off x="200472" y="1052736"/>
          <a:ext cx="9505056" cy="539873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リヤド</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ラビア語（公用語）</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solidFill>
                            <a:schemeClr val="tx1"/>
                          </a:solidFill>
                        </a:rPr>
                        <a:t>1</a:t>
                      </a:r>
                      <a:r>
                        <a:rPr lang="ja-JP" altLang="en-US" sz="1200" dirty="0">
                          <a:solidFill>
                            <a:schemeClr val="tx1"/>
                          </a:solidFill>
                        </a:rPr>
                        <a:t>サウジアラビア・リヤル（</a:t>
                      </a:r>
                      <a:r>
                        <a:rPr lang="en-US" altLang="ja-JP" sz="1200" dirty="0">
                          <a:solidFill>
                            <a:schemeClr val="tx1"/>
                          </a:solidFill>
                        </a:rPr>
                        <a:t>SRA</a:t>
                      </a:r>
                      <a:r>
                        <a:rPr lang="ja-JP" altLang="en-US" sz="1200" dirty="0">
                          <a:solidFill>
                            <a:schemeClr val="tx1"/>
                          </a:solidFill>
                        </a:rPr>
                        <a:t>）　＝　</a:t>
                      </a:r>
                      <a:r>
                        <a:rPr lang="en-US" altLang="ja-JP" sz="1200" dirty="0">
                          <a:solidFill>
                            <a:schemeClr val="tx1"/>
                          </a:solidFill>
                        </a:rPr>
                        <a:t>42.5</a:t>
                      </a:r>
                      <a:r>
                        <a:rPr lang="ja-JP" altLang="en-US" sz="1200" dirty="0">
                          <a:solidFill>
                            <a:schemeClr val="tx1"/>
                          </a:solidFill>
                        </a:rPr>
                        <a:t>円　</a:t>
                      </a:r>
                      <a:r>
                        <a:rPr lang="ja-JP" altLang="en-US" sz="1000" dirty="0">
                          <a:solidFill>
                            <a:schemeClr val="tx1"/>
                          </a:solidFill>
                        </a:rPr>
                        <a:t>（</a:t>
                      </a:r>
                      <a:r>
                        <a:rPr lang="en-US" altLang="ja-JP" sz="1000" dirty="0">
                          <a:solidFill>
                            <a:schemeClr val="tx1"/>
                          </a:solidFill>
                        </a:rPr>
                        <a:t>2026</a:t>
                      </a:r>
                      <a:r>
                        <a:rPr lang="ja-JP" altLang="en-US" sz="1000" dirty="0">
                          <a:solidFill>
                            <a:schemeClr val="tx1"/>
                          </a:solidFill>
                        </a:rPr>
                        <a:t>年</a:t>
                      </a:r>
                      <a:r>
                        <a:rPr lang="en-US" altLang="ja-JP" sz="1000" dirty="0">
                          <a:solidFill>
                            <a:schemeClr val="tx1"/>
                          </a:solidFill>
                        </a:rPr>
                        <a:t>3</a:t>
                      </a:r>
                      <a:r>
                        <a:rPr lang="ja-JP" altLang="en-US" sz="1000" dirty="0">
                          <a:solidFill>
                            <a:schemeClr val="tx1"/>
                          </a:solidFill>
                        </a:rPr>
                        <a:t>月</a:t>
                      </a:r>
                      <a:r>
                        <a:rPr lang="en-US" altLang="ja-JP" sz="1000" dirty="0">
                          <a:solidFill>
                            <a:schemeClr val="tx1"/>
                          </a:solidFill>
                        </a:rPr>
                        <a:t>10</a:t>
                      </a:r>
                      <a:r>
                        <a:rPr lang="ja-JP" altLang="en-US" sz="1000" dirty="0">
                          <a:solidFill>
                            <a:schemeClr val="tx1"/>
                          </a:solidFill>
                        </a:rPr>
                        <a:t>日時点）</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t>1</a:t>
                      </a:r>
                      <a:r>
                        <a:rPr lang="ja-JP" altLang="en-US" sz="1200" dirty="0"/>
                        <a:t>月から</a:t>
                      </a:r>
                      <a:r>
                        <a:rPr lang="en-US" altLang="ja-JP" sz="1200" dirty="0"/>
                        <a:t>12</a:t>
                      </a:r>
                      <a:r>
                        <a:rPr lang="ja-JP" altLang="en-US" sz="1200" dirty="0"/>
                        <a:t>月の</a:t>
                      </a:r>
                      <a:r>
                        <a:rPr lang="en-US" altLang="ja-JP" sz="1200" dirty="0"/>
                        <a:t>1</a:t>
                      </a:r>
                      <a:r>
                        <a:rPr lang="ja-JP" altLang="en-US" sz="1200" dirty="0"/>
                        <a:t>年間</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イスラム教</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君主制</a:t>
                      </a:r>
                      <a:endParaRPr kumimoji="1" lang="ja-JP" altLang="en-US" sz="1200" b="0" dirty="0">
                        <a:solidFill>
                          <a:schemeClr val="tx1"/>
                        </a:solidFill>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527559">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サルマン王国及びムハンマド副皇太子（当時）主導のもと「サウジ・ビジョン</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策定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までのサウジ社会の石油依存からの脱却と産業多角化等を中心とした改革の実現に向けて各種政策を進め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アブドッラー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国王の崩御に伴い、サルマン皇太子が即位。同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指導者の世代交代が進展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国王が首相を務めると規定する統治基本法の例外として、国王令によりムハンマド・ビン・サルマン皇太子が首相に就任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王制の維持、イスラム法の堅持及び国内開発の推進を基本方針とし、国王が首相を兼任し閣僚会議を主宰する。重要ポストは王族が占める。伝統的に国内有力者の間のコンセンサスを重んじる慎重な政策運営が基本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降、女性の政治参加の範囲が徐々に拡大され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070120">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ジャーザーン州，アシール州，ナジュラーン州，東部州のイエメンとの国境地帯には、渡航中止勧告（レベル３）が出ている。イラクとの国境地帯には、不要不急の渡航は避ける（レベル２）、それ以外の全土に、十分注意（レベル１）となっている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ウジアラビアの治安情勢は、周辺諸国の情勢と不可分であり、特にイランやイエメン、イラクの情勢をはじめとする周辺紛争地域の状況がサウジアラビアの治安情勢に及ぼす影響に注意が必要であ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テロ容疑での指名手配犯が摘発時に自爆し負傷者が出る事案が発生し、同国内にテロを企図するイスラム過激主義者が潜伏している可能性が再確認されたことから引き続き、テロへの警戒が必要であ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53954">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その他</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世界最大級の石油大国（</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当たりの原油生産量はアメリカに次いで世界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位（</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であっ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若者の雇用機会の増大及び石油依存からの脱却が最重要課題となっており、「サウジ・ビジョン</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もと、観光振興や女性の労働参画推進等を含む包括的な社会経済改革の方針が示され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4" name="テキスト ボックス 3"/>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外務省</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ETRO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Exchange-rate.org</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P</a:t>
            </a:r>
            <a:r>
              <a:rPr lang="ja-JP" altLang="en-US" sz="800" dirty="0">
                <a:solidFill>
                  <a:srgbClr val="000000"/>
                </a:solidFill>
                <a:cs typeface="Arial" panose="020B0604020202020204" pitchFamily="34" charset="0"/>
              </a:rPr>
              <a:t>グループ「</a:t>
            </a:r>
            <a:r>
              <a:rPr lang="en-US" altLang="ja-JP" sz="800" dirty="0">
                <a:solidFill>
                  <a:srgbClr val="000000"/>
                </a:solidFill>
                <a:cs typeface="Arial" panose="020B0604020202020204" pitchFamily="34" charset="0"/>
              </a:rPr>
              <a:t>BP</a:t>
            </a:r>
            <a:r>
              <a:rPr lang="ja-JP" altLang="en-US" sz="800" dirty="0">
                <a:solidFill>
                  <a:srgbClr val="000000"/>
                </a:solidFill>
                <a:cs typeface="Arial" panose="020B0604020202020204" pitchFamily="34" charset="0"/>
              </a:rPr>
              <a:t>世界エネルギー統計</a:t>
            </a:r>
            <a:r>
              <a:rPr lang="en-US" altLang="ja-JP" sz="800" dirty="0">
                <a:solidFill>
                  <a:srgbClr val="000000"/>
                </a:solidFill>
                <a:cs typeface="Arial" panose="020B0604020202020204" pitchFamily="34" charset="0"/>
              </a:rPr>
              <a:t>2022</a:t>
            </a:r>
            <a:r>
              <a:rPr lang="ja-JP" altLang="en-US" sz="800" dirty="0">
                <a:solidFill>
                  <a:srgbClr val="000000"/>
                </a:solidFill>
                <a:cs typeface="Arial" panose="020B0604020202020204" pitchFamily="34" charset="0"/>
              </a:rPr>
              <a:t>年」 </a:t>
            </a:r>
          </a:p>
        </p:txBody>
      </p:sp>
    </p:spTree>
    <p:extLst>
      <p:ext uri="{BB962C8B-B14F-4D97-AF65-F5344CB8AC3E}">
        <p14:creationId xmlns:p14="http://schemas.microsoft.com/office/powerpoint/2010/main" val="32160279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1460402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88" imgW="270" imgH="270" progId="TCLayout.ActiveDocument.1">
                  <p:embed/>
                </p:oleObj>
              </mc:Choice>
              <mc:Fallback>
                <p:oleObj name="think-cellスライド" r:id="rId288" imgW="270" imgH="270" progId="TCLayout.ActiveDocument.1">
                  <p:embed/>
                  <p:pic>
                    <p:nvPicPr>
                      <p:cNvPr id="7" name="オブジェクト 6" hidden="1"/>
                      <p:cNvPicPr>
                        <a:picLocks noChangeAspect="1" noChangeArrowheads="1"/>
                      </p:cNvPicPr>
                      <p:nvPr/>
                    </p:nvPicPr>
                    <p:blipFill>
                      <a:blip r:embed="rId28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574675" y="182266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574675" y="4076700"/>
            <a:ext cx="8642350" cy="287338"/>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321653" y="2330519"/>
            <a:ext cx="1428700" cy="1884785"/>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067813"/>
            <a:ext cx="9457429" cy="47070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2025</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年には人口は</a:t>
            </a: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3400</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万人となり、</a:t>
            </a: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2030</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年以降は人口増加率は</a:t>
            </a: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1%</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a:t>
            </a: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1.5%</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程度で推移する</a:t>
            </a:r>
            <a:r>
              <a:rPr lang="ja-JP" altLang="en-US" sz="1400" dirty="0">
                <a:solidFill>
                  <a:srgbClr val="000000"/>
                </a:solidFill>
                <a:latin typeface="+mj-ea"/>
                <a:ea typeface="+mj-ea"/>
                <a:cs typeface="Arial" panose="020B0604020202020204" pitchFamily="34" charset="0"/>
              </a:rPr>
              <a:t>見込みである。</a:t>
            </a:r>
            <a:endPar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mj-ea"/>
                <a:ea typeface="+mj-ea"/>
                <a:cs typeface="Arial" panose="020B0604020202020204" pitchFamily="34" charset="0"/>
              </a:rPr>
              <a:t>2050</a:t>
            </a:r>
            <a:r>
              <a:rPr lang="ja-JP" altLang="en-US" sz="1400" dirty="0">
                <a:solidFill>
                  <a:srgbClr val="000000"/>
                </a:solidFill>
                <a:latin typeface="+mj-ea"/>
                <a:ea typeface="+mj-ea"/>
                <a:cs typeface="Arial" panose="020B0604020202020204" pitchFamily="34" charset="0"/>
              </a:rPr>
              <a:t>年には約</a:t>
            </a:r>
            <a:r>
              <a:rPr lang="en-US" altLang="ja-JP" sz="1400" dirty="0">
                <a:solidFill>
                  <a:srgbClr val="000000"/>
                </a:solidFill>
                <a:latin typeface="+mj-ea"/>
                <a:ea typeface="+mj-ea"/>
                <a:cs typeface="Arial" panose="020B0604020202020204" pitchFamily="34" charset="0"/>
              </a:rPr>
              <a:t>4,700</a:t>
            </a:r>
            <a:r>
              <a:rPr lang="ja-JP" altLang="en-US" sz="1400" dirty="0">
                <a:solidFill>
                  <a:srgbClr val="000000"/>
                </a:solidFill>
                <a:latin typeface="+mj-ea"/>
                <a:ea typeface="+mj-ea"/>
                <a:cs typeface="Arial" panose="020B0604020202020204" pitchFamily="34" charset="0"/>
              </a:rPr>
              <a:t>万人に増加すると予測されている。</a:t>
            </a:r>
            <a:endParaRPr kumimoji="1" lang="ja-JP" altLang="en-US" sz="1400" b="0" i="0" u="none" strike="noStrike" kern="1200" cap="none" spc="0" normalizeH="0" noProof="0" dirty="0">
              <a:ln>
                <a:noFill/>
              </a:ln>
              <a:solidFill>
                <a:srgbClr val="000000"/>
              </a:solidFill>
              <a:effectLst/>
              <a:uLnTx/>
              <a:uFillTx/>
              <a:latin typeface="+mj-ea"/>
              <a:ea typeface="+mj-ea"/>
              <a:cs typeface="Arial" panose="020B0604020202020204" pitchFamily="34" charset="0"/>
            </a:endParaRPr>
          </a:p>
        </p:txBody>
      </p:sp>
      <p:grpSp>
        <p:nvGrpSpPr>
          <p:cNvPr id="66" name="グループ化 65"/>
          <p:cNvGrpSpPr/>
          <p:nvPr/>
        </p:nvGrpSpPr>
        <p:grpSpPr>
          <a:xfrm>
            <a:off x="8309886" y="4364831"/>
            <a:ext cx="1390650" cy="2119469"/>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128464" y="6382700"/>
            <a:ext cx="5616575" cy="144463"/>
          </a:xfrm>
          <a:prstGeom prst="rect">
            <a:avLst/>
          </a:prstGeom>
          <a:noFill/>
        </p:spPr>
        <p:txBody>
          <a:bodyPr wrap="square" lIns="0" tIns="0" rIns="0" bIns="0" rtlCol="0">
            <a:noAutofit/>
          </a:bodyPr>
          <a:lstStyle/>
          <a:p>
            <a:pPr>
              <a:spcAft>
                <a:spcPts val="100"/>
              </a:spcAf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 2024</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7" name="Straight Connector 86"/>
          <p:cNvCxnSpPr/>
          <p:nvPr>
            <p:custDataLst>
              <p:tags r:id="rId3"/>
            </p:custDataLst>
          </p:nvPr>
        </p:nvCxnSpPr>
        <p:spPr bwMode="gray">
          <a:xfrm>
            <a:off x="8455025" y="148431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62083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5"/>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6"/>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7"/>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194" name="Straight Connector 193">
            <a:extLst>
              <a:ext uri="{FF2B5EF4-FFF2-40B4-BE49-F238E27FC236}">
                <a16:creationId xmlns:a16="http://schemas.microsoft.com/office/drawing/2014/main" id="{BB56814A-F45C-4E84-B84B-6713A08CA0D8}"/>
              </a:ext>
            </a:extLst>
          </p:cNvPr>
          <p:cNvCxnSpPr/>
          <p:nvPr>
            <p:custDataLst>
              <p:tags r:id="rId8"/>
            </p:custDataLst>
          </p:nvPr>
        </p:nvCxnSpPr>
        <p:spPr bwMode="auto">
          <a:xfrm>
            <a:off x="2352675"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9"/>
            </p:custDataLst>
          </p:nvPr>
        </p:nvCxnSpPr>
        <p:spPr bwMode="auto">
          <a:xfrm>
            <a:off x="2647950"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A8D9D19E-6CE9-A8EB-F069-C49A57C0A328}"/>
              </a:ext>
            </a:extLst>
          </p:cNvPr>
          <p:cNvCxnSpPr/>
          <p:nvPr>
            <p:custDataLst>
              <p:tags r:id="rId10"/>
            </p:custDataLst>
          </p:nvPr>
        </p:nvCxnSpPr>
        <p:spPr bwMode="auto">
          <a:xfrm>
            <a:off x="8864600" y="4656138"/>
            <a:ext cx="109538" cy="396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95C07A52-1B69-48E7-1262-49EDA25C1543}"/>
              </a:ext>
            </a:extLst>
          </p:cNvPr>
          <p:cNvCxnSpPr/>
          <p:nvPr>
            <p:custDataLst>
              <p:tags r:id="rId11"/>
            </p:custDataLst>
          </p:nvPr>
        </p:nvCxnSpPr>
        <p:spPr bwMode="auto">
          <a:xfrm>
            <a:off x="8864600"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11D2EE5F-5E30-FBFC-C3E6-4FAEAD94B1F0}"/>
              </a:ext>
            </a:extLst>
          </p:cNvPr>
          <p:cNvCxnSpPr/>
          <p:nvPr>
            <p:custDataLst>
              <p:tags r:id="rId12"/>
            </p:custDataLst>
          </p:nvPr>
        </p:nvCxnSpPr>
        <p:spPr bwMode="auto">
          <a:xfrm>
            <a:off x="8567738" y="5665788"/>
            <a:ext cx="111125" cy="142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3"/>
            </p:custDataLst>
          </p:nvPr>
        </p:nvCxnSpPr>
        <p:spPr bwMode="auto">
          <a:xfrm>
            <a:off x="2352675" y="5519738"/>
            <a:ext cx="10953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8" name="Straight Connector 367">
            <a:extLst>
              <a:ext uri="{FF2B5EF4-FFF2-40B4-BE49-F238E27FC236}">
                <a16:creationId xmlns:a16="http://schemas.microsoft.com/office/drawing/2014/main" id="{6E78D772-D00A-A546-4132-EBE6516690E9}"/>
              </a:ext>
            </a:extLst>
          </p:cNvPr>
          <p:cNvCxnSpPr/>
          <p:nvPr>
            <p:custDataLst>
              <p:tags r:id="rId14"/>
            </p:custDataLst>
          </p:nvPr>
        </p:nvCxnSpPr>
        <p:spPr bwMode="auto">
          <a:xfrm>
            <a:off x="8567738" y="4632325"/>
            <a:ext cx="111125" cy="238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2DB82980-4957-36DB-13C7-CB576FEE16F3}"/>
              </a:ext>
            </a:extLst>
          </p:cNvPr>
          <p:cNvCxnSpPr/>
          <p:nvPr>
            <p:custDataLst>
              <p:tags r:id="rId15"/>
            </p:custDataLst>
          </p:nvPr>
        </p:nvCxnSpPr>
        <p:spPr bwMode="auto">
          <a:xfrm>
            <a:off x="8567738"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16"/>
            </p:custDataLst>
          </p:nvPr>
        </p:nvCxnSpPr>
        <p:spPr bwMode="auto">
          <a:xfrm>
            <a:off x="7680325" y="5646739"/>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a:cxnSpLocks/>
          </p:cNvCxnSpPr>
          <p:nvPr>
            <p:custDataLst>
              <p:tags r:id="rId17"/>
            </p:custDataLst>
          </p:nvPr>
        </p:nvCxnSpPr>
        <p:spPr bwMode="auto">
          <a:xfrm>
            <a:off x="2352675" y="4613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8"/>
            </p:custDataLst>
          </p:nvPr>
        </p:nvCxnSpPr>
        <p:spPr bwMode="auto">
          <a:xfrm>
            <a:off x="7680325" y="462121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9"/>
            </p:custDataLst>
          </p:nvPr>
        </p:nvCxnSpPr>
        <p:spPr bwMode="auto">
          <a:xfrm>
            <a:off x="7680325"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20"/>
            </p:custDataLst>
          </p:nvPr>
        </p:nvCxnSpPr>
        <p:spPr bwMode="auto">
          <a:xfrm>
            <a:off x="7383463" y="563880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21"/>
            </p:custDataLst>
          </p:nvPr>
        </p:nvCxnSpPr>
        <p:spPr bwMode="auto">
          <a:xfrm>
            <a:off x="1168400"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22"/>
            </p:custDataLst>
          </p:nvPr>
        </p:nvCxnSpPr>
        <p:spPr bwMode="auto">
          <a:xfrm>
            <a:off x="7383463"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23"/>
            </p:custDataLst>
          </p:nvPr>
        </p:nvCxnSpPr>
        <p:spPr bwMode="auto">
          <a:xfrm>
            <a:off x="7088188" y="5630863"/>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24"/>
            </p:custDataLst>
          </p:nvPr>
        </p:nvCxnSpPr>
        <p:spPr bwMode="auto">
          <a:xfrm>
            <a:off x="7088188" y="46180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25"/>
            </p:custDataLst>
          </p:nvPr>
        </p:nvCxnSpPr>
        <p:spPr bwMode="auto">
          <a:xfrm>
            <a:off x="2055813" y="5500687"/>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26"/>
            </p:custDataLst>
          </p:nvPr>
        </p:nvCxnSpPr>
        <p:spPr bwMode="auto">
          <a:xfrm>
            <a:off x="7088188"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a:cxnSpLocks/>
          </p:cNvCxnSpPr>
          <p:nvPr>
            <p:custDataLst>
              <p:tags r:id="rId27"/>
            </p:custDataLst>
          </p:nvPr>
        </p:nvCxnSpPr>
        <p:spPr bwMode="auto">
          <a:xfrm>
            <a:off x="6791325" y="56276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28"/>
            </p:custDataLst>
          </p:nvPr>
        </p:nvCxnSpPr>
        <p:spPr bwMode="auto">
          <a:xfrm>
            <a:off x="6791325" y="46164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a:cxnSpLocks/>
          </p:cNvCxnSpPr>
          <p:nvPr>
            <p:custDataLst>
              <p:tags r:id="rId29"/>
            </p:custDataLst>
          </p:nvPr>
        </p:nvCxnSpPr>
        <p:spPr bwMode="auto">
          <a:xfrm>
            <a:off x="2055813" y="46132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30"/>
            </p:custDataLst>
          </p:nvPr>
        </p:nvCxnSpPr>
        <p:spPr bwMode="auto">
          <a:xfrm>
            <a:off x="6791325"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a:cxnSpLocks/>
          </p:cNvCxnSpPr>
          <p:nvPr>
            <p:custDataLst>
              <p:tags r:id="rId31"/>
            </p:custDataLst>
          </p:nvPr>
        </p:nvCxnSpPr>
        <p:spPr bwMode="auto">
          <a:xfrm>
            <a:off x="6496050" y="5622925"/>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32"/>
            </p:custDataLst>
          </p:nvPr>
        </p:nvCxnSpPr>
        <p:spPr bwMode="auto">
          <a:xfrm>
            <a:off x="6496050" y="461486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33"/>
            </p:custDataLst>
          </p:nvPr>
        </p:nvCxnSpPr>
        <p:spPr bwMode="auto">
          <a:xfrm>
            <a:off x="7383463" y="46196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34"/>
            </p:custDataLst>
          </p:nvPr>
        </p:nvCxnSpPr>
        <p:spPr bwMode="auto">
          <a:xfrm>
            <a:off x="6496050"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a:cxnSpLocks/>
          </p:cNvCxnSpPr>
          <p:nvPr>
            <p:custDataLst>
              <p:tags r:id="rId35"/>
            </p:custDataLst>
          </p:nvPr>
        </p:nvCxnSpPr>
        <p:spPr bwMode="auto">
          <a:xfrm flipV="1">
            <a:off x="6200775" y="56229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36"/>
            </p:custDataLst>
          </p:nvPr>
        </p:nvCxnSpPr>
        <p:spPr bwMode="auto">
          <a:xfrm>
            <a:off x="6200775" y="4614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37"/>
            </p:custDataLst>
          </p:nvPr>
        </p:nvCxnSpPr>
        <p:spPr bwMode="auto">
          <a:xfrm>
            <a:off x="2055813"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38"/>
            </p:custDataLst>
          </p:nvPr>
        </p:nvCxnSpPr>
        <p:spPr bwMode="auto">
          <a:xfrm>
            <a:off x="6200775"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a:cxnSpLocks/>
          </p:cNvCxnSpPr>
          <p:nvPr>
            <p:custDataLst>
              <p:tags r:id="rId39"/>
            </p:custDataLst>
          </p:nvPr>
        </p:nvCxnSpPr>
        <p:spPr bwMode="auto">
          <a:xfrm flipV="1">
            <a:off x="5903913" y="5624512"/>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40"/>
            </p:custDataLst>
          </p:nvPr>
        </p:nvCxnSpPr>
        <p:spPr bwMode="auto">
          <a:xfrm>
            <a:off x="5903913" y="4613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41"/>
            </p:custDataLst>
          </p:nvPr>
        </p:nvCxnSpPr>
        <p:spPr bwMode="auto">
          <a:xfrm>
            <a:off x="871538"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42"/>
            </p:custDataLst>
          </p:nvPr>
        </p:nvCxnSpPr>
        <p:spPr bwMode="auto">
          <a:xfrm>
            <a:off x="5903913"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43"/>
            </p:custDataLst>
          </p:nvPr>
        </p:nvCxnSpPr>
        <p:spPr bwMode="auto">
          <a:xfrm flipV="1">
            <a:off x="5608638" y="563086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a:cxnSpLocks/>
          </p:cNvCxnSpPr>
          <p:nvPr>
            <p:custDataLst>
              <p:tags r:id="rId44"/>
            </p:custDataLst>
          </p:nvPr>
        </p:nvCxnSpPr>
        <p:spPr bwMode="auto">
          <a:xfrm>
            <a:off x="5608638" y="46116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45"/>
            </p:custDataLst>
          </p:nvPr>
        </p:nvCxnSpPr>
        <p:spPr bwMode="auto">
          <a:xfrm>
            <a:off x="1760538" y="5483225"/>
            <a:ext cx="10953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46"/>
            </p:custDataLst>
          </p:nvPr>
        </p:nvCxnSpPr>
        <p:spPr bwMode="auto">
          <a:xfrm>
            <a:off x="5608638"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47"/>
            </p:custDataLst>
          </p:nvPr>
        </p:nvCxnSpPr>
        <p:spPr bwMode="auto">
          <a:xfrm>
            <a:off x="5311775" y="56324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48"/>
            </p:custDataLst>
          </p:nvPr>
        </p:nvCxnSpPr>
        <p:spPr bwMode="auto">
          <a:xfrm>
            <a:off x="5311775" y="46116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a:cxnSpLocks/>
          </p:cNvCxnSpPr>
          <p:nvPr>
            <p:custDataLst>
              <p:tags r:id="rId49"/>
            </p:custDataLst>
          </p:nvPr>
        </p:nvCxnSpPr>
        <p:spPr bwMode="auto">
          <a:xfrm>
            <a:off x="1760538" y="4613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50"/>
            </p:custDataLst>
          </p:nvPr>
        </p:nvCxnSpPr>
        <p:spPr bwMode="auto">
          <a:xfrm>
            <a:off x="5311775"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51"/>
            </p:custDataLst>
          </p:nvPr>
        </p:nvCxnSpPr>
        <p:spPr bwMode="auto">
          <a:xfrm>
            <a:off x="5016500" y="5627688"/>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a:cxnSpLocks/>
          </p:cNvCxnSpPr>
          <p:nvPr>
            <p:custDataLst>
              <p:tags r:id="rId52"/>
            </p:custDataLst>
          </p:nvPr>
        </p:nvCxnSpPr>
        <p:spPr bwMode="auto">
          <a:xfrm flipV="1">
            <a:off x="5016500" y="46116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53"/>
            </p:custDataLst>
          </p:nvPr>
        </p:nvCxnSpPr>
        <p:spPr bwMode="auto">
          <a:xfrm>
            <a:off x="1760538"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54"/>
            </p:custDataLst>
          </p:nvPr>
        </p:nvCxnSpPr>
        <p:spPr bwMode="auto">
          <a:xfrm>
            <a:off x="5016500"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55"/>
            </p:custDataLst>
          </p:nvPr>
        </p:nvCxnSpPr>
        <p:spPr bwMode="auto">
          <a:xfrm>
            <a:off x="4719638" y="562292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56"/>
            </p:custDataLst>
          </p:nvPr>
        </p:nvCxnSpPr>
        <p:spPr bwMode="auto">
          <a:xfrm>
            <a:off x="4719638" y="46132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57"/>
            </p:custDataLst>
          </p:nvPr>
        </p:nvCxnSpPr>
        <p:spPr bwMode="auto">
          <a:xfrm>
            <a:off x="871538" y="5446713"/>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58"/>
            </p:custDataLst>
          </p:nvPr>
        </p:nvCxnSpPr>
        <p:spPr bwMode="auto">
          <a:xfrm>
            <a:off x="4719638"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59"/>
            </p:custDataLst>
          </p:nvPr>
        </p:nvCxnSpPr>
        <p:spPr bwMode="auto">
          <a:xfrm>
            <a:off x="4424363" y="5614987"/>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a:cxnSpLocks/>
          </p:cNvCxnSpPr>
          <p:nvPr>
            <p:custDataLst>
              <p:tags r:id="rId60"/>
            </p:custDataLst>
          </p:nvPr>
        </p:nvCxnSpPr>
        <p:spPr bwMode="auto">
          <a:xfrm flipV="1">
            <a:off x="4424363" y="46132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61"/>
            </p:custDataLst>
          </p:nvPr>
        </p:nvCxnSpPr>
        <p:spPr bwMode="auto">
          <a:xfrm>
            <a:off x="1463675" y="5468937"/>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62"/>
            </p:custDataLst>
          </p:nvPr>
        </p:nvCxnSpPr>
        <p:spPr bwMode="auto">
          <a:xfrm>
            <a:off x="4424363"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63"/>
            </p:custDataLst>
          </p:nvPr>
        </p:nvCxnSpPr>
        <p:spPr bwMode="auto">
          <a:xfrm>
            <a:off x="4127500" y="56070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64"/>
            </p:custDataLst>
          </p:nvPr>
        </p:nvCxnSpPr>
        <p:spPr bwMode="auto">
          <a:xfrm>
            <a:off x="4127500" y="4614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65"/>
            </p:custDataLst>
          </p:nvPr>
        </p:nvCxnSpPr>
        <p:spPr bwMode="auto">
          <a:xfrm>
            <a:off x="1463675" y="46132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66"/>
            </p:custDataLst>
          </p:nvPr>
        </p:nvCxnSpPr>
        <p:spPr bwMode="auto">
          <a:xfrm>
            <a:off x="4127500"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67"/>
            </p:custDataLst>
          </p:nvPr>
        </p:nvCxnSpPr>
        <p:spPr bwMode="auto">
          <a:xfrm>
            <a:off x="3832225" y="5597525"/>
            <a:ext cx="10953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68"/>
            </p:custDataLst>
          </p:nvPr>
        </p:nvCxnSpPr>
        <p:spPr bwMode="auto">
          <a:xfrm>
            <a:off x="3832225" y="4614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69"/>
            </p:custDataLst>
          </p:nvPr>
        </p:nvCxnSpPr>
        <p:spPr bwMode="auto">
          <a:xfrm>
            <a:off x="1463675"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70"/>
            </p:custDataLst>
          </p:nvPr>
        </p:nvCxnSpPr>
        <p:spPr bwMode="auto">
          <a:xfrm>
            <a:off x="3832225"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71"/>
            </p:custDataLst>
          </p:nvPr>
        </p:nvCxnSpPr>
        <p:spPr bwMode="auto">
          <a:xfrm>
            <a:off x="3535363" y="5584824"/>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a:cxnSpLocks/>
          </p:cNvCxnSpPr>
          <p:nvPr>
            <p:custDataLst>
              <p:tags r:id="rId72"/>
            </p:custDataLst>
          </p:nvPr>
        </p:nvCxnSpPr>
        <p:spPr bwMode="auto">
          <a:xfrm>
            <a:off x="3535363" y="4614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73"/>
            </p:custDataLst>
          </p:nvPr>
        </p:nvCxnSpPr>
        <p:spPr bwMode="auto">
          <a:xfrm>
            <a:off x="871538" y="46116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74"/>
            </p:custDataLst>
          </p:nvPr>
        </p:nvCxnSpPr>
        <p:spPr bwMode="auto">
          <a:xfrm>
            <a:off x="3535363"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75"/>
            </p:custDataLst>
          </p:nvPr>
        </p:nvCxnSpPr>
        <p:spPr bwMode="auto">
          <a:xfrm>
            <a:off x="3240088" y="5570538"/>
            <a:ext cx="10953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a:cxnSpLocks/>
          </p:cNvCxnSpPr>
          <p:nvPr>
            <p:custDataLst>
              <p:tags r:id="rId76"/>
            </p:custDataLst>
          </p:nvPr>
        </p:nvCxnSpPr>
        <p:spPr bwMode="auto">
          <a:xfrm>
            <a:off x="3240088" y="4614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77"/>
            </p:custDataLst>
          </p:nvPr>
        </p:nvCxnSpPr>
        <p:spPr bwMode="auto">
          <a:xfrm>
            <a:off x="1168400" y="5456237"/>
            <a:ext cx="1095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78"/>
            </p:custDataLst>
          </p:nvPr>
        </p:nvCxnSpPr>
        <p:spPr bwMode="auto">
          <a:xfrm>
            <a:off x="3240088"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79"/>
            </p:custDataLst>
          </p:nvPr>
        </p:nvCxnSpPr>
        <p:spPr bwMode="auto">
          <a:xfrm>
            <a:off x="2944813" y="5554663"/>
            <a:ext cx="109538"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a:cxnSpLocks/>
          </p:cNvCxnSpPr>
          <p:nvPr>
            <p:custDataLst>
              <p:tags r:id="rId80"/>
            </p:custDataLst>
          </p:nvPr>
        </p:nvCxnSpPr>
        <p:spPr bwMode="auto">
          <a:xfrm>
            <a:off x="2944813" y="4614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a:cxnSpLocks/>
          </p:cNvCxnSpPr>
          <p:nvPr>
            <p:custDataLst>
              <p:tags r:id="rId81"/>
            </p:custDataLst>
          </p:nvPr>
        </p:nvCxnSpPr>
        <p:spPr bwMode="auto">
          <a:xfrm>
            <a:off x="1168400" y="4613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82"/>
            </p:custDataLst>
          </p:nvPr>
        </p:nvCxnSpPr>
        <p:spPr bwMode="auto">
          <a:xfrm>
            <a:off x="2944813"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83"/>
            </p:custDataLst>
          </p:nvPr>
        </p:nvCxnSpPr>
        <p:spPr bwMode="auto">
          <a:xfrm>
            <a:off x="2647950" y="5537200"/>
            <a:ext cx="111125"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a:cxnSpLocks/>
          </p:cNvCxnSpPr>
          <p:nvPr>
            <p:custDataLst>
              <p:tags r:id="rId84"/>
            </p:custDataLst>
          </p:nvPr>
        </p:nvCxnSpPr>
        <p:spPr bwMode="auto">
          <a:xfrm>
            <a:off x="2647950" y="4613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5E05CC32-5CFE-9DF2-3C6D-1F2C775B7DD0}"/>
              </a:ext>
            </a:extLst>
          </p:cNvPr>
          <p:cNvCxnSpPr/>
          <p:nvPr>
            <p:custDataLst>
              <p:tags r:id="rId85"/>
            </p:custDataLst>
          </p:nvPr>
        </p:nvCxnSpPr>
        <p:spPr bwMode="auto">
          <a:xfrm>
            <a:off x="8864600" y="5680075"/>
            <a:ext cx="109538"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374CCA75-6BA5-19FB-6A5A-0E3C3F3C0320}"/>
              </a:ext>
            </a:extLst>
          </p:cNvPr>
          <p:cNvCxnSpPr>
            <a:cxnSpLocks/>
          </p:cNvCxnSpPr>
          <p:nvPr>
            <p:custDataLst>
              <p:tags r:id="rId86"/>
            </p:custDataLst>
          </p:nvPr>
        </p:nvCxnSpPr>
        <p:spPr bwMode="auto">
          <a:xfrm>
            <a:off x="8272463"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8E016A4B-D3CD-41A1-0839-6DB907B5E48D}"/>
              </a:ext>
            </a:extLst>
          </p:cNvPr>
          <p:cNvCxnSpPr>
            <a:cxnSpLocks/>
          </p:cNvCxnSpPr>
          <p:nvPr>
            <p:custDataLst>
              <p:tags r:id="rId87"/>
            </p:custDataLst>
          </p:nvPr>
        </p:nvCxnSpPr>
        <p:spPr bwMode="auto">
          <a:xfrm>
            <a:off x="8272463" y="4624388"/>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69FB4902-BEF7-6A95-0079-D510DCF23A20}"/>
              </a:ext>
            </a:extLst>
          </p:cNvPr>
          <p:cNvCxnSpPr>
            <a:cxnSpLocks/>
          </p:cNvCxnSpPr>
          <p:nvPr>
            <p:custDataLst>
              <p:tags r:id="rId88"/>
            </p:custDataLst>
          </p:nvPr>
        </p:nvCxnSpPr>
        <p:spPr bwMode="auto">
          <a:xfrm>
            <a:off x="8272463" y="5653088"/>
            <a:ext cx="1095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0D3F45AA-2DC8-8E6A-A2C7-3C028788C4F8}"/>
              </a:ext>
            </a:extLst>
          </p:cNvPr>
          <p:cNvCxnSpPr/>
          <p:nvPr>
            <p:custDataLst>
              <p:tags r:id="rId89"/>
            </p:custDataLst>
          </p:nvPr>
        </p:nvCxnSpPr>
        <p:spPr bwMode="auto">
          <a:xfrm>
            <a:off x="7975600"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5516A192-83E1-9E6D-F5E2-7C167D653429}"/>
              </a:ext>
            </a:extLst>
          </p:cNvPr>
          <p:cNvCxnSpPr/>
          <p:nvPr>
            <p:custDataLst>
              <p:tags r:id="rId90"/>
            </p:custDataLst>
          </p:nvPr>
        </p:nvCxnSpPr>
        <p:spPr bwMode="auto">
          <a:xfrm>
            <a:off x="7975600" y="46228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4BF7AEBF-0A2E-4347-DD80-136AA96DE8D7}"/>
              </a:ext>
            </a:extLst>
          </p:cNvPr>
          <p:cNvCxnSpPr/>
          <p:nvPr>
            <p:custDataLst>
              <p:tags r:id="rId91"/>
            </p:custDataLst>
          </p:nvPr>
        </p:nvCxnSpPr>
        <p:spPr bwMode="auto">
          <a:xfrm>
            <a:off x="7975600" y="564991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38" name="Chart 337">
            <a:extLst>
              <a:ext uri="{FF2B5EF4-FFF2-40B4-BE49-F238E27FC236}">
                <a16:creationId xmlns:a16="http://schemas.microsoft.com/office/drawing/2014/main" id="{276C869F-3776-9475-0F0B-C98C99249EDC}"/>
              </a:ext>
            </a:extLst>
          </p:cNvPr>
          <p:cNvGraphicFramePr/>
          <p:nvPr>
            <p:custDataLst>
              <p:tags r:id="rId92"/>
            </p:custDataLst>
            <p:extLst>
              <p:ext uri="{D42A27DB-BD31-4B8C-83A1-F6EECF244321}">
                <p14:modId xmlns:p14="http://schemas.microsoft.com/office/powerpoint/2010/main" val="2744553744"/>
              </p:ext>
            </p:extLst>
          </p:nvPr>
        </p:nvGraphicFramePr>
        <p:xfrm>
          <a:off x="85725" y="4254500"/>
          <a:ext cx="9212263" cy="1955800"/>
        </p:xfrm>
        <a:graphic>
          <a:graphicData uri="http://schemas.openxmlformats.org/drawingml/2006/chart">
            <c:chart xmlns:c="http://schemas.openxmlformats.org/drawingml/2006/chart" xmlns:r="http://schemas.openxmlformats.org/officeDocument/2006/relationships" r:id="rId290"/>
          </a:graphicData>
        </a:graphic>
      </p:graphicFrame>
      <p:cxnSp>
        <p:nvCxnSpPr>
          <p:cNvPr id="304" name="Straight Connector 303">
            <a:extLst>
              <a:ext uri="{FF2B5EF4-FFF2-40B4-BE49-F238E27FC236}">
                <a16:creationId xmlns:a16="http://schemas.microsoft.com/office/drawing/2014/main" id="{862E24AD-0514-4294-89EE-608BB4AEFAA9}"/>
              </a:ext>
            </a:extLst>
          </p:cNvPr>
          <p:cNvCxnSpPr/>
          <p:nvPr>
            <p:custDataLst>
              <p:tags r:id="rId93"/>
            </p:custDataLst>
          </p:nvPr>
        </p:nvCxnSpPr>
        <p:spPr bwMode="auto">
          <a:xfrm>
            <a:off x="314642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94"/>
            </p:custDataLst>
          </p:nvPr>
        </p:nvCxnSpPr>
        <p:spPr bwMode="auto">
          <a:xfrm>
            <a:off x="344170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95"/>
            </p:custDataLst>
          </p:nvPr>
        </p:nvCxnSpPr>
        <p:spPr bwMode="auto">
          <a:xfrm>
            <a:off x="373856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96"/>
            </p:custDataLst>
          </p:nvPr>
        </p:nvCxnSpPr>
        <p:spPr bwMode="auto">
          <a:xfrm>
            <a:off x="40338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97"/>
            </p:custDataLst>
          </p:nvPr>
        </p:nvCxnSpPr>
        <p:spPr bwMode="auto">
          <a:xfrm>
            <a:off x="433070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98"/>
            </p:custDataLst>
          </p:nvPr>
        </p:nvCxnSpPr>
        <p:spPr bwMode="auto">
          <a:xfrm>
            <a:off x="462597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99"/>
            </p:custDataLst>
          </p:nvPr>
        </p:nvCxnSpPr>
        <p:spPr bwMode="auto">
          <a:xfrm>
            <a:off x="49228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00"/>
            </p:custDataLst>
          </p:nvPr>
        </p:nvCxnSpPr>
        <p:spPr bwMode="gray">
          <a:xfrm>
            <a:off x="5218113" y="4556125"/>
            <a:ext cx="0" cy="396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FC58C557-4C9B-42BB-A03C-4C6196C2C972}"/>
              </a:ext>
            </a:extLst>
          </p:cNvPr>
          <p:cNvCxnSpPr/>
          <p:nvPr>
            <p:custDataLst>
              <p:tags r:id="rId101"/>
            </p:custDataLst>
          </p:nvPr>
        </p:nvCxnSpPr>
        <p:spPr bwMode="auto">
          <a:xfrm>
            <a:off x="5514975"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951336C0-48FD-4D79-B9D0-24E92B0B412E}"/>
              </a:ext>
            </a:extLst>
          </p:cNvPr>
          <p:cNvCxnSpPr/>
          <p:nvPr>
            <p:custDataLst>
              <p:tags r:id="rId102"/>
            </p:custDataLst>
          </p:nvPr>
        </p:nvCxnSpPr>
        <p:spPr bwMode="auto">
          <a:xfrm>
            <a:off x="581025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17787723-135E-420A-AA54-5EC88328FFEF}"/>
              </a:ext>
            </a:extLst>
          </p:cNvPr>
          <p:cNvCxnSpPr/>
          <p:nvPr>
            <p:custDataLst>
              <p:tags r:id="rId103"/>
            </p:custDataLst>
          </p:nvPr>
        </p:nvCxnSpPr>
        <p:spPr bwMode="auto">
          <a:xfrm>
            <a:off x="610711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C2563993-9545-4504-8B5A-D80EB92E4E3D}"/>
              </a:ext>
            </a:extLst>
          </p:cNvPr>
          <p:cNvCxnSpPr/>
          <p:nvPr>
            <p:custDataLst>
              <p:tags r:id="rId104"/>
            </p:custDataLst>
          </p:nvPr>
        </p:nvCxnSpPr>
        <p:spPr bwMode="auto">
          <a:xfrm>
            <a:off x="6697663"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652432C5-62E7-459B-B0AC-6193903D3F42}"/>
              </a:ext>
            </a:extLst>
          </p:cNvPr>
          <p:cNvCxnSpPr/>
          <p:nvPr>
            <p:custDataLst>
              <p:tags r:id="rId105"/>
            </p:custDataLst>
          </p:nvPr>
        </p:nvCxnSpPr>
        <p:spPr bwMode="auto">
          <a:xfrm>
            <a:off x="6994525"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658C1362-89F0-491F-B75A-F7E8C625D1ED}"/>
              </a:ext>
            </a:extLst>
          </p:cNvPr>
          <p:cNvCxnSpPr/>
          <p:nvPr>
            <p:custDataLst>
              <p:tags r:id="rId106"/>
            </p:custDataLst>
          </p:nvPr>
        </p:nvCxnSpPr>
        <p:spPr bwMode="auto">
          <a:xfrm>
            <a:off x="7289800" y="45561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C3A4B8C2-BF15-6DC8-7800-ECCDD16C046E}"/>
              </a:ext>
            </a:extLst>
          </p:cNvPr>
          <p:cNvCxnSpPr/>
          <p:nvPr>
            <p:custDataLst>
              <p:tags r:id="rId107"/>
            </p:custDataLst>
          </p:nvPr>
        </p:nvCxnSpPr>
        <p:spPr bwMode="auto">
          <a:xfrm>
            <a:off x="7586663" y="45561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4FAEF5A3-3625-3591-67DA-734F429729B0}"/>
              </a:ext>
            </a:extLst>
          </p:cNvPr>
          <p:cNvCxnSpPr/>
          <p:nvPr>
            <p:custDataLst>
              <p:tags r:id="rId108"/>
            </p:custDataLst>
          </p:nvPr>
        </p:nvCxnSpPr>
        <p:spPr bwMode="auto">
          <a:xfrm>
            <a:off x="8474075" y="45561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248EAFC1-1AC7-4409-8D91-E08013A8E6B3}"/>
              </a:ext>
            </a:extLst>
          </p:cNvPr>
          <p:cNvCxnSpPr/>
          <p:nvPr>
            <p:custDataLst>
              <p:tags r:id="rId109"/>
            </p:custDataLst>
          </p:nvPr>
        </p:nvCxnSpPr>
        <p:spPr bwMode="auto">
          <a:xfrm>
            <a:off x="8770938" y="45561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57F78739-3235-433E-88F4-1B86D77DCF5B}"/>
              </a:ext>
            </a:extLst>
          </p:cNvPr>
          <p:cNvCxnSpPr/>
          <p:nvPr>
            <p:custDataLst>
              <p:tags r:id="rId110"/>
            </p:custDataLst>
          </p:nvPr>
        </p:nvCxnSpPr>
        <p:spPr bwMode="auto">
          <a:xfrm>
            <a:off x="640238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EA6A071E-70FA-C455-BEAC-7EFC14CED9BE}"/>
              </a:ext>
            </a:extLst>
          </p:cNvPr>
          <p:cNvCxnSpPr/>
          <p:nvPr>
            <p:custDataLst>
              <p:tags r:id="rId111"/>
            </p:custDataLst>
          </p:nvPr>
        </p:nvCxnSpPr>
        <p:spPr bwMode="auto">
          <a:xfrm>
            <a:off x="9066213" y="45561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12"/>
            </p:custDataLst>
          </p:nvPr>
        </p:nvCxnSpPr>
        <p:spPr bwMode="auto">
          <a:xfrm>
            <a:off x="255428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13"/>
            </p:custDataLst>
          </p:nvPr>
        </p:nvCxnSpPr>
        <p:spPr bwMode="auto">
          <a:xfrm>
            <a:off x="777875"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14"/>
            </p:custDataLst>
          </p:nvPr>
        </p:nvCxnSpPr>
        <p:spPr bwMode="auto">
          <a:xfrm>
            <a:off x="10747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15"/>
            </p:custDataLst>
          </p:nvPr>
        </p:nvCxnSpPr>
        <p:spPr bwMode="auto">
          <a:xfrm>
            <a:off x="137001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AAF2061D-508E-B621-54EF-A986D0F4A7D3}"/>
              </a:ext>
            </a:extLst>
          </p:cNvPr>
          <p:cNvCxnSpPr/>
          <p:nvPr>
            <p:custDataLst>
              <p:tags r:id="rId116"/>
            </p:custDataLst>
          </p:nvPr>
        </p:nvCxnSpPr>
        <p:spPr bwMode="auto">
          <a:xfrm>
            <a:off x="7881938" y="45561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17"/>
            </p:custDataLst>
          </p:nvPr>
        </p:nvCxnSpPr>
        <p:spPr bwMode="auto">
          <a:xfrm>
            <a:off x="166687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18"/>
            </p:custDataLst>
          </p:nvPr>
        </p:nvCxnSpPr>
        <p:spPr bwMode="auto">
          <a:xfrm>
            <a:off x="196215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19"/>
            </p:custDataLst>
          </p:nvPr>
        </p:nvCxnSpPr>
        <p:spPr bwMode="auto">
          <a:xfrm>
            <a:off x="225901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334">
            <a:extLst>
              <a:ext uri="{FF2B5EF4-FFF2-40B4-BE49-F238E27FC236}">
                <a16:creationId xmlns:a16="http://schemas.microsoft.com/office/drawing/2014/main" id="{443E6EDF-2174-6A01-91F1-E0AB743B2A83}"/>
              </a:ext>
            </a:extLst>
          </p:cNvPr>
          <p:cNvCxnSpPr/>
          <p:nvPr>
            <p:custDataLst>
              <p:tags r:id="rId120"/>
            </p:custDataLst>
          </p:nvPr>
        </p:nvCxnSpPr>
        <p:spPr bwMode="auto">
          <a:xfrm>
            <a:off x="8178800" y="45561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21"/>
            </p:custDataLst>
          </p:nvPr>
        </p:nvCxnSpPr>
        <p:spPr bwMode="auto">
          <a:xfrm>
            <a:off x="285115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22"/>
            </p:custDataLst>
          </p:nvPr>
        </p:nvSpPr>
        <p:spPr bwMode="gray">
          <a:xfrm>
            <a:off x="8334375" y="50720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5E6E885-2004-48DA-BC7F-B970E95750D9}" type="datetime'''''''''''''''''''''''7''''''3''''''''.''''''6'''''''''">
              <a:rPr lang="ja-JP" altLang="en-US" sz="1000" smtClean="0">
                <a:solidFill>
                  <a:srgbClr val="000000"/>
                </a:solidFill>
                <a:effectLst/>
              </a:rPr>
              <a:pPr/>
              <a:t>73.6</a:t>
            </a:fld>
            <a:endParaRPr kumimoji="1" lang="ja-JP" altLang="en-US" sz="1000" b="0" i="0" strike="noStrike" kern="1200" cap="none" spc="0" normalizeH="0" baseline="0" noProof="0" dirty="0">
              <a:ln>
                <a:noFill/>
              </a:ln>
              <a:solidFill>
                <a:srgbClr val="000000"/>
              </a:solidFill>
              <a:effectLst/>
              <a:uLnTx/>
              <a:uFillTx/>
              <a:cs typeface="+mn-cs"/>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23"/>
            </p:custDataLst>
          </p:nvPr>
        </p:nvSpPr>
        <p:spPr bwMode="auto">
          <a:xfrm>
            <a:off x="75104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FDA5252F-FFF2-44D5-8AB5-25B0F5591CBD}" type="datetime'2''''''''''''''''''''''''''''3'''''''''''''''">
              <a:rPr kumimoji="0" lang="ja-JP" altLang="en-US" sz="1000" b="0" smtClean="0">
                <a:solidFill>
                  <a:srgbClr val="000000"/>
                </a:solidFill>
              </a:rPr>
              <a:pPr lvl="0" algn="ctr">
                <a:spcBef>
                  <a:spcPct val="0"/>
                </a:spcBef>
                <a:spcAft>
                  <a:spcPct val="0"/>
                </a:spcAft>
                <a:def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24"/>
            </p:custDataLst>
          </p:nvPr>
        </p:nvSpPr>
        <p:spPr bwMode="gray">
          <a:xfrm>
            <a:off x="7446963" y="57388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EBA1268-5D49-40F1-8C89-D820D400FE91}" type="datetime'2''''''''4''''''.''''''''''''''''''''''''''''1'''">
              <a:rPr lang="ja-JP" altLang="en-US" sz="1000" smtClean="0">
                <a:solidFill>
                  <a:srgbClr val="FFFFFF"/>
                </a:solidFill>
                <a:effectLst/>
              </a:rPr>
              <a:pPr/>
              <a:t>24.1</a:t>
            </a:fld>
            <a:endParaRPr kumimoji="1" lang="ja-JP" altLang="en-US" sz="1000" b="0" i="0" strike="noStrike" kern="1200" cap="none" spc="0" normalizeH="0" baseline="0" noProof="0" dirty="0">
              <a:ln>
                <a:noFill/>
              </a:ln>
              <a:solidFill>
                <a:srgbClr val="FFFFFF"/>
              </a:solidFill>
              <a:effectLst/>
              <a:uLnTx/>
              <a:uFillTx/>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25"/>
            </p:custDataLst>
          </p:nvPr>
        </p:nvSpPr>
        <p:spPr bwMode="gray">
          <a:xfrm>
            <a:off x="7446963" y="50577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2CEF95F-281A-41B6-86B3-966C28F304A0}" type="datetime'''''''''''7''''''''''''''''3''''''''''''''''.1'''''''''''">
              <a:rPr lang="ja-JP" altLang="en-US" sz="1000" smtClean="0">
                <a:solidFill>
                  <a:srgbClr val="000000"/>
                </a:solidFill>
                <a:effectLst/>
              </a:rPr>
              <a:pPr/>
              <a:t>73.1</a:t>
            </a:fld>
            <a:endParaRPr kumimoji="1" lang="ja-JP" altLang="en-US" sz="1000" b="0" i="0" strike="noStrike" kern="1200" cap="none" spc="0" normalizeH="0" baseline="0" noProof="0" dirty="0">
              <a:ln>
                <a:noFill/>
              </a:ln>
              <a:solidFill>
                <a:srgbClr val="000000"/>
              </a:solidFill>
              <a:effectLst/>
              <a:uLnTx/>
              <a:uFillTx/>
              <a:cs typeface="+mn-cs"/>
              <a:sym typeface="+mn-lt"/>
            </a:endParaRPr>
          </a:p>
        </p:txBody>
      </p:sp>
      <p:sp>
        <p:nvSpPr>
          <p:cNvPr id="124" name="Text Placeholder 12"/>
          <p:cNvSpPr>
            <a:spLocks noGrp="1"/>
          </p:cNvSpPr>
          <p:nvPr>
            <p:custDataLst>
              <p:tags r:id="rId126"/>
            </p:custDataLst>
          </p:nvPr>
        </p:nvSpPr>
        <p:spPr bwMode="auto">
          <a:xfrm>
            <a:off x="72136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36B59A08-11DA-45A1-A5DA-8B6D5D788FDD}" type="datetime'''''''''''2''''''''''''''2'''''''''''''''''''''''">
              <a:rPr lang="ja-JP" altLang="en-US" sz="1000" b="0" smtClean="0">
                <a:solidFill>
                  <a:srgbClr val="000000"/>
                </a:solidFill>
              </a:rPr>
              <a:pPr lvl="0" algn="ctr">
                <a:spcBef>
                  <a:spcPct val="0"/>
                </a:spcBef>
                <a:spcAft>
                  <a:spcPct val="0"/>
                </a:spcAft>
                <a:def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27"/>
            </p:custDataLst>
          </p:nvPr>
        </p:nvSpPr>
        <p:spPr bwMode="gray">
          <a:xfrm>
            <a:off x="7150100" y="57356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76A3DCA-12B5-4C94-897A-7EE9442897E5}" type="datetime'''''''''''''''''''''2''''''''''''''4''''''''''.''''6'">
              <a:rPr lang="ja-JP" altLang="en-US" sz="1000" smtClean="0">
                <a:solidFill>
                  <a:srgbClr val="FFFFFF"/>
                </a:solidFill>
                <a:effectLst/>
              </a:rPr>
              <a:pPr/>
              <a:t>24.6</a:t>
            </a:fld>
            <a:endParaRPr kumimoji="1" lang="ja-JP" altLang="en-US" sz="1000" b="0" i="0" strike="noStrike" kern="1200" cap="none" spc="0" normalizeH="0" baseline="0" noProof="0" dirty="0">
              <a:ln>
                <a:noFill/>
              </a:ln>
              <a:solidFill>
                <a:srgbClr val="FFFFFF"/>
              </a:solidFill>
              <a:effectLst/>
              <a:uLnTx/>
              <a:uFillTx/>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28"/>
            </p:custDataLst>
          </p:nvPr>
        </p:nvSpPr>
        <p:spPr bwMode="gray">
          <a:xfrm>
            <a:off x="7150100" y="50530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AF325D2-D4ED-4E25-8F3C-FE926D394AA3}" type="datetime'7''''''''''''''''2''''''.''''''''''''''''''''7'''''">
              <a:rPr lang="ja-JP" altLang="en-US" sz="1000" smtClean="0">
                <a:solidFill>
                  <a:srgbClr val="000000"/>
                </a:solidFill>
                <a:effectLst/>
              </a:rPr>
              <a:pPr/>
              <a:t>72.7</a:t>
            </a:fld>
            <a:endParaRPr kumimoji="1" lang="ja-JP" altLang="en-US" sz="1000" b="0" i="0" strike="noStrike" kern="1200" cap="none" spc="0" normalizeH="0" baseline="0" noProof="0" dirty="0">
              <a:ln>
                <a:noFill/>
              </a:ln>
              <a:solidFill>
                <a:srgbClr val="000000"/>
              </a:solidFill>
              <a:effectLst/>
              <a:uLnTx/>
              <a:uFillTx/>
              <a:cs typeface="+mn-cs"/>
              <a:sym typeface="+mn-lt"/>
            </a:endParaRPr>
          </a:p>
        </p:txBody>
      </p:sp>
      <p:sp>
        <p:nvSpPr>
          <p:cNvPr id="123" name="Text Placeholder 12"/>
          <p:cNvSpPr>
            <a:spLocks noGrp="1"/>
          </p:cNvSpPr>
          <p:nvPr>
            <p:custDataLst>
              <p:tags r:id="rId129"/>
            </p:custDataLst>
          </p:nvPr>
        </p:nvSpPr>
        <p:spPr bwMode="auto">
          <a:xfrm>
            <a:off x="69183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3" name="Text Placeholder 12"/>
          <p:cNvSpPr>
            <a:spLocks noGrp="1"/>
          </p:cNvSpPr>
          <p:nvPr>
            <p:custDataLst>
              <p:tags r:id="rId130"/>
            </p:custDataLst>
          </p:nvPr>
        </p:nvSpPr>
        <p:spPr bwMode="gray">
          <a:xfrm>
            <a:off x="6854825" y="57308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0D026F-97E5-46C4-BFE8-2F825D5CC499}" type="datetime'''''''''25''.''''''2'''''''''''''''''''''''''''''''''''''">
              <a:rPr lang="ja-JP" altLang="en-US" sz="1000" b="0" smtClean="0">
                <a:solidFill>
                  <a:srgbClr val="FFFFFF"/>
                </a:solidFill>
                <a:effectLst/>
              </a:rPr>
              <a:pPr/>
              <a:t>25.2</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52" name="Text Placeholder 12"/>
          <p:cNvSpPr>
            <a:spLocks noGrp="1"/>
          </p:cNvSpPr>
          <p:nvPr>
            <p:custDataLst>
              <p:tags r:id="rId131"/>
            </p:custDataLst>
          </p:nvPr>
        </p:nvSpPr>
        <p:spPr bwMode="gray">
          <a:xfrm>
            <a:off x="6854825" y="50482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FD939A-E28B-49E1-A0E2-FD21A80BD62A}" type="datetime'''''''''''''''''''''72''''.''''''''''2'">
              <a:rPr lang="ja-JP" altLang="en-US" sz="1000" b="0" smtClean="0">
                <a:solidFill>
                  <a:srgbClr val="000000"/>
                </a:solidFill>
                <a:effectLst/>
              </a:rPr>
              <a:pPr/>
              <a:t>72.2</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2" name="Text Placeholder 12"/>
          <p:cNvSpPr>
            <a:spLocks noGrp="1"/>
          </p:cNvSpPr>
          <p:nvPr>
            <p:custDataLst>
              <p:tags r:id="rId132"/>
            </p:custDataLst>
          </p:nvPr>
        </p:nvSpPr>
        <p:spPr bwMode="auto">
          <a:xfrm>
            <a:off x="66214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2" name="Text Placeholder 12"/>
          <p:cNvSpPr>
            <a:spLocks noGrp="1"/>
          </p:cNvSpPr>
          <p:nvPr>
            <p:custDataLst>
              <p:tags r:id="rId133"/>
            </p:custDataLst>
          </p:nvPr>
        </p:nvSpPr>
        <p:spPr bwMode="gray">
          <a:xfrm>
            <a:off x="6557963" y="5729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64CF8DA-2E2C-4102-BA44-5E4FDD9617C3}" type="datetime'''''''2''''''''''5''''''''.''''''''''''''''''''''5'">
              <a:rPr lang="ja-JP" altLang="en-US" sz="1000" b="0" smtClean="0">
                <a:solidFill>
                  <a:srgbClr val="FFFFFF"/>
                </a:solidFill>
                <a:effectLst/>
              </a:rPr>
              <a:pPr/>
              <a:t>25.5</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51" name="Text Placeholder 12"/>
          <p:cNvSpPr>
            <a:spLocks noGrp="1"/>
          </p:cNvSpPr>
          <p:nvPr>
            <p:custDataLst>
              <p:tags r:id="rId134"/>
            </p:custDataLst>
          </p:nvPr>
        </p:nvSpPr>
        <p:spPr bwMode="gray">
          <a:xfrm>
            <a:off x="6557963" y="5045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DC7FCB1-4043-4690-8192-C84D89A39F13}" type="datetime'''7''2''''''''''.''''''''''''''''''''''''''''''0'''''''''''''">
              <a:rPr lang="ja-JP" altLang="en-US" sz="1000" b="0" smtClean="0">
                <a:solidFill>
                  <a:srgbClr val="000000"/>
                </a:solidFill>
                <a:effectLst/>
              </a:rPr>
              <a:pPr/>
              <a:t>72.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356" name="テキスト プレースホルダ 9">
            <a:extLst>
              <a:ext uri="{FF2B5EF4-FFF2-40B4-BE49-F238E27FC236}">
                <a16:creationId xmlns:a16="http://schemas.microsoft.com/office/drawing/2014/main" id="{0CAE5A39-D222-998A-C3EA-0E1E44FBB9A8}"/>
              </a:ext>
            </a:extLst>
          </p:cNvPr>
          <p:cNvSpPr>
            <a:spLocks noGrp="1"/>
          </p:cNvSpPr>
          <p:nvPr>
            <p:custDataLst>
              <p:tags r:id="rId135"/>
            </p:custDataLst>
          </p:nvPr>
        </p:nvSpPr>
        <p:spPr bwMode="gray">
          <a:xfrm>
            <a:off x="8631238" y="50911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3AAC68E-E811-4A5C-8F18-D4C1F1DD1525}" type="datetime'''''''''''''''7''''3''''''.''''''''0'''''''''''''">
              <a:rPr lang="ja-JP" altLang="en-US" sz="1000" smtClean="0">
                <a:solidFill>
                  <a:srgbClr val="000000"/>
                </a:solidFill>
                <a:effectLst/>
                <a:sym typeface="+mn-lt"/>
              </a:rPr>
              <a:pPr/>
              <a:t>73.0</a:t>
            </a:fld>
            <a:endParaRPr kumimoji="1" lang="ja-JP" altLang="en-US" sz="1000" b="0" i="0" strike="noStrike" kern="1200" cap="none" spc="0" normalizeH="0" baseline="0" noProof="0" dirty="0">
              <a:ln>
                <a:noFill/>
              </a:ln>
              <a:solidFill>
                <a:srgbClr val="000000"/>
              </a:solidFill>
              <a:effectLst/>
              <a:uLnTx/>
              <a:uFillTx/>
              <a:sym typeface="+mn-lt"/>
            </a:endParaRPr>
          </a:p>
        </p:txBody>
      </p:sp>
      <p:sp>
        <p:nvSpPr>
          <p:cNvPr id="121" name="Text Placeholder 12"/>
          <p:cNvSpPr>
            <a:spLocks noGrp="1"/>
          </p:cNvSpPr>
          <p:nvPr>
            <p:custDataLst>
              <p:tags r:id="rId136"/>
            </p:custDataLst>
          </p:nvPr>
        </p:nvSpPr>
        <p:spPr bwMode="auto">
          <a:xfrm>
            <a:off x="63261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1" name="Text Placeholder 12"/>
          <p:cNvSpPr>
            <a:spLocks noGrp="1"/>
          </p:cNvSpPr>
          <p:nvPr>
            <p:custDataLst>
              <p:tags r:id="rId137"/>
            </p:custDataLst>
          </p:nvPr>
        </p:nvSpPr>
        <p:spPr bwMode="gray">
          <a:xfrm>
            <a:off x="6262688" y="5727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4CAFA29-2DBF-4ADB-8CA0-821C38AF358B}" type="datetime'''''''''''''''''2''''''''5''''.''''''''8'''''''''">
              <a:rPr lang="ja-JP" altLang="en-US" sz="1000" b="0" smtClean="0">
                <a:solidFill>
                  <a:srgbClr val="FFFFFF"/>
                </a:solidFill>
                <a:effectLst/>
              </a:rPr>
              <a:pPr/>
              <a:t>25.8</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50" name="Text Placeholder 12"/>
          <p:cNvSpPr>
            <a:spLocks noGrp="1"/>
          </p:cNvSpPr>
          <p:nvPr>
            <p:custDataLst>
              <p:tags r:id="rId138"/>
            </p:custDataLst>
          </p:nvPr>
        </p:nvSpPr>
        <p:spPr bwMode="gray">
          <a:xfrm>
            <a:off x="6262688" y="5041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CE83E5-6272-482E-ACB0-64E37085FFA4}" type="datetime'''''''''''''''''''''''7''''1''''''''''''.''''''''8'''''''''''">
              <a:rPr lang="ja-JP" altLang="en-US" sz="1000" b="0" smtClean="0">
                <a:solidFill>
                  <a:srgbClr val="000000"/>
                </a:solidFill>
                <a:effectLst/>
              </a:rPr>
              <a:pPr/>
              <a:t>71.8</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207" name="Text Placeholder 12"/>
          <p:cNvSpPr>
            <a:spLocks noGrp="1"/>
          </p:cNvSpPr>
          <p:nvPr>
            <p:custDataLst>
              <p:tags r:id="rId139"/>
            </p:custDataLst>
          </p:nvPr>
        </p:nvSpPr>
        <p:spPr bwMode="auto">
          <a:xfrm>
            <a:off x="60309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1" name="テキスト プレースホルダ 9"/>
          <p:cNvSpPr>
            <a:spLocks noGrp="1"/>
          </p:cNvSpPr>
          <p:nvPr>
            <p:custDataLst>
              <p:tags r:id="rId140"/>
            </p:custDataLst>
          </p:nvPr>
        </p:nvSpPr>
        <p:spPr bwMode="gray">
          <a:xfrm>
            <a:off x="5967413" y="57277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1CB27B4-AB0C-43C8-A4C0-6B34F80F061E}" type="datetime'''2''''''5''''''''''''''''''''.''''7'''''''''''''''''''''''''">
              <a:rPr lang="ja-JP" altLang="en-US" sz="1000" smtClean="0">
                <a:solidFill>
                  <a:srgbClr val="FFFFFF"/>
                </a:solidFill>
                <a:effectLst/>
              </a:rPr>
              <a:pPr/>
              <a:t>25.7</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213" name="テキスト プレースホルダ 9"/>
          <p:cNvSpPr>
            <a:spLocks noGrp="1"/>
          </p:cNvSpPr>
          <p:nvPr>
            <p:custDataLst>
              <p:tags r:id="rId141"/>
            </p:custDataLst>
          </p:nvPr>
        </p:nvSpPr>
        <p:spPr bwMode="gray">
          <a:xfrm>
            <a:off x="5967413" y="50434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5FC9274-B813-435D-A89C-28434D11F1E7}" type="datetime'''''''''''7''''''''''''2''''''''''.''''''''''''''''0'">
              <a:rPr lang="ja-JP" altLang="en-US" sz="1000" smtClean="0">
                <a:solidFill>
                  <a:srgbClr val="000000"/>
                </a:solidFill>
                <a:effectLst/>
              </a:rPr>
              <a:pPr/>
              <a:t>72.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205" name="Text Placeholder 12"/>
          <p:cNvSpPr>
            <a:spLocks noGrp="1"/>
          </p:cNvSpPr>
          <p:nvPr>
            <p:custDataLst>
              <p:tags r:id="rId142"/>
            </p:custDataLst>
          </p:nvPr>
        </p:nvSpPr>
        <p:spPr bwMode="auto">
          <a:xfrm>
            <a:off x="57340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2" name="テキスト プレースホルダ 9"/>
          <p:cNvSpPr>
            <a:spLocks noGrp="1"/>
          </p:cNvSpPr>
          <p:nvPr>
            <p:custDataLst>
              <p:tags r:id="rId143"/>
            </p:custDataLst>
          </p:nvPr>
        </p:nvSpPr>
        <p:spPr bwMode="gray">
          <a:xfrm>
            <a:off x="5670550" y="57308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AC789B1-F549-4ACC-95C8-AC87808585A9}" type="datetime'''''''''''''''''25''''''''''.''''2'''''''''''''''''''''''''">
              <a:rPr lang="ja-JP" altLang="en-US" sz="1000" smtClean="0">
                <a:solidFill>
                  <a:srgbClr val="FFFFFF"/>
                </a:solidFill>
                <a:effectLst/>
              </a:rPr>
              <a:pPr/>
              <a:t>25.2</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209" name="テキスト プレースホルダ 9"/>
          <p:cNvSpPr>
            <a:spLocks noGrp="1"/>
          </p:cNvSpPr>
          <p:nvPr>
            <p:custDataLst>
              <p:tags r:id="rId144"/>
            </p:custDataLst>
          </p:nvPr>
        </p:nvSpPr>
        <p:spPr bwMode="gray">
          <a:xfrm>
            <a:off x="5670550" y="50450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3BE8C53-D660-478C-950A-7E9CB29E4225}" type="datetime'''''''''''''7''''2''''.''''''''''''''''''6'">
              <a:rPr lang="ja-JP" altLang="en-US" sz="1000" smtClean="0">
                <a:solidFill>
                  <a:srgbClr val="000000"/>
                </a:solidFill>
                <a:effectLst/>
              </a:rPr>
              <a:pPr/>
              <a:t>72.6</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0" name="Text Placeholder 12"/>
          <p:cNvSpPr>
            <a:spLocks noGrp="1"/>
          </p:cNvSpPr>
          <p:nvPr>
            <p:custDataLst>
              <p:tags r:id="rId145"/>
            </p:custDataLst>
          </p:nvPr>
        </p:nvSpPr>
        <p:spPr bwMode="auto">
          <a:xfrm>
            <a:off x="54387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0" name="Text Placeholder 12"/>
          <p:cNvSpPr>
            <a:spLocks noGrp="1"/>
          </p:cNvSpPr>
          <p:nvPr>
            <p:custDataLst>
              <p:tags r:id="rId146"/>
            </p:custDataLst>
          </p:nvPr>
        </p:nvSpPr>
        <p:spPr bwMode="gray">
          <a:xfrm>
            <a:off x="5375275" y="57340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69E793-E255-45D6-B370-8FF300D00F98}" type="datetime'''2''''''''''''''''''''''4''''''''.''9'''''''''''''''''">
              <a:rPr lang="ja-JP" altLang="en-US" sz="1000" b="0" smtClean="0">
                <a:solidFill>
                  <a:srgbClr val="FFFFFF"/>
                </a:solidFill>
                <a:effectLst/>
              </a:rPr>
              <a:pPr/>
              <a:t>24.9</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9" name="Text Placeholder 12"/>
          <p:cNvSpPr>
            <a:spLocks noGrp="1"/>
          </p:cNvSpPr>
          <p:nvPr>
            <p:custDataLst>
              <p:tags r:id="rId147"/>
            </p:custDataLst>
          </p:nvPr>
        </p:nvSpPr>
        <p:spPr bwMode="gray">
          <a:xfrm>
            <a:off x="5375275" y="5046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E192572-7119-47BF-82C2-4D81D4C10205}" type="datetime'''''''''''7''''''''''''''''''''''''2.''''''9'''''''">
              <a:rPr lang="ja-JP" altLang="en-US" sz="1000" b="0" smtClean="0">
                <a:solidFill>
                  <a:srgbClr val="000000"/>
                </a:solidFill>
                <a:effectLst/>
              </a:rPr>
              <a:pPr/>
              <a:t>72.9</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9" name="Text Placeholder 12"/>
          <p:cNvSpPr>
            <a:spLocks noGrp="1"/>
          </p:cNvSpPr>
          <p:nvPr>
            <p:custDataLst>
              <p:tags r:id="rId148"/>
            </p:custDataLst>
          </p:nvPr>
        </p:nvSpPr>
        <p:spPr bwMode="auto">
          <a:xfrm>
            <a:off x="51419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149"/>
            </p:custDataLst>
          </p:nvPr>
        </p:nvSpPr>
        <p:spPr bwMode="gray">
          <a:xfrm>
            <a:off x="5078413" y="57324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BDC456D-3846-467D-91BB-AC193F9A059D}" type="datetime'''''''''''''''''''2''''''''''5''''''''''.''''''1'''''''''''">
              <a:rPr lang="ja-JP" altLang="en-US" sz="1000" b="0" smtClean="0">
                <a:solidFill>
                  <a:srgbClr val="FFFFFF"/>
                </a:solidFill>
                <a:effectLst/>
              </a:rPr>
              <a:pPr/>
              <a:t>25.1</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8" name="Text Placeholder 12"/>
          <p:cNvSpPr>
            <a:spLocks noGrp="1"/>
          </p:cNvSpPr>
          <p:nvPr>
            <p:custDataLst>
              <p:tags r:id="rId150"/>
            </p:custDataLst>
          </p:nvPr>
        </p:nvSpPr>
        <p:spPr bwMode="gray">
          <a:xfrm>
            <a:off x="5078413" y="5045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F268EBA-FDBD-4D19-A4AF-4FD3AED76A21}" type="datetime'72''''.''''''''7'''''''''''''''''''''''''''''''''''''''''''''">
              <a:rPr lang="ja-JP" altLang="en-US" sz="1000" b="0" smtClean="0">
                <a:solidFill>
                  <a:srgbClr val="000000"/>
                </a:solidFill>
                <a:effectLst/>
              </a:rPr>
              <a:pPr/>
              <a:t>72.7</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8" name="Text Placeholder 12"/>
          <p:cNvSpPr>
            <a:spLocks noGrp="1"/>
          </p:cNvSpPr>
          <p:nvPr>
            <p:custDataLst>
              <p:tags r:id="rId151"/>
            </p:custDataLst>
          </p:nvPr>
        </p:nvSpPr>
        <p:spPr bwMode="auto">
          <a:xfrm>
            <a:off x="48466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8" name="Text Placeholder 12"/>
          <p:cNvSpPr>
            <a:spLocks noGrp="1"/>
          </p:cNvSpPr>
          <p:nvPr>
            <p:custDataLst>
              <p:tags r:id="rId152"/>
            </p:custDataLst>
          </p:nvPr>
        </p:nvSpPr>
        <p:spPr bwMode="gray">
          <a:xfrm>
            <a:off x="4783138" y="5729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3477FF3-F5D7-449E-8025-938FE89BD11D}" type="datetime'''''''25''''''''''''''''.''''''4'''''''''">
              <a:rPr lang="ja-JP" altLang="en-US" sz="1000" b="0" smtClean="0">
                <a:solidFill>
                  <a:srgbClr val="FFFFFF"/>
                </a:solidFill>
                <a:effectLst/>
              </a:rPr>
              <a:pPr/>
              <a:t>25.4</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7" name="Text Placeholder 12"/>
          <p:cNvSpPr>
            <a:spLocks noGrp="1"/>
          </p:cNvSpPr>
          <p:nvPr>
            <p:custDataLst>
              <p:tags r:id="rId153"/>
            </p:custDataLst>
          </p:nvPr>
        </p:nvSpPr>
        <p:spPr bwMode="gray">
          <a:xfrm>
            <a:off x="4783138" y="50434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7A84C19-9369-423B-BED7-792184F3445D}" type="datetime'72''''''''''''''''''''.''''''''''''3'''''''''''''''''''">
              <a:rPr lang="ja-JP" altLang="en-US" sz="1000" b="0" smtClean="0">
                <a:solidFill>
                  <a:srgbClr val="000000"/>
                </a:solidFill>
                <a:effectLst/>
              </a:rPr>
              <a:pPr/>
              <a:t>72.3</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7" name="Text Placeholder 12"/>
          <p:cNvSpPr>
            <a:spLocks noGrp="1"/>
          </p:cNvSpPr>
          <p:nvPr>
            <p:custDataLst>
              <p:tags r:id="rId154"/>
            </p:custDataLst>
          </p:nvPr>
        </p:nvSpPr>
        <p:spPr bwMode="auto">
          <a:xfrm>
            <a:off x="45497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7" name="Text Placeholder 12"/>
          <p:cNvSpPr>
            <a:spLocks noGrp="1"/>
          </p:cNvSpPr>
          <p:nvPr>
            <p:custDataLst>
              <p:tags r:id="rId155"/>
            </p:custDataLst>
          </p:nvPr>
        </p:nvSpPr>
        <p:spPr bwMode="gray">
          <a:xfrm>
            <a:off x="4486275" y="5727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104CB91-07CA-4628-934D-FE66F3D93FE3}" type="datetime'''2''''''''''''''''''''''''''''''''''''5''''''''.8'''">
              <a:rPr lang="ja-JP" altLang="en-US" sz="1000" b="0" smtClean="0">
                <a:solidFill>
                  <a:srgbClr val="FFFFFF"/>
                </a:solidFill>
                <a:effectLst/>
              </a:rPr>
              <a:pPr/>
              <a:t>25.8</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6" name="Text Placeholder 12"/>
          <p:cNvSpPr>
            <a:spLocks noGrp="1"/>
          </p:cNvSpPr>
          <p:nvPr>
            <p:custDataLst>
              <p:tags r:id="rId156"/>
            </p:custDataLst>
          </p:nvPr>
        </p:nvSpPr>
        <p:spPr bwMode="gray">
          <a:xfrm>
            <a:off x="4486275" y="5041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ABB443-EC56-4A8A-B42D-909AE14A0561}" type="datetime'''''''''''''''7''''''''''''''''''''1''''''.''9'''''">
              <a:rPr lang="ja-JP" altLang="en-US" sz="1000" b="0" smtClean="0">
                <a:solidFill>
                  <a:srgbClr val="000000"/>
                </a:solidFill>
                <a:effectLst/>
              </a:rPr>
              <a:pPr/>
              <a:t>71.9</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6" name="Text Placeholder 12"/>
          <p:cNvSpPr>
            <a:spLocks noGrp="1"/>
          </p:cNvSpPr>
          <p:nvPr>
            <p:custDataLst>
              <p:tags r:id="rId157"/>
            </p:custDataLst>
          </p:nvPr>
        </p:nvSpPr>
        <p:spPr bwMode="auto">
          <a:xfrm>
            <a:off x="42545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6" name="Text Placeholder 12"/>
          <p:cNvSpPr>
            <a:spLocks noGrp="1"/>
          </p:cNvSpPr>
          <p:nvPr>
            <p:custDataLst>
              <p:tags r:id="rId158"/>
            </p:custDataLst>
          </p:nvPr>
        </p:nvSpPr>
        <p:spPr bwMode="gray">
          <a:xfrm>
            <a:off x="4191000" y="57229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91C5E63-4B39-4539-8BA1-13808A4F0256}" type="datetime'2''''''''6''''''''''''''.''3'''''''''''''''''''''">
              <a:rPr lang="ja-JP" altLang="en-US" sz="1000" b="0" smtClean="0">
                <a:solidFill>
                  <a:srgbClr val="FFFFFF"/>
                </a:solidFill>
                <a:effectLst/>
              </a:rPr>
              <a:pPr/>
              <a:t>26.3</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5" name="Text Placeholder 12"/>
          <p:cNvSpPr>
            <a:spLocks noGrp="1"/>
          </p:cNvSpPr>
          <p:nvPr>
            <p:custDataLst>
              <p:tags r:id="rId159"/>
            </p:custDataLst>
          </p:nvPr>
        </p:nvSpPr>
        <p:spPr bwMode="gray">
          <a:xfrm>
            <a:off x="4191000" y="50387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54719E-C164-4EEC-B306-E8195033ED7D}" type="datetime'''''7''''''''''''''''''''''''''''''''''''''''1.''''3'''''''''">
              <a:rPr lang="ja-JP" altLang="en-US" sz="1000" b="0" smtClean="0">
                <a:solidFill>
                  <a:srgbClr val="000000"/>
                </a:solidFill>
                <a:effectLst/>
              </a:rPr>
              <a:pPr/>
              <a:t>71.3</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5" name="Text Placeholder 12"/>
          <p:cNvSpPr>
            <a:spLocks noGrp="1"/>
          </p:cNvSpPr>
          <p:nvPr>
            <p:custDataLst>
              <p:tags r:id="rId160"/>
            </p:custDataLst>
          </p:nvPr>
        </p:nvSpPr>
        <p:spPr bwMode="auto">
          <a:xfrm>
            <a:off x="39576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5" name="Text Placeholder 12"/>
          <p:cNvSpPr>
            <a:spLocks noGrp="1"/>
          </p:cNvSpPr>
          <p:nvPr>
            <p:custDataLst>
              <p:tags r:id="rId161"/>
            </p:custDataLst>
          </p:nvPr>
        </p:nvSpPr>
        <p:spPr bwMode="gray">
          <a:xfrm>
            <a:off x="3894138" y="5719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05247C-0AEB-4C7C-AD15-AFA9ACCE69D3}" type="datetime'''''''''''''2''''''''''6''''''''''''''''.''''''''''9'">
              <a:rPr lang="ja-JP" altLang="en-US" sz="1000" b="0" smtClean="0">
                <a:solidFill>
                  <a:srgbClr val="FFFFFF"/>
                </a:solidFill>
                <a:effectLst/>
              </a:rPr>
              <a:pPr/>
              <a:t>26.9</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4" name="Text Placeholder 12"/>
          <p:cNvSpPr>
            <a:spLocks noGrp="1"/>
          </p:cNvSpPr>
          <p:nvPr>
            <p:custDataLst>
              <p:tags r:id="rId162"/>
            </p:custDataLst>
          </p:nvPr>
        </p:nvSpPr>
        <p:spPr bwMode="gray">
          <a:xfrm>
            <a:off x="3894138" y="50339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422A04-79FA-4C91-9CA5-8C4004D84B74}" type="datetime'7''''''''''''''''0''''''''''''''.''''''''''7'''''''''''''''">
              <a:rPr lang="ja-JP" altLang="en-US" sz="1000" b="0" smtClean="0">
                <a:solidFill>
                  <a:srgbClr val="000000"/>
                </a:solidFill>
                <a:effectLst/>
              </a:rPr>
              <a:pPr/>
              <a:t>70.7</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4" name="Text Placeholder 12"/>
          <p:cNvSpPr>
            <a:spLocks noGrp="1"/>
          </p:cNvSpPr>
          <p:nvPr>
            <p:custDataLst>
              <p:tags r:id="rId163"/>
            </p:custDataLst>
          </p:nvPr>
        </p:nvSpPr>
        <p:spPr bwMode="auto">
          <a:xfrm>
            <a:off x="36623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4" name="Text Placeholder 12"/>
          <p:cNvSpPr>
            <a:spLocks noGrp="1"/>
          </p:cNvSpPr>
          <p:nvPr>
            <p:custDataLst>
              <p:tags r:id="rId164"/>
            </p:custDataLst>
          </p:nvPr>
        </p:nvSpPr>
        <p:spPr bwMode="gray">
          <a:xfrm>
            <a:off x="3598863" y="5715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6A37013-7DD4-4B94-9571-C6E2DAFCF170}" type="datetime'2''''''''''''''''''''''''''''''''''''''''7.''''''6'''''">
              <a:rPr lang="ja-JP" altLang="en-US" sz="1000" b="0" smtClean="0">
                <a:solidFill>
                  <a:srgbClr val="FFFFFF"/>
                </a:solidFill>
                <a:effectLst/>
              </a:rPr>
              <a:pPr/>
              <a:t>27.6</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3" name="Text Placeholder 12"/>
          <p:cNvSpPr>
            <a:spLocks noGrp="1"/>
          </p:cNvSpPr>
          <p:nvPr>
            <p:custDataLst>
              <p:tags r:id="rId165"/>
            </p:custDataLst>
          </p:nvPr>
        </p:nvSpPr>
        <p:spPr bwMode="gray">
          <a:xfrm>
            <a:off x="3598863" y="50292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5D026E9-702D-4876-AD09-6EA723548007}" type="datetime'''''''''''''''''''''70''''''''''''''''''.''''''''''0'''''''''">
              <a:rPr lang="ja-JP" altLang="en-US" sz="1000" b="0" smtClean="0">
                <a:solidFill>
                  <a:srgbClr val="000000"/>
                </a:solidFill>
                <a:effectLst/>
              </a:rPr>
              <a:pPr/>
              <a:t>70.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3" name="Text Placeholder 12"/>
          <p:cNvSpPr>
            <a:spLocks noGrp="1"/>
          </p:cNvSpPr>
          <p:nvPr>
            <p:custDataLst>
              <p:tags r:id="rId166"/>
            </p:custDataLst>
          </p:nvPr>
        </p:nvSpPr>
        <p:spPr bwMode="auto">
          <a:xfrm>
            <a:off x="33655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3" name="Text Placeholder 12"/>
          <p:cNvSpPr>
            <a:spLocks noGrp="1"/>
          </p:cNvSpPr>
          <p:nvPr>
            <p:custDataLst>
              <p:tags r:id="rId167"/>
            </p:custDataLst>
          </p:nvPr>
        </p:nvSpPr>
        <p:spPr bwMode="gray">
          <a:xfrm>
            <a:off x="3302000" y="57086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62D983A-2CE8-4C22-8460-352995DF6CD3}" type="datetime'''''''2''''8''''''''''.''''5'''''''''''">
              <a:rPr lang="ja-JP" altLang="en-US" sz="1000" b="0" smtClean="0">
                <a:solidFill>
                  <a:srgbClr val="FFFFFF"/>
                </a:solidFill>
                <a:effectLst/>
              </a:rPr>
              <a:pPr/>
              <a:t>28.5</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2" name="Text Placeholder 12"/>
          <p:cNvSpPr>
            <a:spLocks noGrp="1"/>
          </p:cNvSpPr>
          <p:nvPr>
            <p:custDataLst>
              <p:tags r:id="rId168"/>
            </p:custDataLst>
          </p:nvPr>
        </p:nvSpPr>
        <p:spPr bwMode="gray">
          <a:xfrm>
            <a:off x="3302000" y="50228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939958A-4988-44AB-804B-A7978EBAB806}" type="datetime'''''''''''''''''''''''''6''9''''''.''''''1'''''''''''">
              <a:rPr lang="ja-JP" altLang="en-US" sz="1000" b="0" smtClean="0">
                <a:solidFill>
                  <a:srgbClr val="000000"/>
                </a:solidFill>
                <a:effectLst/>
              </a:rPr>
              <a:pPr/>
              <a:t>69.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2" name="Text Placeholder 12"/>
          <p:cNvSpPr>
            <a:spLocks noGrp="1"/>
          </p:cNvSpPr>
          <p:nvPr>
            <p:custDataLst>
              <p:tags r:id="rId169"/>
            </p:custDataLst>
          </p:nvPr>
        </p:nvSpPr>
        <p:spPr bwMode="auto">
          <a:xfrm>
            <a:off x="30702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2" name="Text Placeholder 12"/>
          <p:cNvSpPr>
            <a:spLocks noGrp="1"/>
          </p:cNvSpPr>
          <p:nvPr>
            <p:custDataLst>
              <p:tags r:id="rId170"/>
            </p:custDataLst>
          </p:nvPr>
        </p:nvSpPr>
        <p:spPr bwMode="gray">
          <a:xfrm>
            <a:off x="3006725" y="57007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CC9656F-D490-45E5-8496-3AA01BE28C65}" type="datetime'''''''''''''''''''''2''''''9.''''''''5'''''''''''''''''">
              <a:rPr lang="ja-JP" altLang="en-US" sz="1000" b="0" smtClean="0">
                <a:solidFill>
                  <a:srgbClr val="FFFFFF"/>
                </a:solidFill>
                <a:effectLst/>
              </a:rPr>
              <a:pPr/>
              <a:t>29.5</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1" name="Text Placeholder 12"/>
          <p:cNvSpPr>
            <a:spLocks noGrp="1"/>
          </p:cNvSpPr>
          <p:nvPr>
            <p:custDataLst>
              <p:tags r:id="rId171"/>
            </p:custDataLst>
          </p:nvPr>
        </p:nvSpPr>
        <p:spPr bwMode="gray">
          <a:xfrm>
            <a:off x="3006725" y="50165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CC217DB-05DC-4C6F-AEF1-E8ADBD110301}" type="datetime'6''''''''''8''''''''''''''''''''''''''''''.''''''''''''1'''''">
              <a:rPr lang="ja-JP" altLang="en-US" sz="1000" b="0" smtClean="0">
                <a:solidFill>
                  <a:srgbClr val="000000"/>
                </a:solidFill>
                <a:effectLst/>
              </a:rPr>
              <a:pPr/>
              <a:t>68.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1" name="Text Placeholder 12"/>
          <p:cNvSpPr>
            <a:spLocks noGrp="1"/>
          </p:cNvSpPr>
          <p:nvPr>
            <p:custDataLst>
              <p:tags r:id="rId172"/>
            </p:custDataLst>
          </p:nvPr>
        </p:nvSpPr>
        <p:spPr bwMode="auto">
          <a:xfrm>
            <a:off x="27749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1" name="Text Placeholder 12"/>
          <p:cNvSpPr>
            <a:spLocks noGrp="1"/>
          </p:cNvSpPr>
          <p:nvPr>
            <p:custDataLst>
              <p:tags r:id="rId173"/>
            </p:custDataLst>
          </p:nvPr>
        </p:nvSpPr>
        <p:spPr bwMode="gray">
          <a:xfrm>
            <a:off x="2711450" y="5692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226867-95DF-42E3-96BE-DB91C8906E6F}" type="datetime'''''''''''3''''''''0''''.''''''''6'''''''''''''''''">
              <a:rPr lang="ja-JP" altLang="en-US" sz="1000" b="0" smtClean="0">
                <a:solidFill>
                  <a:srgbClr val="FFFFFF"/>
                </a:solidFill>
                <a:effectLst/>
              </a:rPr>
              <a:pPr/>
              <a:t>30.6</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0" name="Text Placeholder 12"/>
          <p:cNvSpPr>
            <a:spLocks noGrp="1"/>
          </p:cNvSpPr>
          <p:nvPr>
            <p:custDataLst>
              <p:tags r:id="rId174"/>
            </p:custDataLst>
          </p:nvPr>
        </p:nvSpPr>
        <p:spPr bwMode="gray">
          <a:xfrm>
            <a:off x="2711450" y="5008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D70A9EE-7C95-4D5C-99A7-7F42033701FE}" type="datetime'''''''6''''''''''''''7''''.''''0'''''''''''''''''''''">
              <a:rPr lang="ja-JP" altLang="en-US" sz="1000" b="0" smtClean="0">
                <a:solidFill>
                  <a:srgbClr val="000000"/>
                </a:solidFill>
                <a:effectLst/>
              </a:rPr>
              <a:pPr/>
              <a:t>67.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0" name="Text Placeholder 12"/>
          <p:cNvSpPr>
            <a:spLocks noGrp="1"/>
          </p:cNvSpPr>
          <p:nvPr>
            <p:custDataLst>
              <p:tags r:id="rId175"/>
            </p:custDataLst>
          </p:nvPr>
        </p:nvSpPr>
        <p:spPr bwMode="auto">
          <a:xfrm>
            <a:off x="24780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0" name="Text Placeholder 12"/>
          <p:cNvSpPr>
            <a:spLocks noGrp="1"/>
          </p:cNvSpPr>
          <p:nvPr>
            <p:custDataLst>
              <p:tags r:id="rId176"/>
            </p:custDataLst>
          </p:nvPr>
        </p:nvSpPr>
        <p:spPr bwMode="gray">
          <a:xfrm>
            <a:off x="2414588" y="56848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BA33CA-7655-44C7-989E-5E8FD3CD2F22}" type="datetime'3''''1.''''''''''9'''''''''''''">
              <a:rPr lang="ja-JP" altLang="en-US" sz="1000" b="0" smtClean="0">
                <a:solidFill>
                  <a:srgbClr val="FFFFFF"/>
                </a:solidFill>
                <a:effectLst/>
              </a:rPr>
              <a:pPr/>
              <a:t>31.9</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9" name="Text Placeholder 12"/>
          <p:cNvSpPr>
            <a:spLocks noGrp="1"/>
          </p:cNvSpPr>
          <p:nvPr>
            <p:custDataLst>
              <p:tags r:id="rId177"/>
            </p:custDataLst>
          </p:nvPr>
        </p:nvSpPr>
        <p:spPr bwMode="gray">
          <a:xfrm>
            <a:off x="2414588" y="4999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EE4D8E-91E8-48F9-99B7-FB1E49A61654}" type="datetime'''6''''''''''''''''5''''''''''.''''''''''''''''''8'">
              <a:rPr lang="ja-JP" altLang="en-US" sz="1000" b="0" smtClean="0">
                <a:solidFill>
                  <a:srgbClr val="000000"/>
                </a:solidFill>
                <a:effectLst/>
              </a:rPr>
              <a:pPr/>
              <a:t>65.8</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9" name="Text Placeholder 12"/>
          <p:cNvSpPr>
            <a:spLocks noGrp="1"/>
          </p:cNvSpPr>
          <p:nvPr>
            <p:custDataLst>
              <p:tags r:id="rId178"/>
            </p:custDataLst>
          </p:nvPr>
        </p:nvSpPr>
        <p:spPr bwMode="auto">
          <a:xfrm>
            <a:off x="21828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79"/>
            </p:custDataLst>
          </p:nvPr>
        </p:nvSpPr>
        <p:spPr bwMode="gray">
          <a:xfrm>
            <a:off x="2119313" y="56753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498035-97BE-438A-9605-1C6FE137DE73}" type="datetime'''''''''''''''''''''''''3''3''''''.''2'''''''">
              <a:rPr lang="ja-JP" altLang="en-US" sz="1000" b="0" smtClean="0">
                <a:solidFill>
                  <a:srgbClr val="FFFFFF"/>
                </a:solidFill>
                <a:effectLst/>
              </a:rPr>
              <a:pPr/>
              <a:t>33.2</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8" name="Text Placeholder 12"/>
          <p:cNvSpPr>
            <a:spLocks noGrp="1"/>
          </p:cNvSpPr>
          <p:nvPr>
            <p:custDataLst>
              <p:tags r:id="rId180"/>
            </p:custDataLst>
          </p:nvPr>
        </p:nvSpPr>
        <p:spPr bwMode="gray">
          <a:xfrm>
            <a:off x="2119313" y="4989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D471F97-8083-49CA-B2D5-229F47D6F7C7}" type="datetime'64''''''''''''''''''.''''''''5'''''''">
              <a:rPr lang="ja-JP" altLang="en-US" sz="1000" b="0" smtClean="0">
                <a:solidFill>
                  <a:srgbClr val="000000"/>
                </a:solidFill>
                <a:effectLst/>
              </a:rPr>
              <a:pPr/>
              <a:t>64.5</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8" name="Text Placeholder 12"/>
          <p:cNvSpPr>
            <a:spLocks noGrp="1"/>
          </p:cNvSpPr>
          <p:nvPr>
            <p:custDataLst>
              <p:tags r:id="rId181"/>
            </p:custDataLst>
          </p:nvPr>
        </p:nvSpPr>
        <p:spPr bwMode="auto">
          <a:xfrm>
            <a:off x="18859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8" name="Text Placeholder 12"/>
          <p:cNvSpPr>
            <a:spLocks noGrp="1"/>
          </p:cNvSpPr>
          <p:nvPr>
            <p:custDataLst>
              <p:tags r:id="rId182"/>
            </p:custDataLst>
          </p:nvPr>
        </p:nvSpPr>
        <p:spPr bwMode="gray">
          <a:xfrm>
            <a:off x="1822450" y="5665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0F64D2-B6F5-441D-A923-25D4A5069562}" type="datetime'''''''''3''''''''''''''''''''''''''''''''''''''''''4''''.5'''">
              <a:rPr lang="ja-JP" altLang="en-US" sz="1000" b="0" smtClean="0">
                <a:solidFill>
                  <a:srgbClr val="FFFFFF"/>
                </a:solidFill>
                <a:effectLst/>
              </a:rPr>
              <a:pPr/>
              <a:t>34.5</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7" name="Text Placeholder 12"/>
          <p:cNvSpPr>
            <a:spLocks noGrp="1"/>
          </p:cNvSpPr>
          <p:nvPr>
            <p:custDataLst>
              <p:tags r:id="rId183"/>
            </p:custDataLst>
          </p:nvPr>
        </p:nvSpPr>
        <p:spPr bwMode="gray">
          <a:xfrm>
            <a:off x="1822450" y="4979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35A8BF1-ADA3-4E6A-9A76-3EC55C91CB3F}" type="datetime'''''''''''''6''''''''''''''3''''''''''''''''''.''''3'''">
              <a:rPr lang="ja-JP" altLang="en-US" sz="1000" b="0" smtClean="0">
                <a:solidFill>
                  <a:srgbClr val="000000"/>
                </a:solidFill>
                <a:effectLst/>
              </a:rPr>
              <a:pPr/>
              <a:t>63.3</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7" name="Text Placeholder 12"/>
          <p:cNvSpPr>
            <a:spLocks noGrp="1"/>
          </p:cNvSpPr>
          <p:nvPr>
            <p:custDataLst>
              <p:tags r:id="rId184"/>
            </p:custDataLst>
          </p:nvPr>
        </p:nvSpPr>
        <p:spPr bwMode="auto">
          <a:xfrm>
            <a:off x="15906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185"/>
            </p:custDataLst>
          </p:nvPr>
        </p:nvSpPr>
        <p:spPr bwMode="gray">
          <a:xfrm>
            <a:off x="1527175" y="5657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9D8E0E9-3D31-4BF3-99A8-75ED395DD06E}" type="datetime'''3''''5''.7'''''''''''''''">
              <a:rPr lang="ja-JP" altLang="en-US" sz="1000" b="0" smtClean="0">
                <a:solidFill>
                  <a:srgbClr val="FFFFFF"/>
                </a:solidFill>
                <a:effectLst/>
              </a:rPr>
              <a:pPr/>
              <a:t>35.7</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6" name="Text Placeholder 12"/>
          <p:cNvSpPr>
            <a:spLocks noGrp="1"/>
          </p:cNvSpPr>
          <p:nvPr>
            <p:custDataLst>
              <p:tags r:id="rId186"/>
            </p:custDataLst>
          </p:nvPr>
        </p:nvSpPr>
        <p:spPr bwMode="gray">
          <a:xfrm>
            <a:off x="1527175" y="4972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D1351B9-E0D0-4833-8CC4-9A6B3D3E48F7}" type="datetime'''''6''''''''2''''''''''.''0'''''">
              <a:rPr lang="ja-JP" altLang="en-US" sz="1000" b="0" smtClean="0">
                <a:solidFill>
                  <a:srgbClr val="000000"/>
                </a:solidFill>
                <a:effectLst/>
              </a:rPr>
              <a:pPr/>
              <a:t>62.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3" name="Text Placeholder 12"/>
          <p:cNvSpPr>
            <a:spLocks noGrp="1"/>
          </p:cNvSpPr>
          <p:nvPr>
            <p:custDataLst>
              <p:tags r:id="rId187"/>
            </p:custDataLst>
          </p:nvPr>
        </p:nvSpPr>
        <p:spPr bwMode="auto">
          <a:xfrm>
            <a:off x="188913" y="42513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06" name="Text Placeholder 12"/>
          <p:cNvSpPr>
            <a:spLocks noGrp="1"/>
          </p:cNvSpPr>
          <p:nvPr>
            <p:custDataLst>
              <p:tags r:id="rId188"/>
            </p:custDataLst>
          </p:nvPr>
        </p:nvSpPr>
        <p:spPr bwMode="auto">
          <a:xfrm>
            <a:off x="12938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6" name="Text Placeholder 12"/>
          <p:cNvSpPr>
            <a:spLocks noGrp="1"/>
          </p:cNvSpPr>
          <p:nvPr>
            <p:custDataLst>
              <p:tags r:id="rId189"/>
            </p:custDataLst>
          </p:nvPr>
        </p:nvSpPr>
        <p:spPr bwMode="gray">
          <a:xfrm>
            <a:off x="1230313" y="5649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5C0374B-FCF8-4995-A622-D5F7B4CA4E7A}" type="datetime'3''''''''''6''''''''''''''''.8'">
              <a:rPr lang="ja-JP" altLang="en-US" sz="1000" b="0" smtClean="0">
                <a:solidFill>
                  <a:srgbClr val="FFFFFF"/>
                </a:solidFill>
                <a:effectLst/>
              </a:rPr>
              <a:pPr/>
              <a:t>36.8</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5" name="Text Placeholder 12"/>
          <p:cNvSpPr>
            <a:spLocks noGrp="1"/>
          </p:cNvSpPr>
          <p:nvPr>
            <p:custDataLst>
              <p:tags r:id="rId190"/>
            </p:custDataLst>
          </p:nvPr>
        </p:nvSpPr>
        <p:spPr bwMode="gray">
          <a:xfrm>
            <a:off x="1230313" y="4964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A05481-272A-4BF8-A89C-5A0D1E042CE3}" type="datetime'6''1''''''''''''''''''''''''''''''''.''0'''''''''''''">
              <a:rPr lang="ja-JP" altLang="en-US" sz="1000" b="0" smtClean="0">
                <a:solidFill>
                  <a:srgbClr val="000000"/>
                </a:solidFill>
                <a:effectLst/>
              </a:rPr>
              <a:pPr/>
              <a:t>61.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5" name="Text Placeholder 12"/>
          <p:cNvSpPr>
            <a:spLocks noGrp="1"/>
          </p:cNvSpPr>
          <p:nvPr>
            <p:custDataLst>
              <p:tags r:id="rId191"/>
            </p:custDataLst>
          </p:nvPr>
        </p:nvSpPr>
        <p:spPr bwMode="auto">
          <a:xfrm>
            <a:off x="9985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5" name="Text Placeholder 12"/>
          <p:cNvSpPr>
            <a:spLocks noGrp="1"/>
          </p:cNvSpPr>
          <p:nvPr>
            <p:custDataLst>
              <p:tags r:id="rId192"/>
            </p:custDataLst>
          </p:nvPr>
        </p:nvSpPr>
        <p:spPr bwMode="gray">
          <a:xfrm>
            <a:off x="935038" y="5643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1E7B048-7398-404D-9E40-70E08642DF39}" type="datetime'''''3''''7''''.''''''''''''''''''''''7'''''''''''''''">
              <a:rPr lang="ja-JP" altLang="en-US" sz="1000" b="0" smtClean="0">
                <a:solidFill>
                  <a:srgbClr val="FFFFFF"/>
                </a:solidFill>
                <a:effectLst/>
              </a:rPr>
              <a:pPr/>
              <a:t>37.7</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4" name="Text Placeholder 12"/>
          <p:cNvSpPr>
            <a:spLocks noGrp="1"/>
          </p:cNvSpPr>
          <p:nvPr>
            <p:custDataLst>
              <p:tags r:id="rId193"/>
            </p:custDataLst>
          </p:nvPr>
        </p:nvSpPr>
        <p:spPr bwMode="gray">
          <a:xfrm>
            <a:off x="935038" y="49577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908FAE1-33AE-404F-A0B9-A0E9E6EEC2A3}" type="datetime'''60''''''''''''''.''''1'">
              <a:rPr lang="ja-JP" altLang="en-US" sz="1000" b="0" smtClean="0">
                <a:solidFill>
                  <a:srgbClr val="000000"/>
                </a:solidFill>
                <a:effectLst/>
              </a:rPr>
              <a:pPr/>
              <a:t>60.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4" name="Text Placeholder 12"/>
          <p:cNvSpPr>
            <a:spLocks noGrp="1"/>
          </p:cNvSpPr>
          <p:nvPr>
            <p:custDataLst>
              <p:tags r:id="rId194"/>
            </p:custDataLst>
          </p:nvPr>
        </p:nvSpPr>
        <p:spPr bwMode="auto">
          <a:xfrm>
            <a:off x="631825" y="60706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195"/>
            </p:custDataLst>
          </p:nvPr>
        </p:nvSpPr>
        <p:spPr bwMode="gray">
          <a:xfrm>
            <a:off x="638175" y="56388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1771251-DF81-41A0-8714-DAF39D0CD75C}" type="datetime'''''''''''''''''3''''''''''''''8.''''''''''''''''''3'''">
              <a:rPr lang="ja-JP" altLang="en-US" sz="1000" b="0" smtClean="0">
                <a:solidFill>
                  <a:srgbClr val="FFFFFF"/>
                </a:solidFill>
                <a:effectLst/>
              </a:rPr>
              <a:pPr/>
              <a:t>38.3</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3" name="Text Placeholder 12"/>
          <p:cNvSpPr>
            <a:spLocks noGrp="1"/>
          </p:cNvSpPr>
          <p:nvPr>
            <p:custDataLst>
              <p:tags r:id="rId196"/>
            </p:custDataLst>
          </p:nvPr>
        </p:nvSpPr>
        <p:spPr bwMode="gray">
          <a:xfrm>
            <a:off x="638175" y="49530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F34F909-F8AE-4A46-B1FF-FB35F712563D}" type="datetime'''''''''''59''''''''''''''''''''.''''''''''''5'''''''''''">
              <a:rPr lang="ja-JP" altLang="en-US" sz="1000" b="0" smtClean="0">
                <a:solidFill>
                  <a:srgbClr val="000000"/>
                </a:solidFill>
                <a:effectLst/>
              </a:rPr>
              <a:pPr/>
              <a:t>59.5</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353" name="Text Placeholder 12">
            <a:extLst>
              <a:ext uri="{FF2B5EF4-FFF2-40B4-BE49-F238E27FC236}">
                <a16:creationId xmlns:a16="http://schemas.microsoft.com/office/drawing/2014/main" id="{69427E71-1693-144D-86D4-C0A922E99063}"/>
              </a:ext>
            </a:extLst>
          </p:cNvPr>
          <p:cNvSpPr>
            <a:spLocks noGrp="1"/>
          </p:cNvSpPr>
          <p:nvPr>
            <p:custDataLst>
              <p:tags r:id="rId197"/>
            </p:custDataLst>
          </p:nvPr>
        </p:nvSpPr>
        <p:spPr bwMode="auto">
          <a:xfrm>
            <a:off x="86947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A3CC0AF9-EF25-423A-89C3-81F8CF681775}" type="datetime'''''''''''''''4''''''''''''''''''0'''''''''''''''''''''''">
              <a:rPr kumimoji="0" lang="ja-JP" altLang="en-US" sz="1000" b="0" smtClean="0">
                <a:solidFill>
                  <a:srgbClr val="000000"/>
                </a:solidFill>
              </a:rPr>
              <a:pPr/>
              <a:t>4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55" name="テキスト プレースホルダ 9">
            <a:extLst>
              <a:ext uri="{FF2B5EF4-FFF2-40B4-BE49-F238E27FC236}">
                <a16:creationId xmlns:a16="http://schemas.microsoft.com/office/drawing/2014/main" id="{80469F87-6351-BD02-AFD1-F8C260F668C9}"/>
              </a:ext>
            </a:extLst>
          </p:cNvPr>
          <p:cNvSpPr>
            <a:spLocks noGrp="1"/>
          </p:cNvSpPr>
          <p:nvPr>
            <p:custDataLst>
              <p:tags r:id="rId198"/>
            </p:custDataLst>
          </p:nvPr>
        </p:nvSpPr>
        <p:spPr bwMode="gray">
          <a:xfrm>
            <a:off x="8631238" y="57562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2AEEFC7-FDE2-44BF-9E35-8E81556A0E32}" type="datetime'''''2''''1''''''''''.''''7'''''''''''''''''''''''''''''''''">
              <a:rPr lang="ja-JP" altLang="en-US" sz="1000" smtClean="0">
                <a:solidFill>
                  <a:srgbClr val="FFFFFF"/>
                </a:solidFill>
                <a:effectLst/>
                <a:sym typeface="+mn-lt"/>
              </a:rPr>
              <a:pPr/>
              <a:t>21.7</a:t>
            </a:fld>
            <a:endParaRPr kumimoji="1" lang="ja-JP" altLang="en-US" sz="1000" b="0" i="0" strike="noStrike" kern="1200" cap="none" spc="0" normalizeH="0" baseline="0" noProof="0" dirty="0">
              <a:ln>
                <a:noFill/>
              </a:ln>
              <a:solidFill>
                <a:srgbClr val="FFFFFF"/>
              </a:solidFill>
              <a:effectLst/>
              <a:uLnTx/>
              <a:uFillTx/>
              <a:sym typeface="+mn-lt"/>
            </a:endParaRPr>
          </a:p>
        </p:txBody>
      </p:sp>
      <p:sp>
        <p:nvSpPr>
          <p:cNvPr id="359" name="テキスト プレースホルダ 9">
            <a:extLst>
              <a:ext uri="{FF2B5EF4-FFF2-40B4-BE49-F238E27FC236}">
                <a16:creationId xmlns:a16="http://schemas.microsoft.com/office/drawing/2014/main" id="{3DB3A123-36CD-F600-A0F1-2EAA71A05608}"/>
              </a:ext>
            </a:extLst>
          </p:cNvPr>
          <p:cNvSpPr>
            <a:spLocks noGrp="1"/>
          </p:cNvSpPr>
          <p:nvPr>
            <p:custDataLst>
              <p:tags r:id="rId199"/>
            </p:custDataLst>
          </p:nvPr>
        </p:nvSpPr>
        <p:spPr bwMode="gray">
          <a:xfrm>
            <a:off x="8926513" y="51228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D3B1189-CF12-407E-8992-E23757DC00DC}" type="datetime'''''''''''''''''''''''''''''''''7''1''.''7'''''''''">
              <a:rPr lang="ja-JP" altLang="en-US" sz="1000" smtClean="0">
                <a:solidFill>
                  <a:srgbClr val="000000"/>
                </a:solidFill>
                <a:effectLst/>
                <a:sym typeface="+mn-lt"/>
              </a:rPr>
              <a:pPr/>
              <a:t>71.7</a:t>
            </a:fld>
            <a:endParaRPr kumimoji="1" lang="ja-JP" altLang="en-US" sz="1000" b="0" i="0" strike="noStrike" kern="1200" cap="none" spc="0" normalizeH="0" baseline="0" noProof="0" dirty="0">
              <a:ln>
                <a:noFill/>
              </a:ln>
              <a:solidFill>
                <a:srgbClr val="000000"/>
              </a:solidFill>
              <a:effectLst/>
              <a:uLnTx/>
              <a:uFillTx/>
              <a:sym typeface="+mn-lt"/>
            </a:endParaRPr>
          </a:p>
        </p:txBody>
      </p:sp>
      <p:sp>
        <p:nvSpPr>
          <p:cNvPr id="358" name="テキスト プレースホルダ 9">
            <a:extLst>
              <a:ext uri="{FF2B5EF4-FFF2-40B4-BE49-F238E27FC236}">
                <a16:creationId xmlns:a16="http://schemas.microsoft.com/office/drawing/2014/main" id="{851E68CD-843F-84A6-1EDA-76A987E14205}"/>
              </a:ext>
            </a:extLst>
          </p:cNvPr>
          <p:cNvSpPr>
            <a:spLocks noGrp="1"/>
          </p:cNvSpPr>
          <p:nvPr>
            <p:custDataLst>
              <p:tags r:id="rId200"/>
            </p:custDataLst>
          </p:nvPr>
        </p:nvSpPr>
        <p:spPr bwMode="gray">
          <a:xfrm>
            <a:off x="8926513" y="57673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8CADA84-9108-4663-972B-32D66ECF80A5}" type="datetime'''20.''''1'''''''''''''''''''">
              <a:rPr lang="ja-JP" altLang="en-US" sz="1000" smtClean="0">
                <a:solidFill>
                  <a:srgbClr val="FFFFFF"/>
                </a:solidFill>
                <a:effectLst/>
                <a:sym typeface="+mn-lt"/>
              </a:rPr>
              <a:pPr/>
              <a:t>20.1</a:t>
            </a:fld>
            <a:endParaRPr kumimoji="1" lang="ja-JP" altLang="en-US" sz="1000" b="0" i="0" strike="noStrike" kern="1200" cap="none" spc="0" normalizeH="0" baseline="0" noProof="0" dirty="0">
              <a:ln>
                <a:noFill/>
              </a:ln>
              <a:solidFill>
                <a:srgbClr val="FFFFFF"/>
              </a:solidFill>
              <a:effectLst/>
              <a:uLnTx/>
              <a:uFillTx/>
              <a:sym typeface="+mn-lt"/>
            </a:endParaRPr>
          </a:p>
        </p:txBody>
      </p:sp>
      <p:sp>
        <p:nvSpPr>
          <p:cNvPr id="85" name="Text Placeholder 12">
            <a:extLst>
              <a:ext uri="{FF2B5EF4-FFF2-40B4-BE49-F238E27FC236}">
                <a16:creationId xmlns:a16="http://schemas.microsoft.com/office/drawing/2014/main" id="{F23FD890-2101-A279-8BA3-9DBE89D82B71}"/>
              </a:ext>
            </a:extLst>
          </p:cNvPr>
          <p:cNvSpPr>
            <a:spLocks noGrp="1"/>
          </p:cNvSpPr>
          <p:nvPr>
            <p:custDataLst>
              <p:tags r:id="rId201"/>
            </p:custDataLst>
          </p:nvPr>
        </p:nvSpPr>
        <p:spPr bwMode="auto">
          <a:xfrm>
            <a:off x="78057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DAA126E5-28AE-4C91-94C0-73ED61CC40CB}" type="datetime'''''''''''''''''''''''''''''''''2''''4'">
              <a:rPr kumimoji="0" lang="ja-JP" altLang="en-US" sz="1000" b="0" smtClean="0">
                <a:solidFill>
                  <a:srgbClr val="000000"/>
                </a:solidFill>
              </a:rPr>
              <a:pPr/>
              <a:t>24</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31" name="Text Placeholder 12">
            <a:extLst>
              <a:ext uri="{FF2B5EF4-FFF2-40B4-BE49-F238E27FC236}">
                <a16:creationId xmlns:a16="http://schemas.microsoft.com/office/drawing/2014/main" id="{15210E40-AF93-FCD1-E903-6DE864BE225E}"/>
              </a:ext>
            </a:extLst>
          </p:cNvPr>
          <p:cNvSpPr>
            <a:spLocks noGrp="1"/>
          </p:cNvSpPr>
          <p:nvPr>
            <p:custDataLst>
              <p:tags r:id="rId202"/>
            </p:custDataLst>
          </p:nvPr>
        </p:nvSpPr>
        <p:spPr bwMode="auto">
          <a:xfrm>
            <a:off x="81026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1B609537-5669-48AA-B830-8B9F4FCE5C45}" type="datetime'''''''2''''''''5'''''''''''''''''''''''''''''''''''''">
              <a:rPr kumimoji="0" lang="ja-JP" altLang="en-US" sz="1000" b="0" smtClean="0">
                <a:solidFill>
                  <a:srgbClr val="000000"/>
                </a:solidFill>
              </a:rPr>
              <a:pPr/>
              <a:t>25</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1" name="テキスト プレースホルダ 9">
            <a:extLst>
              <a:ext uri="{FF2B5EF4-FFF2-40B4-BE49-F238E27FC236}">
                <a16:creationId xmlns:a16="http://schemas.microsoft.com/office/drawing/2014/main" id="{F5D97F76-0A90-4C0E-B338-38C63807DCD5}"/>
              </a:ext>
            </a:extLst>
          </p:cNvPr>
          <p:cNvSpPr>
            <a:spLocks noGrp="1"/>
          </p:cNvSpPr>
          <p:nvPr>
            <p:custDataLst>
              <p:tags r:id="rId203"/>
            </p:custDataLst>
          </p:nvPr>
        </p:nvSpPr>
        <p:spPr bwMode="gray">
          <a:xfrm>
            <a:off x="7742238" y="57404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27D5BD0-B44D-4163-9845-AC1D835B92BF}" type="datetime'''''''''''''2''''''''3''''''.''''8'''''''">
              <a:rPr lang="ja-JP" altLang="en-US" sz="1000" smtClean="0">
                <a:solidFill>
                  <a:srgbClr val="FFFFFF"/>
                </a:solidFill>
                <a:effectLst/>
                <a:sym typeface="+mn-lt"/>
              </a:rPr>
              <a:pPr/>
              <a:t>23.8</a:t>
            </a:fld>
            <a:endParaRPr kumimoji="1" lang="ja-JP" altLang="en-US" sz="1000" b="0" i="0" strike="noStrike" kern="1200" cap="none" spc="0" normalizeH="0" baseline="0" noProof="0" dirty="0">
              <a:ln>
                <a:noFill/>
              </a:ln>
              <a:solidFill>
                <a:srgbClr val="FFFFFF"/>
              </a:solidFill>
              <a:effectLst/>
              <a:uLnTx/>
              <a:uFillTx/>
              <a:sym typeface="+mn-lt"/>
            </a:endParaRPr>
          </a:p>
        </p:txBody>
      </p:sp>
      <p:sp>
        <p:nvSpPr>
          <p:cNvPr id="312" name="テキスト プレースホルダ 9">
            <a:extLst>
              <a:ext uri="{FF2B5EF4-FFF2-40B4-BE49-F238E27FC236}">
                <a16:creationId xmlns:a16="http://schemas.microsoft.com/office/drawing/2014/main" id="{9480F62C-08FA-9B11-417E-3BCC9018A0BC}"/>
              </a:ext>
            </a:extLst>
          </p:cNvPr>
          <p:cNvSpPr>
            <a:spLocks noGrp="1"/>
          </p:cNvSpPr>
          <p:nvPr>
            <p:custDataLst>
              <p:tags r:id="rId204"/>
            </p:custDataLst>
          </p:nvPr>
        </p:nvSpPr>
        <p:spPr bwMode="gray">
          <a:xfrm>
            <a:off x="7742238" y="50593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D23B3D3-C062-4F8E-83EC-15516B267BCF}" type="datetime'''''''''''''''7''''3''''.''''''''''''''''''2'''''''''''">
              <a:rPr lang="ja-JP" altLang="en-US" sz="1000" smtClean="0">
                <a:solidFill>
                  <a:srgbClr val="000000"/>
                </a:solidFill>
                <a:effectLst/>
                <a:sym typeface="+mn-lt"/>
              </a:rPr>
              <a:pPr/>
              <a:t>73.2</a:t>
            </a:fld>
            <a:endParaRPr kumimoji="1" lang="ja-JP" altLang="en-US" sz="1000" b="0" i="0" strike="noStrike" kern="1200" cap="none" spc="0" normalizeH="0" baseline="0" noProof="0" dirty="0">
              <a:ln>
                <a:noFill/>
              </a:ln>
              <a:solidFill>
                <a:srgbClr val="000000"/>
              </a:solidFill>
              <a:effectLst/>
              <a:uLnTx/>
              <a:uFillTx/>
              <a:sym typeface="+mn-lt"/>
            </a:endParaRPr>
          </a:p>
        </p:txBody>
      </p:sp>
      <p:sp>
        <p:nvSpPr>
          <p:cNvPr id="354" name="Text Placeholder 12">
            <a:extLst>
              <a:ext uri="{FF2B5EF4-FFF2-40B4-BE49-F238E27FC236}">
                <a16:creationId xmlns:a16="http://schemas.microsoft.com/office/drawing/2014/main" id="{D6ECDB5E-4466-F543-C0EB-62F659E4B591}"/>
              </a:ext>
            </a:extLst>
          </p:cNvPr>
          <p:cNvSpPr>
            <a:spLocks noGrp="1"/>
          </p:cNvSpPr>
          <p:nvPr>
            <p:custDataLst>
              <p:tags r:id="rId205"/>
            </p:custDataLst>
          </p:nvPr>
        </p:nvSpPr>
        <p:spPr bwMode="auto">
          <a:xfrm>
            <a:off x="89900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4CD181FC-4197-4953-A289-53974765D15C}" type="datetime'''''''''''''''''''''''''''''''''5''''''''''0'''''''''''''">
              <a:rPr kumimoji="0" lang="ja-JP" altLang="en-US" sz="1000" b="0" smtClean="0">
                <a:solidFill>
                  <a:srgbClr val="000000"/>
                </a:solidFill>
              </a:rPr>
              <a:pPr/>
              <a:t>5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25" name="Text Placeholder 12"/>
          <p:cNvSpPr>
            <a:spLocks noGrp="1"/>
          </p:cNvSpPr>
          <p:nvPr>
            <p:custDataLst>
              <p:tags r:id="rId206"/>
            </p:custDataLst>
          </p:nvPr>
        </p:nvSpPr>
        <p:spPr bwMode="auto">
          <a:xfrm>
            <a:off x="9261475" y="45815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3DFDC653-F50F-411A-85EE-711032DC7EC4}" type="datetime'''''''6''''''''''''5''''''''''歳以''''''上'''''''''''">
              <a:rPr lang="ja-JP" altLang="en-US" sz="1000" b="0" smtClean="0">
                <a:solidFill>
                  <a:srgbClr val="000000"/>
                </a:solidFill>
              </a:rPr>
              <a:pPr/>
              <a:t>65歳以上</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26" name="Text Placeholder 12"/>
          <p:cNvSpPr>
            <a:spLocks noGrp="1"/>
          </p:cNvSpPr>
          <p:nvPr>
            <p:custDataLst>
              <p:tags r:id="rId207"/>
            </p:custDataLst>
          </p:nvPr>
        </p:nvSpPr>
        <p:spPr bwMode="auto">
          <a:xfrm>
            <a:off x="9261475" y="512286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1ED47D58-273E-4258-AC26-2C3B05449F33}" type="datetime'''15～''''''''''6''''''''''''4''''歳'''''''''''''''''''''''''''">
              <a:rPr lang="ja-JP" altLang="en-US" sz="1000" b="0" smtClean="0">
                <a:solidFill>
                  <a:srgbClr val="000000"/>
                </a:solidFill>
              </a:rPr>
              <a:pPr/>
              <a:t>15～64歳</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27" name="Text Placeholder 12"/>
          <p:cNvSpPr>
            <a:spLocks noGrp="1"/>
          </p:cNvSpPr>
          <p:nvPr>
            <p:custDataLst>
              <p:tags r:id="rId208"/>
            </p:custDataLst>
          </p:nvPr>
        </p:nvSpPr>
        <p:spPr bwMode="auto">
          <a:xfrm>
            <a:off x="9261475" y="57673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89C27876-3DB4-4099-A876-8231197D40B7}" type="datetime'''''''1''5''''''''歳''''''未''''''''''''''''満'''''''''''">
              <a:rPr lang="ja-JP" altLang="en-US" sz="1000" b="0" smtClean="0">
                <a:solidFill>
                  <a:srgbClr val="000000"/>
                </a:solidFill>
              </a:rPr>
              <a:pPr/>
              <a:t>15歳未満</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30" name="テキスト プレースホルダ 9">
            <a:extLst>
              <a:ext uri="{FF2B5EF4-FFF2-40B4-BE49-F238E27FC236}">
                <a16:creationId xmlns:a16="http://schemas.microsoft.com/office/drawing/2014/main" id="{C265640F-898F-1D5F-D2EA-F2C988025FCF}"/>
              </a:ext>
            </a:extLst>
          </p:cNvPr>
          <p:cNvSpPr>
            <a:spLocks noGrp="1"/>
          </p:cNvSpPr>
          <p:nvPr>
            <p:custDataLst>
              <p:tags r:id="rId209"/>
            </p:custDataLst>
          </p:nvPr>
        </p:nvSpPr>
        <p:spPr bwMode="gray">
          <a:xfrm>
            <a:off x="8039100" y="57419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A456618-F787-4A1C-8F82-F15D70BF3B47}" type="datetime'''''''23''''''''''.''''''''''''''''''''''6'''''''''''''">
              <a:rPr lang="ja-JP" altLang="en-US" sz="1000" smtClean="0">
                <a:solidFill>
                  <a:srgbClr val="FFFFFF"/>
                </a:solidFill>
                <a:effectLst/>
                <a:sym typeface="+mn-lt"/>
              </a:rPr>
              <a:pPr/>
              <a:t>23.6</a:t>
            </a:fld>
            <a:endParaRPr kumimoji="1" lang="ja-JP" altLang="en-US" sz="1000" b="0" i="0" strike="noStrike" kern="1200" cap="none" spc="0" normalizeH="0" baseline="0" noProof="0" dirty="0">
              <a:ln>
                <a:noFill/>
              </a:ln>
              <a:solidFill>
                <a:srgbClr val="FFFFFF"/>
              </a:solidFill>
              <a:effectLst/>
              <a:uLnTx/>
              <a:uFillTx/>
              <a:sym typeface="+mn-lt"/>
            </a:endParaRPr>
          </a:p>
        </p:txBody>
      </p:sp>
      <p:sp>
        <p:nvSpPr>
          <p:cNvPr id="332" name="テキスト プレースホルダ 9">
            <a:extLst>
              <a:ext uri="{FF2B5EF4-FFF2-40B4-BE49-F238E27FC236}">
                <a16:creationId xmlns:a16="http://schemas.microsoft.com/office/drawing/2014/main" id="{A8DE8AAA-D4D0-5330-CB06-4F16DF96E7B9}"/>
              </a:ext>
            </a:extLst>
          </p:cNvPr>
          <p:cNvSpPr>
            <a:spLocks noGrp="1"/>
          </p:cNvSpPr>
          <p:nvPr>
            <p:custDataLst>
              <p:tags r:id="rId210"/>
            </p:custDataLst>
          </p:nvPr>
        </p:nvSpPr>
        <p:spPr bwMode="gray">
          <a:xfrm>
            <a:off x="8039100" y="50625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13270A0-5DEA-41C4-8920-95287E24E611}" type="datetime'''''7''''''''''''''''''''3''''''''''''''''''.3'">
              <a:rPr lang="ja-JP" altLang="en-US" sz="1000" smtClean="0">
                <a:solidFill>
                  <a:srgbClr val="000000"/>
                </a:solidFill>
                <a:effectLst/>
                <a:sym typeface="+mn-lt"/>
              </a:rPr>
              <a:pPr/>
              <a:t>73.3</a:t>
            </a:fld>
            <a:endParaRPr kumimoji="1" lang="ja-JP" altLang="en-US" sz="1000" b="0" i="0" strike="noStrike" kern="1200" cap="none" spc="0" normalizeH="0" baseline="0" noProof="0" dirty="0">
              <a:ln>
                <a:noFill/>
              </a:ln>
              <a:solidFill>
                <a:srgbClr val="000000"/>
              </a:solidFill>
              <a:effectLst/>
              <a:uLnTx/>
              <a:uFillTx/>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211"/>
            </p:custDataLst>
          </p:nvPr>
        </p:nvSpPr>
        <p:spPr bwMode="auto">
          <a:xfrm>
            <a:off x="83978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71DBB671-06FA-48F7-9178-6BF8D43ECB59}" type="datetime'''''''''3''''''''''''''''''''''''''''''''''''''''0'''''''''''">
              <a:rPr kumimoji="0" lang="ja-JP" altLang="en-US" sz="1000" b="0" smtClean="0">
                <a:solidFill>
                  <a:srgbClr val="000000"/>
                </a:solidFill>
              </a:rPr>
              <a:pPr lvl="0" algn="ctr">
                <a:spcBef>
                  <a:spcPct val="0"/>
                </a:spcBef>
                <a:spcAft>
                  <a:spcPct val="0"/>
                </a:spcAft>
                <a:defRPr/>
              </a:pPr>
              <a:t>3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66" name="テキスト プレースホルダ 9">
            <a:extLst>
              <a:ext uri="{FF2B5EF4-FFF2-40B4-BE49-F238E27FC236}">
                <a16:creationId xmlns:a16="http://schemas.microsoft.com/office/drawing/2014/main" id="{0F01354A-4242-436B-8BC6-DBF6000BA09A}"/>
              </a:ext>
            </a:extLst>
          </p:cNvPr>
          <p:cNvSpPr>
            <a:spLocks noGrp="1"/>
          </p:cNvSpPr>
          <p:nvPr>
            <p:custDataLst>
              <p:tags r:id="rId212"/>
            </p:custDataLst>
          </p:nvPr>
        </p:nvSpPr>
        <p:spPr bwMode="gray">
          <a:xfrm>
            <a:off x="8334375" y="57483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806D6AB-5B99-44F1-98AC-54E3FE70F054}" type="datetime'2''''''2.''''''''''''''''''''''8'''''">
              <a:rPr lang="ja-JP" altLang="en-US" sz="1000" smtClean="0">
                <a:solidFill>
                  <a:srgbClr val="FFFFFF"/>
                </a:solidFill>
                <a:effectLst/>
              </a:rPr>
              <a:pPr/>
              <a:t>22.8</a:t>
            </a:fld>
            <a:endParaRPr kumimoji="1" lang="ja-JP" altLang="en-US" sz="1000" b="0" i="0" strike="noStrike" kern="1200" cap="none" spc="0" normalizeH="0" baseline="0" noProof="0" dirty="0">
              <a:ln>
                <a:noFill/>
              </a:ln>
              <a:solidFill>
                <a:srgbClr val="FFFFFF"/>
              </a:solidFill>
              <a:effectLst/>
              <a:uLnTx/>
              <a:uFillTx/>
              <a:cs typeface="+mn-cs"/>
              <a:sym typeface="+mn-lt"/>
            </a:endParaRPr>
          </a:p>
        </p:txBody>
      </p:sp>
      <p:graphicFrame>
        <p:nvGraphicFramePr>
          <p:cNvPr id="78" name="Chart 77">
            <a:extLst>
              <a:ext uri="{FF2B5EF4-FFF2-40B4-BE49-F238E27FC236}">
                <a16:creationId xmlns:a16="http://schemas.microsoft.com/office/drawing/2014/main" id="{972BE08A-D376-F735-F0E0-D547B292F3BF}"/>
              </a:ext>
            </a:extLst>
          </p:cNvPr>
          <p:cNvGraphicFramePr/>
          <p:nvPr>
            <p:custDataLst>
              <p:tags r:id="rId213"/>
            </p:custDataLst>
            <p:extLst>
              <p:ext uri="{D42A27DB-BD31-4B8C-83A1-F6EECF244321}">
                <p14:modId xmlns:p14="http://schemas.microsoft.com/office/powerpoint/2010/main" val="1093870009"/>
              </p:ext>
            </p:extLst>
          </p:nvPr>
        </p:nvGraphicFramePr>
        <p:xfrm>
          <a:off x="292100" y="2254250"/>
          <a:ext cx="9267825" cy="1700213"/>
        </p:xfrm>
        <a:graphic>
          <a:graphicData uri="http://schemas.openxmlformats.org/drawingml/2006/chart">
            <c:chart xmlns:c="http://schemas.openxmlformats.org/drawingml/2006/chart" xmlns:r="http://schemas.openxmlformats.org/officeDocument/2006/relationships" r:id="rId291"/>
          </a:graphicData>
        </a:graphic>
      </p:graphicFrame>
      <p:cxnSp>
        <p:nvCxnSpPr>
          <p:cNvPr id="11" name="Straight Connector 10">
            <a:extLst>
              <a:ext uri="{FF2B5EF4-FFF2-40B4-BE49-F238E27FC236}">
                <a16:creationId xmlns:a16="http://schemas.microsoft.com/office/drawing/2014/main" id="{94AE2EFB-226E-B517-7BF2-D1AD5A54B5D0}"/>
              </a:ext>
            </a:extLst>
          </p:cNvPr>
          <p:cNvCxnSpPr/>
          <p:nvPr>
            <p:custDataLst>
              <p:tags r:id="rId214"/>
            </p:custDataLst>
          </p:nvPr>
        </p:nvCxnSpPr>
        <p:spPr bwMode="auto">
          <a:xfrm>
            <a:off x="6411913" y="2986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8FD65165-F189-BB55-97FF-9E1961F1471D}"/>
              </a:ext>
            </a:extLst>
          </p:cNvPr>
          <p:cNvCxnSpPr/>
          <p:nvPr>
            <p:custDataLst>
              <p:tags r:id="rId215"/>
            </p:custDataLst>
          </p:nvPr>
        </p:nvCxnSpPr>
        <p:spPr bwMode="auto">
          <a:xfrm>
            <a:off x="5824538" y="3519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30B94849-5317-A7F3-07AC-78F155F164B3}"/>
              </a:ext>
            </a:extLst>
          </p:cNvPr>
          <p:cNvCxnSpPr/>
          <p:nvPr>
            <p:custDataLst>
              <p:tags r:id="rId216"/>
            </p:custDataLst>
          </p:nvPr>
        </p:nvCxnSpPr>
        <p:spPr bwMode="auto">
          <a:xfrm>
            <a:off x="5822950" y="2978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FE595423-B275-F8E1-F70C-E2A4BBB1DD5E}"/>
              </a:ext>
            </a:extLst>
          </p:cNvPr>
          <p:cNvCxnSpPr/>
          <p:nvPr>
            <p:custDataLst>
              <p:tags r:id="rId217"/>
            </p:custDataLst>
          </p:nvPr>
        </p:nvCxnSpPr>
        <p:spPr bwMode="auto">
          <a:xfrm>
            <a:off x="6118225" y="3560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330">
            <a:extLst>
              <a:ext uri="{FF2B5EF4-FFF2-40B4-BE49-F238E27FC236}">
                <a16:creationId xmlns:a16="http://schemas.microsoft.com/office/drawing/2014/main" id="{4B25EAE5-87DD-25C0-9DB7-E8EA36A0861B}"/>
              </a:ext>
            </a:extLst>
          </p:cNvPr>
          <p:cNvCxnSpPr/>
          <p:nvPr>
            <p:custDataLst>
              <p:tags r:id="rId218"/>
            </p:custDataLst>
          </p:nvPr>
        </p:nvCxnSpPr>
        <p:spPr bwMode="auto">
          <a:xfrm>
            <a:off x="6118225" y="29876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1D1A8F2C-A614-1AE3-6FB2-4B4FF2247CAB}"/>
              </a:ext>
            </a:extLst>
          </p:cNvPr>
          <p:cNvCxnSpPr/>
          <p:nvPr>
            <p:custDataLst>
              <p:tags r:id="rId219"/>
            </p:custDataLst>
          </p:nvPr>
        </p:nvCxnSpPr>
        <p:spPr bwMode="auto">
          <a:xfrm flipV="1">
            <a:off x="6708775" y="3333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01794ABA-21C7-887E-A264-E5F456B998BE}"/>
              </a:ext>
            </a:extLst>
          </p:cNvPr>
          <p:cNvCxnSpPr/>
          <p:nvPr>
            <p:custDataLst>
              <p:tags r:id="rId220"/>
            </p:custDataLst>
          </p:nvPr>
        </p:nvCxnSpPr>
        <p:spPr bwMode="auto">
          <a:xfrm flipV="1">
            <a:off x="7004050" y="3362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1C0F0D5A-2EFE-3460-A4C4-AACFBFEB5BEC}"/>
              </a:ext>
            </a:extLst>
          </p:cNvPr>
          <p:cNvCxnSpPr/>
          <p:nvPr>
            <p:custDataLst>
              <p:tags r:id="rId221"/>
            </p:custDataLst>
          </p:nvPr>
        </p:nvCxnSpPr>
        <p:spPr bwMode="auto">
          <a:xfrm>
            <a:off x="7002463" y="2965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33">
            <a:extLst>
              <a:ext uri="{FF2B5EF4-FFF2-40B4-BE49-F238E27FC236}">
                <a16:creationId xmlns:a16="http://schemas.microsoft.com/office/drawing/2014/main" id="{7305EE40-EC4B-8019-6CE7-0AF13245357C}"/>
              </a:ext>
            </a:extLst>
          </p:cNvPr>
          <p:cNvCxnSpPr/>
          <p:nvPr>
            <p:custDataLst>
              <p:tags r:id="rId222"/>
            </p:custDataLst>
          </p:nvPr>
        </p:nvCxnSpPr>
        <p:spPr bwMode="auto">
          <a:xfrm>
            <a:off x="8477250" y="28209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2B0436B9-384C-BE92-61AE-6B1E3C1E99A5}"/>
              </a:ext>
            </a:extLst>
          </p:cNvPr>
          <p:cNvCxnSpPr/>
          <p:nvPr>
            <p:custDataLst>
              <p:tags r:id="rId223"/>
            </p:custDataLst>
          </p:nvPr>
        </p:nvCxnSpPr>
        <p:spPr bwMode="auto">
          <a:xfrm>
            <a:off x="8770938" y="270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C4F0E227-174C-9166-ABBC-DC38EDA88030}"/>
              </a:ext>
            </a:extLst>
          </p:cNvPr>
          <p:cNvCxnSpPr/>
          <p:nvPr>
            <p:custDataLst>
              <p:tags r:id="rId224"/>
            </p:custDataLst>
          </p:nvPr>
        </p:nvCxnSpPr>
        <p:spPr bwMode="auto">
          <a:xfrm>
            <a:off x="9066213" y="2579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BC256245-C41D-6F88-FBD8-8DB315889F85}"/>
              </a:ext>
            </a:extLst>
          </p:cNvPr>
          <p:cNvCxnSpPr/>
          <p:nvPr>
            <p:custDataLst>
              <p:tags r:id="rId225"/>
            </p:custDataLst>
          </p:nvPr>
        </p:nvCxnSpPr>
        <p:spPr bwMode="auto">
          <a:xfrm>
            <a:off x="6707188" y="2973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EAF193B4-F4DC-019E-7037-D8DDEB734E02}"/>
              </a:ext>
            </a:extLst>
          </p:cNvPr>
          <p:cNvCxnSpPr/>
          <p:nvPr>
            <p:custDataLst>
              <p:tags r:id="rId226"/>
            </p:custDataLst>
          </p:nvPr>
        </p:nvCxnSpPr>
        <p:spPr bwMode="auto">
          <a:xfrm flipV="1">
            <a:off x="6413500" y="3182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72EB95E6-5845-9FE1-202D-6852B64AE1EF}"/>
              </a:ext>
            </a:extLst>
          </p:cNvPr>
          <p:cNvCxnSpPr/>
          <p:nvPr>
            <p:custDataLst>
              <p:tags r:id="rId227"/>
            </p:custDataLst>
          </p:nvPr>
        </p:nvCxnSpPr>
        <p:spPr bwMode="auto">
          <a:xfrm>
            <a:off x="8772525" y="3160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75E2EA45-0785-D092-D1B6-D5AB3A05F0AB}"/>
              </a:ext>
            </a:extLst>
          </p:cNvPr>
          <p:cNvCxnSpPr/>
          <p:nvPr>
            <p:custDataLst>
              <p:tags r:id="rId228"/>
            </p:custDataLst>
          </p:nvPr>
        </p:nvCxnSpPr>
        <p:spPr bwMode="auto">
          <a:xfrm>
            <a:off x="9067800" y="3182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6" name="テキスト プレースホルダ 9">
            <a:extLst>
              <a:ext uri="{FF2B5EF4-FFF2-40B4-BE49-F238E27FC236}">
                <a16:creationId xmlns:a16="http://schemas.microsoft.com/office/drawing/2014/main" id="{C38E7322-83C8-D964-4451-AE04EB63290E}"/>
              </a:ext>
            </a:extLst>
          </p:cNvPr>
          <p:cNvSpPr>
            <a:spLocks noGrp="1"/>
          </p:cNvSpPr>
          <p:nvPr>
            <p:custDataLst>
              <p:tags r:id="rId229"/>
            </p:custDataLst>
          </p:nvPr>
        </p:nvSpPr>
        <p:spPr bwMode="auto">
          <a:xfrm>
            <a:off x="25034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012CBE-4867-40C7-BD2D-85F1259E676A}"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8B03D583-A16A-0E3D-2F98-58E03724764F}"/>
              </a:ext>
            </a:extLst>
          </p:cNvPr>
          <p:cNvSpPr>
            <a:spLocks noGrp="1"/>
          </p:cNvSpPr>
          <p:nvPr>
            <p:custDataLst>
              <p:tags r:id="rId230"/>
            </p:custDataLst>
          </p:nvPr>
        </p:nvSpPr>
        <p:spPr bwMode="gray">
          <a:xfrm>
            <a:off x="2733675" y="3389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3568D8-BB84-46E3-9BB4-81DC70405DCE}" type="datetime'''''''22''''''''''''''''''''''.''''''''''''''4'''''">
              <a:rPr lang="ja-JP" altLang="en-US" sz="1000" smtClean="0">
                <a:effectLst/>
                <a:sym typeface="+mn-lt"/>
              </a:rPr>
              <a:pPr marL="0" lvl="0" indent="0" algn="ctr">
                <a:spcBef>
                  <a:spcPct val="0"/>
                </a:spcBef>
                <a:buNone/>
              </a:pPr>
              <a:t>22.4</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F66C91D3-C33F-BCD5-F297-D8BB701DF6F1}"/>
              </a:ext>
            </a:extLst>
          </p:cNvPr>
          <p:cNvSpPr>
            <a:spLocks noGrp="1"/>
          </p:cNvSpPr>
          <p:nvPr>
            <p:custDataLst>
              <p:tags r:id="rId231"/>
            </p:custDataLst>
          </p:nvPr>
        </p:nvSpPr>
        <p:spPr bwMode="auto">
          <a:xfrm>
            <a:off x="27971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3DE400-EDC9-4FFD-95DC-0ACC9D2DB029}"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29" name="テキスト プレースホルダ 9">
            <a:extLst>
              <a:ext uri="{FF2B5EF4-FFF2-40B4-BE49-F238E27FC236}">
                <a16:creationId xmlns:a16="http://schemas.microsoft.com/office/drawing/2014/main" id="{4B7BADBC-4222-B676-07A3-DB228DDA75A1}"/>
              </a:ext>
            </a:extLst>
          </p:cNvPr>
          <p:cNvSpPr>
            <a:spLocks noGrp="1"/>
          </p:cNvSpPr>
          <p:nvPr>
            <p:custDataLst>
              <p:tags r:id="rId232"/>
            </p:custDataLst>
          </p:nvPr>
        </p:nvSpPr>
        <p:spPr bwMode="gray">
          <a:xfrm>
            <a:off x="3028950" y="3378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7F4FF3-994B-47CF-BCB4-EA3CC37E2744}" type="datetime'2''''''''3''''''''''''''''.''''''3'''''''''''''''''">
              <a:rPr lang="ja-JP" altLang="en-US" sz="1000" smtClean="0">
                <a:effectLst/>
                <a:sym typeface="+mn-lt"/>
              </a:rPr>
              <a:pPr marL="0" lvl="0" indent="0" algn="ctr">
                <a:spcBef>
                  <a:spcPct val="0"/>
                </a:spcBef>
                <a:buNone/>
              </a:pPr>
              <a:t>23.3</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57E5DD03-2A5F-A9E5-F9BB-76E73CFC5840}"/>
              </a:ext>
            </a:extLst>
          </p:cNvPr>
          <p:cNvSpPr>
            <a:spLocks noGrp="1"/>
          </p:cNvSpPr>
          <p:nvPr>
            <p:custDataLst>
              <p:tags r:id="rId233"/>
            </p:custDataLst>
          </p:nvPr>
        </p:nvSpPr>
        <p:spPr bwMode="auto">
          <a:xfrm>
            <a:off x="30924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527E7C-EB38-4346-B289-53093C35943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2AC347A7-C919-0624-D9C4-67CB7EFB7563}"/>
              </a:ext>
            </a:extLst>
          </p:cNvPr>
          <p:cNvSpPr>
            <a:spLocks noGrp="1"/>
          </p:cNvSpPr>
          <p:nvPr>
            <p:custDataLst>
              <p:tags r:id="rId234"/>
            </p:custDataLst>
          </p:nvPr>
        </p:nvSpPr>
        <p:spPr bwMode="gray">
          <a:xfrm>
            <a:off x="3324225" y="3367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8CA8FF-18EE-4C09-8DC3-8CB6273F2A90}" type="datetime'2''''''''''''''''''''''''''''''''''''''''''''''4''.''2'''''''">
              <a:rPr lang="ja-JP" altLang="en-US" sz="1000" smtClean="0">
                <a:effectLst/>
                <a:sym typeface="+mn-lt"/>
              </a:rPr>
              <a:pPr marL="0" lvl="0" indent="0" algn="ctr">
                <a:spcBef>
                  <a:spcPct val="0"/>
                </a:spcBef>
                <a:buNone/>
              </a:pPr>
              <a:t>24.2</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0BC0D610-9755-7E4B-D2C2-A925C0D22CD2}"/>
              </a:ext>
            </a:extLst>
          </p:cNvPr>
          <p:cNvSpPr>
            <a:spLocks noGrp="1"/>
          </p:cNvSpPr>
          <p:nvPr>
            <p:custDataLst>
              <p:tags r:id="rId235"/>
            </p:custDataLst>
          </p:nvPr>
        </p:nvSpPr>
        <p:spPr bwMode="auto">
          <a:xfrm>
            <a:off x="33877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C9199-3841-4E95-8F1E-169ABDCDA187}"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B5977D81-B4A7-F4FE-FD2E-7EBFDF66FDA8}"/>
              </a:ext>
            </a:extLst>
          </p:cNvPr>
          <p:cNvSpPr>
            <a:spLocks noGrp="1"/>
          </p:cNvSpPr>
          <p:nvPr>
            <p:custDataLst>
              <p:tags r:id="rId236"/>
            </p:custDataLst>
          </p:nvPr>
        </p:nvSpPr>
        <p:spPr bwMode="gray">
          <a:xfrm>
            <a:off x="3619500" y="3355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506D3A-998E-43A2-8845-107EF6B5F991}" type="datetime'''''''''''''''''''''''2''''''5''''.''''''''''''2'''''''''">
              <a:rPr lang="ja-JP" altLang="en-US" sz="1000" smtClean="0">
                <a:effectLst/>
                <a:sym typeface="+mn-lt"/>
              </a:rPr>
              <a:pPr marL="0" lvl="0" indent="0" algn="ctr">
                <a:spcBef>
                  <a:spcPct val="0"/>
                </a:spcBef>
                <a:buNone/>
              </a:pPr>
              <a:t>25.2</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5F6A1C2A-B078-24F0-B65C-3BAD979C4C13}"/>
              </a:ext>
            </a:extLst>
          </p:cNvPr>
          <p:cNvSpPr>
            <a:spLocks noGrp="1"/>
          </p:cNvSpPr>
          <p:nvPr>
            <p:custDataLst>
              <p:tags r:id="rId237"/>
            </p:custDataLst>
          </p:nvPr>
        </p:nvSpPr>
        <p:spPr bwMode="auto">
          <a:xfrm>
            <a:off x="36830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05661C-27CB-41E8-A31D-CAB0C8B45F53}"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88D23EA7-DAFD-C9BF-BC1E-78EFC76C6B47}"/>
              </a:ext>
            </a:extLst>
          </p:cNvPr>
          <p:cNvSpPr>
            <a:spLocks noGrp="1"/>
          </p:cNvSpPr>
          <p:nvPr>
            <p:custDataLst>
              <p:tags r:id="rId238"/>
            </p:custDataLst>
          </p:nvPr>
        </p:nvSpPr>
        <p:spPr bwMode="gray">
          <a:xfrm>
            <a:off x="3913188" y="3344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215D80-B1B4-430D-8817-A4B30E6C0595}" type="datetime'''''''''''''''''''''''''''''''''26''''''''''.1'">
              <a:rPr lang="ja-JP" altLang="en-US" sz="1000" smtClean="0">
                <a:effectLst/>
                <a:sym typeface="+mn-lt"/>
              </a:rPr>
              <a:pPr marL="0" lvl="0" indent="0" algn="ctr">
                <a:spcBef>
                  <a:spcPct val="0"/>
                </a:spcBef>
                <a:buNone/>
              </a:pPr>
              <a:t>26.1</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BEF90455-060D-7FA9-8DDA-67F7C03423D8}"/>
              </a:ext>
            </a:extLst>
          </p:cNvPr>
          <p:cNvSpPr>
            <a:spLocks noGrp="1"/>
          </p:cNvSpPr>
          <p:nvPr>
            <p:custDataLst>
              <p:tags r:id="rId239"/>
            </p:custDataLst>
          </p:nvPr>
        </p:nvSpPr>
        <p:spPr bwMode="auto">
          <a:xfrm>
            <a:off x="39766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A1427A-546A-426B-B942-159ED6BB945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B2808F1F-1C8B-F9EE-57FF-FAB27388BA94}"/>
              </a:ext>
            </a:extLst>
          </p:cNvPr>
          <p:cNvSpPr>
            <a:spLocks noGrp="1"/>
          </p:cNvSpPr>
          <p:nvPr>
            <p:custDataLst>
              <p:tags r:id="rId240"/>
            </p:custDataLst>
          </p:nvPr>
        </p:nvSpPr>
        <p:spPr bwMode="gray">
          <a:xfrm>
            <a:off x="4208463" y="33337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5D8C0-356C-4C51-A97D-CEAC57DEBC82}" type="datetime'''''''''''''''''2''''''''''7''''''''''''''.''''''''1'''">
              <a:rPr lang="ja-JP" altLang="en-US" sz="1000" smtClean="0">
                <a:effectLst/>
                <a:sym typeface="+mn-lt"/>
              </a:rPr>
              <a:pPr marL="0" lvl="0" indent="0" algn="ctr">
                <a:spcBef>
                  <a:spcPct val="0"/>
                </a:spcBef>
                <a:buNone/>
              </a:pPr>
              <a:t>27.1</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5FCE3849-1DD6-5136-25BB-2105C69846AE}"/>
              </a:ext>
            </a:extLst>
          </p:cNvPr>
          <p:cNvSpPr>
            <a:spLocks noGrp="1"/>
          </p:cNvSpPr>
          <p:nvPr>
            <p:custDataLst>
              <p:tags r:id="rId241"/>
            </p:custDataLst>
          </p:nvPr>
        </p:nvSpPr>
        <p:spPr bwMode="gray">
          <a:xfrm>
            <a:off x="4503738" y="3322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45C735-7BB4-4509-8FD5-2B98320A4582}" type="datetime'28''''''''''''''''''''''''''''''''''''''''''''''''.''0'''''''">
              <a:rPr lang="ja-JP" altLang="en-US" sz="1000" smtClean="0">
                <a:effectLst/>
                <a:sym typeface="+mn-lt"/>
              </a:rPr>
              <a:pPr marL="0" lvl="0" indent="0" algn="ctr">
                <a:spcBef>
                  <a:spcPct val="0"/>
                </a:spcBef>
                <a:buNone/>
              </a:pPr>
              <a:t>28.0</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A4F40160-2623-A2CE-9CAC-433347EBFF2B}"/>
              </a:ext>
            </a:extLst>
          </p:cNvPr>
          <p:cNvSpPr>
            <a:spLocks noGrp="1"/>
          </p:cNvSpPr>
          <p:nvPr>
            <p:custDataLst>
              <p:tags r:id="rId242"/>
            </p:custDataLst>
          </p:nvPr>
        </p:nvSpPr>
        <p:spPr bwMode="auto">
          <a:xfrm>
            <a:off x="45672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D2A4CD-660D-490A-ABAE-0923456DD81A}"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FE9295B1-CEC0-6E6E-3ACF-BB80155790B7}"/>
              </a:ext>
            </a:extLst>
          </p:cNvPr>
          <p:cNvSpPr>
            <a:spLocks noGrp="1"/>
          </p:cNvSpPr>
          <p:nvPr>
            <p:custDataLst>
              <p:tags r:id="rId243"/>
            </p:custDataLst>
          </p:nvPr>
        </p:nvSpPr>
        <p:spPr bwMode="gray">
          <a:xfrm>
            <a:off x="4799013" y="3309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BB263-6511-4D95-A96E-59F00A5FBD89}" type="datetime'''''''2''''''''''''''''''''''''''9''''''.''''''''''''''''''0'">
              <a:rPr lang="ja-JP" altLang="en-US" sz="1000" smtClean="0">
                <a:effectLst/>
                <a:sym typeface="+mn-lt"/>
              </a:rPr>
              <a:pPr marL="0" lvl="0" indent="0" algn="ctr">
                <a:spcBef>
                  <a:spcPct val="0"/>
                </a:spcBef>
                <a:buNone/>
              </a:pPr>
              <a:t>29.0</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92B83A61-2419-DE2A-1F8E-D71100B610C0}"/>
              </a:ext>
            </a:extLst>
          </p:cNvPr>
          <p:cNvSpPr>
            <a:spLocks noGrp="1"/>
          </p:cNvSpPr>
          <p:nvPr>
            <p:custDataLst>
              <p:tags r:id="rId244"/>
            </p:custDataLst>
          </p:nvPr>
        </p:nvSpPr>
        <p:spPr bwMode="auto">
          <a:xfrm>
            <a:off x="48625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8A9612-395D-4AD8-ACC3-ABBCC36C3F0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51CFE6C-9424-E169-2D8E-40084FBC887B}"/>
              </a:ext>
            </a:extLst>
          </p:cNvPr>
          <p:cNvSpPr>
            <a:spLocks noGrp="1"/>
          </p:cNvSpPr>
          <p:nvPr>
            <p:custDataLst>
              <p:tags r:id="rId245"/>
            </p:custDataLst>
          </p:nvPr>
        </p:nvSpPr>
        <p:spPr bwMode="gray">
          <a:xfrm>
            <a:off x="5092700" y="32988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55653-FBB6-4814-88DE-C6A67C8C0CE8}" type="datetime'''''''''''''''''3''''''''0''.''''''0'''''">
              <a:rPr lang="ja-JP" altLang="en-US" sz="1000" smtClean="0">
                <a:effectLst/>
                <a:sym typeface="+mn-lt"/>
              </a:rPr>
              <a:pPr marL="0" lvl="0" indent="0" algn="ctr">
                <a:spcBef>
                  <a:spcPct val="0"/>
                </a:spcBef>
                <a:buNone/>
              </a:pPr>
              <a:t>30.0</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E0C0DAD6-CC58-1B14-C671-6B832E532FB0}"/>
              </a:ext>
            </a:extLst>
          </p:cNvPr>
          <p:cNvSpPr>
            <a:spLocks noGrp="1"/>
          </p:cNvSpPr>
          <p:nvPr>
            <p:custDataLst>
              <p:tags r:id="rId246"/>
            </p:custDataLst>
          </p:nvPr>
        </p:nvSpPr>
        <p:spPr bwMode="auto">
          <a:xfrm>
            <a:off x="51562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67914F-FDA3-45D8-9825-DB1B1EC3C74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0D170652-693E-E0A9-7566-680BEDE2CC79}"/>
              </a:ext>
            </a:extLst>
          </p:cNvPr>
          <p:cNvSpPr>
            <a:spLocks noGrp="1"/>
          </p:cNvSpPr>
          <p:nvPr>
            <p:custDataLst>
              <p:tags r:id="rId247"/>
            </p:custDataLst>
          </p:nvPr>
        </p:nvSpPr>
        <p:spPr bwMode="gray">
          <a:xfrm>
            <a:off x="5387975" y="32908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7307CB-580B-4DE9-B497-45CC0DEE1AE6}" type="datetime'''''''''''''''''3''''0''''''''''.''''''7'''''''''''">
              <a:rPr lang="ja-JP" altLang="en-US" sz="1000" smtClean="0">
                <a:effectLst/>
                <a:sym typeface="+mn-lt"/>
              </a:rPr>
              <a:pPr marL="0" lvl="0" indent="0" algn="ctr">
                <a:spcBef>
                  <a:spcPct val="0"/>
                </a:spcBef>
                <a:buNone/>
              </a:pPr>
              <a:t>30.7</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7B5B28FE-D407-DBB9-03C0-0D038265DD0F}"/>
              </a:ext>
            </a:extLst>
          </p:cNvPr>
          <p:cNvSpPr>
            <a:spLocks noGrp="1"/>
          </p:cNvSpPr>
          <p:nvPr>
            <p:custDataLst>
              <p:tags r:id="rId248"/>
            </p:custDataLst>
          </p:nvPr>
        </p:nvSpPr>
        <p:spPr bwMode="auto">
          <a:xfrm>
            <a:off x="54514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FD795-9677-4709-92E6-71CDB4C6A1E4}"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4EF99C29-20FD-F412-A096-2C36D49D733C}"/>
              </a:ext>
            </a:extLst>
          </p:cNvPr>
          <p:cNvSpPr>
            <a:spLocks noGrp="1"/>
          </p:cNvSpPr>
          <p:nvPr>
            <p:custDataLst>
              <p:tags r:id="rId249"/>
            </p:custDataLst>
          </p:nvPr>
        </p:nvSpPr>
        <p:spPr bwMode="auto">
          <a:xfrm>
            <a:off x="42719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7535E7-49EE-45A5-98E6-191A45E2C48D}"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8" name="Text Placeholder 12"/>
          <p:cNvSpPr>
            <a:spLocks noGrp="1"/>
          </p:cNvSpPr>
          <p:nvPr>
            <p:custDataLst>
              <p:tags r:id="rId250"/>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49" name="Text Placeholder 12"/>
          <p:cNvSpPr>
            <a:spLocks noGrp="1"/>
          </p:cNvSpPr>
          <p:nvPr>
            <p:custDataLst>
              <p:tags r:id="rId251"/>
            </p:custDataLst>
          </p:nvPr>
        </p:nvSpPr>
        <p:spPr bwMode="auto">
          <a:xfrm>
            <a:off x="9159875"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27" name="テキスト プレースホルダ 9">
            <a:extLst>
              <a:ext uri="{FF2B5EF4-FFF2-40B4-BE49-F238E27FC236}">
                <a16:creationId xmlns:a16="http://schemas.microsoft.com/office/drawing/2014/main" id="{024CCA5C-DD67-D912-C540-610E9A15178C}"/>
              </a:ext>
            </a:extLst>
          </p:cNvPr>
          <p:cNvSpPr>
            <a:spLocks noGrp="1"/>
          </p:cNvSpPr>
          <p:nvPr>
            <p:custDataLst>
              <p:tags r:id="rId252"/>
            </p:custDataLst>
          </p:nvPr>
        </p:nvSpPr>
        <p:spPr bwMode="auto">
          <a:xfrm>
            <a:off x="5746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E0996-CE51-4189-89C5-6E157CC7F82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577FCDE1-1F48-2C3A-17A8-FCF9A7E7ABB5}"/>
              </a:ext>
            </a:extLst>
          </p:cNvPr>
          <p:cNvSpPr>
            <a:spLocks noGrp="1"/>
          </p:cNvSpPr>
          <p:nvPr>
            <p:custDataLst>
              <p:tags r:id="rId253"/>
            </p:custDataLst>
          </p:nvPr>
        </p:nvSpPr>
        <p:spPr bwMode="gray">
          <a:xfrm>
            <a:off x="5992813" y="3408363"/>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EFD43D-A42D-459C-93D8-9E836A601EB6}"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1678217F-61D0-ED22-E842-FEF903056019}"/>
              </a:ext>
            </a:extLst>
          </p:cNvPr>
          <p:cNvSpPr>
            <a:spLocks noGrp="1"/>
          </p:cNvSpPr>
          <p:nvPr>
            <p:custDataLst>
              <p:tags r:id="rId254"/>
            </p:custDataLst>
          </p:nvPr>
        </p:nvSpPr>
        <p:spPr bwMode="gray">
          <a:xfrm>
            <a:off x="669925" y="3462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72AB5E-AADD-488F-9911-D670A3151415}" type="datetime'''''''''''''''''''1''''''''''''''6''''''''''.2'''''">
              <a:rPr lang="ja-JP" altLang="en-US" sz="1000" smtClean="0">
                <a:effectLst/>
                <a:sym typeface="+mn-lt"/>
              </a:rPr>
              <a:pPr marL="0" lvl="0" indent="0" algn="ctr">
                <a:spcBef>
                  <a:spcPct val="0"/>
                </a:spcBef>
                <a:buNone/>
              </a:pPr>
              <a:t>16.2</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1471E35E-705C-1E61-10F0-957BD15B8FFD}"/>
              </a:ext>
            </a:extLst>
          </p:cNvPr>
          <p:cNvSpPr>
            <a:spLocks noGrp="1"/>
          </p:cNvSpPr>
          <p:nvPr>
            <p:custDataLst>
              <p:tags r:id="rId255"/>
            </p:custDataLst>
          </p:nvPr>
        </p:nvSpPr>
        <p:spPr bwMode="auto">
          <a:xfrm>
            <a:off x="663575"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E90D7F-63B5-4C9C-9477-10EECF0E55DF}"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D0349319-A49B-9307-13B5-AD5D2D377E62}"/>
              </a:ext>
            </a:extLst>
          </p:cNvPr>
          <p:cNvSpPr>
            <a:spLocks noGrp="1"/>
          </p:cNvSpPr>
          <p:nvPr>
            <p:custDataLst>
              <p:tags r:id="rId256"/>
            </p:custDataLst>
          </p:nvPr>
        </p:nvSpPr>
        <p:spPr bwMode="auto">
          <a:xfrm>
            <a:off x="60420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A5D558-D6DC-4A6E-B2C7-1750D45639A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4" name="テキスト プレースホルダ 9">
            <a:extLst>
              <a:ext uri="{FF2B5EF4-FFF2-40B4-BE49-F238E27FC236}">
                <a16:creationId xmlns:a16="http://schemas.microsoft.com/office/drawing/2014/main" id="{32BED360-D471-2511-A805-3296B44F3FEC}"/>
              </a:ext>
            </a:extLst>
          </p:cNvPr>
          <p:cNvSpPr>
            <a:spLocks noGrp="1"/>
          </p:cNvSpPr>
          <p:nvPr>
            <p:custDataLst>
              <p:tags r:id="rId257"/>
            </p:custDataLst>
          </p:nvPr>
        </p:nvSpPr>
        <p:spPr bwMode="gray">
          <a:xfrm>
            <a:off x="6308725" y="320516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306460-799B-46F6-BC12-7470CCA166C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914939E4-3882-01A8-0763-A3D3E5C08D15}"/>
              </a:ext>
            </a:extLst>
          </p:cNvPr>
          <p:cNvSpPr>
            <a:spLocks noGrp="1"/>
          </p:cNvSpPr>
          <p:nvPr>
            <p:custDataLst>
              <p:tags r:id="rId258"/>
            </p:custDataLst>
          </p:nvPr>
        </p:nvSpPr>
        <p:spPr bwMode="gray">
          <a:xfrm>
            <a:off x="5699125" y="3367088"/>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326ECE-0F5E-4BA0-B0FB-69AC31DF0AE4}"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7DD26EF7-6CBC-B774-1181-59B73A7C15F3}"/>
              </a:ext>
            </a:extLst>
          </p:cNvPr>
          <p:cNvSpPr>
            <a:spLocks noGrp="1"/>
          </p:cNvSpPr>
          <p:nvPr>
            <p:custDataLst>
              <p:tags r:id="rId259"/>
            </p:custDataLst>
          </p:nvPr>
        </p:nvSpPr>
        <p:spPr bwMode="auto">
          <a:xfrm>
            <a:off x="63357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0938E5-E67D-4BB3-9AD4-B4179E8AE260}"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54785CB1-9D04-20FC-3D41-59EDB36ED000}"/>
              </a:ext>
            </a:extLst>
          </p:cNvPr>
          <p:cNvSpPr>
            <a:spLocks noGrp="1"/>
          </p:cNvSpPr>
          <p:nvPr>
            <p:custDataLst>
              <p:tags r:id="rId260"/>
            </p:custDataLst>
          </p:nvPr>
        </p:nvSpPr>
        <p:spPr bwMode="gray">
          <a:xfrm>
            <a:off x="965200" y="34512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41E191-783E-4C69-9868-80E1597E7552}" type="datetime'''''''''17''''.''0'">
              <a:rPr lang="ja-JP" altLang="en-US" sz="1000" smtClean="0">
                <a:effectLst/>
                <a:sym typeface="+mn-lt"/>
              </a:rPr>
              <a:pPr marL="0" lvl="0" indent="0" algn="ctr">
                <a:spcBef>
                  <a:spcPct val="0"/>
                </a:spcBef>
                <a:buNone/>
              </a:pPr>
              <a:t>17.0</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202B6D81-0A01-7608-B731-0F0099416B14}"/>
              </a:ext>
            </a:extLst>
          </p:cNvPr>
          <p:cNvSpPr>
            <a:spLocks noGrp="1"/>
          </p:cNvSpPr>
          <p:nvPr>
            <p:custDataLst>
              <p:tags r:id="rId261"/>
            </p:custDataLst>
          </p:nvPr>
        </p:nvSpPr>
        <p:spPr bwMode="auto">
          <a:xfrm>
            <a:off x="6630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0391FE-F98E-48B1-9BF6-0D792156E066}"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60ABA3F1-71EA-06EE-7684-8F2042BE7A85}"/>
              </a:ext>
            </a:extLst>
          </p:cNvPr>
          <p:cNvSpPr>
            <a:spLocks noGrp="1"/>
          </p:cNvSpPr>
          <p:nvPr>
            <p:custDataLst>
              <p:tags r:id="rId262"/>
            </p:custDataLst>
          </p:nvPr>
        </p:nvSpPr>
        <p:spPr bwMode="auto">
          <a:xfrm>
            <a:off x="10287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824D05-FA60-4D68-A12C-D590B2080ADF}"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39F7ABBE-6985-AF88-C1E7-11A46E4F9825}"/>
              </a:ext>
            </a:extLst>
          </p:cNvPr>
          <p:cNvSpPr>
            <a:spLocks noGrp="1"/>
          </p:cNvSpPr>
          <p:nvPr>
            <p:custDataLst>
              <p:tags r:id="rId263"/>
            </p:custDataLst>
          </p:nvPr>
        </p:nvSpPr>
        <p:spPr bwMode="gray">
          <a:xfrm>
            <a:off x="1260475" y="3441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9D84E-9B47-4CCB-B68C-313EA6B55B7A}" type="datetime'1''''''7''.''''''''9'''''''''''''''''''''''''''''''''''''''''">
              <a:rPr lang="ja-JP" altLang="en-US" sz="1000" smtClean="0">
                <a:effectLst/>
                <a:sym typeface="+mn-lt"/>
              </a:rPr>
              <a:pPr marL="0" lvl="0" indent="0" algn="ctr">
                <a:spcBef>
                  <a:spcPct val="0"/>
                </a:spcBef>
                <a:buNone/>
              </a:pPr>
              <a:t>17.9</a:t>
            </a:fld>
            <a:endParaRPr kumimoji="1" lang="ja-JP" altLang="en-US" sz="1000" dirty="0">
              <a:sym typeface="+mn-lt"/>
            </a:endParaRPr>
          </a:p>
        </p:txBody>
      </p:sp>
      <p:sp>
        <p:nvSpPr>
          <p:cNvPr id="431" name="テキスト プレースホルダ 9">
            <a:extLst>
              <a:ext uri="{FF2B5EF4-FFF2-40B4-BE49-F238E27FC236}">
                <a16:creationId xmlns:a16="http://schemas.microsoft.com/office/drawing/2014/main" id="{94944685-0877-8756-90FE-3DE811705969}"/>
              </a:ext>
            </a:extLst>
          </p:cNvPr>
          <p:cNvSpPr>
            <a:spLocks noGrp="1"/>
          </p:cNvSpPr>
          <p:nvPr>
            <p:custDataLst>
              <p:tags r:id="rId264"/>
            </p:custDataLst>
          </p:nvPr>
        </p:nvSpPr>
        <p:spPr bwMode="auto">
          <a:xfrm>
            <a:off x="69262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8EB164-F302-4505-BBAD-135AF1AD16E9}"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D6D4D1B2-C330-771C-F5EE-5572FEB47BAB}"/>
              </a:ext>
            </a:extLst>
          </p:cNvPr>
          <p:cNvSpPr>
            <a:spLocks noGrp="1"/>
          </p:cNvSpPr>
          <p:nvPr>
            <p:custDataLst>
              <p:tags r:id="rId265"/>
            </p:custDataLst>
          </p:nvPr>
        </p:nvSpPr>
        <p:spPr bwMode="gray">
          <a:xfrm>
            <a:off x="7158038" y="3273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756A54-0331-4122-A25C-8B49714AE3C2}" type="datetime'''''''3''''''''''''2.''2'''''''''''''''''''''''''''''''">
              <a:rPr lang="ja-JP" altLang="en-US" sz="1000" smtClean="0">
                <a:effectLst/>
                <a:sym typeface="+mn-lt"/>
              </a:rPr>
              <a:pPr marL="0" lvl="0" indent="0" algn="ctr">
                <a:spcBef>
                  <a:spcPct val="0"/>
                </a:spcBef>
                <a:buNone/>
              </a:pPr>
              <a:t>32.2</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9ED8429D-BA95-7FD7-D856-A8579ED9D1D1}"/>
              </a:ext>
            </a:extLst>
          </p:cNvPr>
          <p:cNvSpPr>
            <a:spLocks noGrp="1"/>
          </p:cNvSpPr>
          <p:nvPr>
            <p:custDataLst>
              <p:tags r:id="rId266"/>
            </p:custDataLst>
          </p:nvPr>
        </p:nvSpPr>
        <p:spPr bwMode="auto">
          <a:xfrm>
            <a:off x="72215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BF6A17-FDEC-4268-9EEA-52F5D0647507}"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DF1BB9F8-7696-1246-95F1-4E8BE34F4753}"/>
              </a:ext>
            </a:extLst>
          </p:cNvPr>
          <p:cNvSpPr>
            <a:spLocks noGrp="1"/>
          </p:cNvSpPr>
          <p:nvPr>
            <p:custDataLst>
              <p:tags r:id="rId267"/>
            </p:custDataLst>
          </p:nvPr>
        </p:nvSpPr>
        <p:spPr bwMode="auto">
          <a:xfrm>
            <a:off x="13239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90AE6A-B453-42FD-AAD2-5F55ECF5BB19}"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33" name="テキスト プレースホルダ 9">
            <a:extLst>
              <a:ext uri="{FF2B5EF4-FFF2-40B4-BE49-F238E27FC236}">
                <a16:creationId xmlns:a16="http://schemas.microsoft.com/office/drawing/2014/main" id="{D083451E-F8D8-A9BC-CAD2-5B57EDEF9098}"/>
              </a:ext>
            </a:extLst>
          </p:cNvPr>
          <p:cNvSpPr>
            <a:spLocks noGrp="1"/>
          </p:cNvSpPr>
          <p:nvPr>
            <p:custDataLst>
              <p:tags r:id="rId268"/>
            </p:custDataLst>
          </p:nvPr>
        </p:nvSpPr>
        <p:spPr bwMode="auto">
          <a:xfrm>
            <a:off x="75152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99D39E-D4FE-4D6B-9E5E-3F583F008AA7}"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A9D4AADF-4A5F-3A8C-4280-A83A4C157A9C}"/>
              </a:ext>
            </a:extLst>
          </p:cNvPr>
          <p:cNvSpPr>
            <a:spLocks noGrp="1"/>
          </p:cNvSpPr>
          <p:nvPr>
            <p:custDataLst>
              <p:tags r:id="rId269"/>
            </p:custDataLst>
          </p:nvPr>
        </p:nvSpPr>
        <p:spPr bwMode="gray">
          <a:xfrm>
            <a:off x="1554163" y="34305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CAA848-52E7-4F54-80E4-D60185CA9A1A}" type="datetime'''''''''''''''''''''''18''''''''''''''.''''8'''''''">
              <a:rPr lang="ja-JP" altLang="en-US" sz="1000" smtClean="0">
                <a:effectLst/>
                <a:sym typeface="+mn-lt"/>
              </a:rPr>
              <a:pPr marL="0" lvl="0" indent="0" algn="ctr">
                <a:spcBef>
                  <a:spcPct val="0"/>
                </a:spcBef>
                <a:buNone/>
              </a:pPr>
              <a:t>18.8</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49822696-72B1-E5C3-E4F0-F2AFECFE7F99}"/>
              </a:ext>
            </a:extLst>
          </p:cNvPr>
          <p:cNvSpPr>
            <a:spLocks noGrp="1"/>
          </p:cNvSpPr>
          <p:nvPr>
            <p:custDataLst>
              <p:tags r:id="rId270"/>
            </p:custDataLst>
          </p:nvPr>
        </p:nvSpPr>
        <p:spPr bwMode="auto">
          <a:xfrm>
            <a:off x="84010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E627E-3E14-4523-B64F-CBD081B04F41}"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B938A997-36F2-D949-5D66-E07D62940F38}"/>
              </a:ext>
            </a:extLst>
          </p:cNvPr>
          <p:cNvSpPr>
            <a:spLocks noGrp="1"/>
          </p:cNvSpPr>
          <p:nvPr>
            <p:custDataLst>
              <p:tags r:id="rId271"/>
            </p:custDataLst>
          </p:nvPr>
        </p:nvSpPr>
        <p:spPr bwMode="auto">
          <a:xfrm>
            <a:off x="16176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46607A-A973-4D4F-8425-C355250855A9}"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5A00D71B-6A38-C4E5-8C46-65C53BBF3C48}"/>
              </a:ext>
            </a:extLst>
          </p:cNvPr>
          <p:cNvSpPr>
            <a:spLocks noGrp="1"/>
          </p:cNvSpPr>
          <p:nvPr>
            <p:custDataLst>
              <p:tags r:id="rId272"/>
            </p:custDataLst>
          </p:nvPr>
        </p:nvSpPr>
        <p:spPr bwMode="auto">
          <a:xfrm>
            <a:off x="86947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A3EF9A-27E7-47B2-98BE-40EF3FCCF8C4}"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167954B0-6C39-8114-A460-A289A5B03076}"/>
              </a:ext>
            </a:extLst>
          </p:cNvPr>
          <p:cNvSpPr>
            <a:spLocks noGrp="1"/>
          </p:cNvSpPr>
          <p:nvPr>
            <p:custDataLst>
              <p:tags r:id="rId273"/>
            </p:custDataLst>
          </p:nvPr>
        </p:nvSpPr>
        <p:spPr bwMode="gray">
          <a:xfrm>
            <a:off x="1849438" y="3421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4239A7-988C-4A9C-B684-6397D1930776}" type="datetime'''''''''''''''''''1''''''''''''''''''9''''''''.''''''''''7'">
              <a:rPr lang="ja-JP" altLang="en-US" sz="1000" smtClean="0">
                <a:effectLst/>
                <a:sym typeface="+mn-lt"/>
              </a:rPr>
              <a:pPr marL="0" lvl="0" indent="0" algn="ctr">
                <a:spcBef>
                  <a:spcPct val="0"/>
                </a:spcBef>
                <a:buNone/>
              </a:pPr>
              <a:t>19.7</a:t>
            </a:fld>
            <a:endParaRPr kumimoji="1" lang="ja-JP" altLang="en-US" sz="1000" dirty="0">
              <a:sym typeface="+mn-lt"/>
            </a:endParaRPr>
          </a:p>
        </p:txBody>
      </p:sp>
      <p:sp>
        <p:nvSpPr>
          <p:cNvPr id="436" name="テキスト プレースホルダ 9">
            <a:extLst>
              <a:ext uri="{FF2B5EF4-FFF2-40B4-BE49-F238E27FC236}">
                <a16:creationId xmlns:a16="http://schemas.microsoft.com/office/drawing/2014/main" id="{72C752F2-54AF-EE71-8D4E-C0FA19D5F830}"/>
              </a:ext>
            </a:extLst>
          </p:cNvPr>
          <p:cNvSpPr>
            <a:spLocks noGrp="1"/>
          </p:cNvSpPr>
          <p:nvPr>
            <p:custDataLst>
              <p:tags r:id="rId274"/>
            </p:custDataLst>
          </p:nvPr>
        </p:nvSpPr>
        <p:spPr bwMode="auto">
          <a:xfrm>
            <a:off x="89900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739BFD-2A1B-4BFD-B5EF-324FCA2DA6DE}"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517A1B70-1AAA-D77E-D317-3176A7F6F456}"/>
              </a:ext>
            </a:extLst>
          </p:cNvPr>
          <p:cNvSpPr>
            <a:spLocks noGrp="1"/>
          </p:cNvSpPr>
          <p:nvPr>
            <p:custDataLst>
              <p:tags r:id="rId275"/>
            </p:custDataLst>
          </p:nvPr>
        </p:nvSpPr>
        <p:spPr bwMode="auto">
          <a:xfrm>
            <a:off x="19129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4E453-A66D-4DF0-AA99-5C7A7D9E28BD}"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27935F2C-F33F-0829-A989-E8725A81D8AC}"/>
              </a:ext>
            </a:extLst>
          </p:cNvPr>
          <p:cNvSpPr>
            <a:spLocks noGrp="1"/>
          </p:cNvSpPr>
          <p:nvPr>
            <p:custDataLst>
              <p:tags r:id="rId276"/>
            </p:custDataLst>
          </p:nvPr>
        </p:nvSpPr>
        <p:spPr bwMode="gray">
          <a:xfrm>
            <a:off x="7451725" y="3260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D2D550-5C6B-4DC4-A3F1-E8AD65D8FA18}" type="datetime'3''''''''''''3.''''''3'">
              <a:rPr lang="ja-JP" altLang="en-US" sz="1000" smtClean="0">
                <a:effectLst/>
                <a:sym typeface="+mn-lt"/>
              </a:rPr>
              <a:pPr marL="0" lvl="0" indent="0" algn="ctr">
                <a:spcBef>
                  <a:spcPct val="0"/>
                </a:spcBef>
                <a:buNone/>
              </a:pPr>
              <a:t>33.3</a:t>
            </a:fld>
            <a:endParaRPr kumimoji="1" lang="ja-JP" altLang="en-US" sz="1000" dirty="0">
              <a:sym typeface="+mn-lt"/>
            </a:endParaRPr>
          </a:p>
        </p:txBody>
      </p:sp>
      <p:sp>
        <p:nvSpPr>
          <p:cNvPr id="38" name="テキスト プレースホルダ 9">
            <a:extLst>
              <a:ext uri="{FF2B5EF4-FFF2-40B4-BE49-F238E27FC236}">
                <a16:creationId xmlns:a16="http://schemas.microsoft.com/office/drawing/2014/main" id="{D8C44E5B-E949-2A3E-1215-DEE15B4969EA}"/>
              </a:ext>
            </a:extLst>
          </p:cNvPr>
          <p:cNvSpPr>
            <a:spLocks noGrp="1"/>
          </p:cNvSpPr>
          <p:nvPr>
            <p:custDataLst>
              <p:tags r:id="rId277"/>
            </p:custDataLst>
          </p:nvPr>
        </p:nvSpPr>
        <p:spPr bwMode="gray">
          <a:xfrm>
            <a:off x="7747000" y="3252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F08A33-C0E0-424F-8A1E-BD2BA63E407B}" type="datetime'''''''''''''3''''''''4''''''''.''''''0'''''''''''''''''''">
              <a:rPr lang="ja-JP" altLang="en-US" sz="1000" smtClean="0">
                <a:effectLst/>
                <a:sym typeface="+mn-lt"/>
              </a:rPr>
              <a:pPr/>
              <a:t>34.0</a:t>
            </a:fld>
            <a:endParaRPr kumimoji="1" lang="ja-JP" altLang="en-US" sz="1000" dirty="0">
              <a:sym typeface="+mn-lt"/>
            </a:endParaRPr>
          </a:p>
        </p:txBody>
      </p:sp>
      <p:sp useBgFill="1">
        <p:nvSpPr>
          <p:cNvPr id="40" name="テキスト プレースホルダ 9">
            <a:extLst>
              <a:ext uri="{FF2B5EF4-FFF2-40B4-BE49-F238E27FC236}">
                <a16:creationId xmlns:a16="http://schemas.microsoft.com/office/drawing/2014/main" id="{909C5737-2405-48ED-5592-779D5D432430}"/>
              </a:ext>
            </a:extLst>
          </p:cNvPr>
          <p:cNvSpPr>
            <a:spLocks noGrp="1"/>
          </p:cNvSpPr>
          <p:nvPr>
            <p:custDataLst>
              <p:tags r:id="rId278"/>
            </p:custDataLst>
          </p:nvPr>
        </p:nvSpPr>
        <p:spPr bwMode="gray">
          <a:xfrm>
            <a:off x="5424488" y="29432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0C3584-0A4B-421A-B1B9-FA941CA7A5D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useBgFill="1">
        <p:nvSpPr>
          <p:cNvPr id="41" name="テキスト プレースホルダ 9">
            <a:extLst>
              <a:ext uri="{FF2B5EF4-FFF2-40B4-BE49-F238E27FC236}">
                <a16:creationId xmlns:a16="http://schemas.microsoft.com/office/drawing/2014/main" id="{CC90F6D1-74B2-4491-1CFE-04C968E684F3}"/>
              </a:ext>
            </a:extLst>
          </p:cNvPr>
          <p:cNvSpPr>
            <a:spLocks noGrp="1"/>
          </p:cNvSpPr>
          <p:nvPr>
            <p:custDataLst>
              <p:tags r:id="rId279"/>
            </p:custDataLst>
          </p:nvPr>
        </p:nvSpPr>
        <p:spPr bwMode="gray">
          <a:xfrm>
            <a:off x="7488238" y="28352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60B90-B91D-4977-A180-73C0C63B4AC7}"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D29EB492-75D4-0957-0BC3-359BC6AC2DE1}"/>
              </a:ext>
            </a:extLst>
          </p:cNvPr>
          <p:cNvSpPr>
            <a:spLocks noGrp="1"/>
          </p:cNvSpPr>
          <p:nvPr>
            <p:custDataLst>
              <p:tags r:id="rId280"/>
            </p:custDataLst>
          </p:nvPr>
        </p:nvSpPr>
        <p:spPr bwMode="gray">
          <a:xfrm>
            <a:off x="2144713" y="34099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3796CE-D7CF-4BA3-BFC5-5FF694E75047}" type="datetime'''''''''''''''''''20''''''''''.''''''''''''''''''''''''6'">
              <a:rPr lang="ja-JP" altLang="en-US" sz="1000" smtClean="0">
                <a:effectLst/>
                <a:sym typeface="+mn-lt"/>
              </a:rPr>
              <a:pPr marL="0" lvl="0" indent="0" algn="ctr">
                <a:spcBef>
                  <a:spcPct val="0"/>
                </a:spcBef>
                <a:buNone/>
              </a:pPr>
              <a:t>20.6</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3C0A2E59-157C-123C-5F88-B23AFD6997A8}"/>
              </a:ext>
            </a:extLst>
          </p:cNvPr>
          <p:cNvSpPr>
            <a:spLocks noGrp="1"/>
          </p:cNvSpPr>
          <p:nvPr>
            <p:custDataLst>
              <p:tags r:id="rId281"/>
            </p:custDataLst>
          </p:nvPr>
        </p:nvSpPr>
        <p:spPr bwMode="auto">
          <a:xfrm>
            <a:off x="22082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4FCB5B-09B1-49EF-8371-1EA5BCB2D2D5}"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C248C32C-5CB3-5391-2762-067E362ED13C}"/>
              </a:ext>
            </a:extLst>
          </p:cNvPr>
          <p:cNvSpPr>
            <a:spLocks noGrp="1"/>
          </p:cNvSpPr>
          <p:nvPr>
            <p:custDataLst>
              <p:tags r:id="rId282"/>
            </p:custDataLst>
          </p:nvPr>
        </p:nvSpPr>
        <p:spPr bwMode="gray">
          <a:xfrm>
            <a:off x="2439988" y="3398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709D55-C449-4165-9657-F8FBEB880BE0}" type="datetime'''''''''''2''''''''''''''''''1''''''.''''''''5'''''''''''">
              <a:rPr lang="ja-JP" altLang="en-US" sz="1000" smtClean="0">
                <a:effectLst/>
                <a:sym typeface="+mn-lt"/>
              </a:rPr>
              <a:pPr marL="0" lvl="0" indent="0" algn="ctr">
                <a:spcBef>
                  <a:spcPct val="0"/>
                </a:spcBef>
                <a:buNone/>
              </a:pPr>
              <a:t>21.5</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2373005E-3007-CFA4-912F-965894A2BDBE}"/>
              </a:ext>
            </a:extLst>
          </p:cNvPr>
          <p:cNvSpPr>
            <a:spLocks noGrp="1"/>
          </p:cNvSpPr>
          <p:nvPr>
            <p:custDataLst>
              <p:tags r:id="rId283"/>
            </p:custDataLst>
          </p:nvPr>
        </p:nvSpPr>
        <p:spPr bwMode="auto">
          <a:xfrm>
            <a:off x="8105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956FCE-9CD1-493E-A235-F669FB4B4900}" type="datetime'''2''''''''''''''''''''5'''''''''''''''''''''''''''">
              <a:rPr lang="ja-JP" altLang="en-US" sz="1000" smtClean="0"/>
              <a:pPr/>
              <a:t>25</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574548D4-9D3D-EEAC-E74F-F43C43CDE830}"/>
              </a:ext>
            </a:extLst>
          </p:cNvPr>
          <p:cNvSpPr>
            <a:spLocks noGrp="1"/>
          </p:cNvSpPr>
          <p:nvPr>
            <p:custDataLst>
              <p:tags r:id="rId284"/>
            </p:custDataLst>
          </p:nvPr>
        </p:nvSpPr>
        <p:spPr bwMode="gray">
          <a:xfrm>
            <a:off x="8042275" y="3244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DE598-D53F-40FB-A6B5-8CC4B532615D}" type="datetime'34''''''''''''''''''''''''''''''.''''6'''''">
              <a:rPr lang="ja-JP" altLang="en-US" sz="1000" smtClean="0">
                <a:effectLst/>
                <a:sym typeface="+mn-lt"/>
              </a:rPr>
              <a:pPr/>
              <a:t>34.6</a:t>
            </a:fld>
            <a:endParaRPr kumimoji="1" lang="ja-JP" altLang="en-US" sz="1000" dirty="0">
              <a:sym typeface="+mn-lt"/>
            </a:endParaRPr>
          </a:p>
        </p:txBody>
      </p:sp>
      <p:sp>
        <p:nvSpPr>
          <p:cNvPr id="35" name="テキスト プレースホルダ 9">
            <a:extLst>
              <a:ext uri="{FF2B5EF4-FFF2-40B4-BE49-F238E27FC236}">
                <a16:creationId xmlns:a16="http://schemas.microsoft.com/office/drawing/2014/main" id="{12E1987E-9F50-D914-FD82-3BBBE34CD4C8}"/>
              </a:ext>
            </a:extLst>
          </p:cNvPr>
          <p:cNvSpPr>
            <a:spLocks noGrp="1"/>
          </p:cNvSpPr>
          <p:nvPr>
            <p:custDataLst>
              <p:tags r:id="rId285"/>
            </p:custDataLst>
          </p:nvPr>
        </p:nvSpPr>
        <p:spPr bwMode="auto">
          <a:xfrm>
            <a:off x="7810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4CD288-C995-4FBF-A21A-2DF843E0BFB2}" type="datetime'''''''2''''''''''''''4'''">
              <a:rPr lang="ja-JP" altLang="en-US" sz="1000" smtClean="0"/>
              <a:pPr/>
              <a:t>24</a:t>
            </a:fld>
            <a:endParaRPr kumimoji="1" lang="ja-JP" altLang="en-US" sz="1000" dirty="0">
              <a:sym typeface="+mn-lt"/>
            </a:endParaRPr>
          </a:p>
        </p:txBody>
      </p:sp>
      <p:sp>
        <p:nvSpPr>
          <p:cNvPr id="6" name="4. Footnote">
            <a:extLst>
              <a:ext uri="{FF2B5EF4-FFF2-40B4-BE49-F238E27FC236}">
                <a16:creationId xmlns:a16="http://schemas.microsoft.com/office/drawing/2014/main" id="{DA164098-C7D7-420E-A548-2409CFDA140B}"/>
              </a:ext>
            </a:extLst>
          </p:cNvPr>
          <p:cNvSpPr txBox="1"/>
          <p:nvPr>
            <p:custDataLst>
              <p:tags r:id="rId286"/>
            </p:custDataLst>
          </p:nvPr>
        </p:nvSpPr>
        <p:spPr>
          <a:xfrm>
            <a:off x="128464" y="6542879"/>
            <a:ext cx="9294046" cy="24622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口とは居住者数を指しており 、 サウジアラビア国籍を有しない外国人居住者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16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時点で約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100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も含まれる 。サウジアラビア中央統計局によると外国人居住者のうち、 インド 、 パキスタン 、 バングラデシュ 、 エジプト 、 フィリピンの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5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ヶ国出身者が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75%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を占め 、 次いで 、 イエメン 、 インドネシア 、 スーダン等の出身者となる 。</a:t>
            </a:r>
          </a:p>
        </p:txBody>
      </p:sp>
    </p:spTree>
    <p:extLst>
      <p:ext uri="{BB962C8B-B14F-4D97-AF65-F5344CB8AC3E}">
        <p14:creationId xmlns:p14="http://schemas.microsoft.com/office/powerpoint/2010/main" val="10049862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7479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3" name="Object 2"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4.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ヤド、ジッダがサウジアラビアにおいて、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都市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1876841" y="624807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1409924" y="1760893"/>
            <a:ext cx="7359425" cy="382439"/>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際連合「</a:t>
            </a:r>
            <a:r>
              <a:rPr lang="en-US" altLang="ja-JP" sz="800" dirty="0"/>
              <a:t>World Urbanization Prospects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Chart 6">
            <a:extLst>
              <a:ext uri="{FF2B5EF4-FFF2-40B4-BE49-F238E27FC236}">
                <a16:creationId xmlns:a16="http://schemas.microsoft.com/office/drawing/2014/main" id="{BF73D286-7F8F-DEE8-AFC8-CA425B2DCAF5}"/>
              </a:ext>
            </a:extLst>
          </p:cNvPr>
          <p:cNvGraphicFramePr/>
          <p:nvPr>
            <p:custDataLst>
              <p:tags r:id="rId3"/>
            </p:custDataLst>
            <p:extLst>
              <p:ext uri="{D42A27DB-BD31-4B8C-83A1-F6EECF244321}">
                <p14:modId xmlns:p14="http://schemas.microsoft.com/office/powerpoint/2010/main" val="3629518327"/>
              </p:ext>
            </p:extLst>
          </p:nvPr>
        </p:nvGraphicFramePr>
        <p:xfrm>
          <a:off x="315913" y="2239963"/>
          <a:ext cx="8982075" cy="3862387"/>
        </p:xfrm>
        <a:graphic>
          <a:graphicData uri="http://schemas.openxmlformats.org/drawingml/2006/chart">
            <c:chart xmlns:c="http://schemas.openxmlformats.org/drawingml/2006/chart" xmlns:r="http://schemas.openxmlformats.org/officeDocument/2006/relationships" r:id="rId27"/>
          </a:graphicData>
        </a:graphic>
      </p:graphicFrame>
      <p:sp>
        <p:nvSpPr>
          <p:cNvPr id="18" name="Text Placeholder 12"/>
          <p:cNvSpPr>
            <a:spLocks noGrp="1"/>
          </p:cNvSpPr>
          <p:nvPr>
            <p:custDataLst>
              <p:tags r:id="rId4"/>
            </p:custDataLst>
          </p:nvPr>
        </p:nvSpPr>
        <p:spPr bwMode="auto">
          <a:xfrm>
            <a:off x="419100" y="22113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63" name="テキスト プレースホルダ 9"/>
          <p:cNvSpPr>
            <a:spLocks noGrp="1"/>
          </p:cNvSpPr>
          <p:nvPr>
            <p:custDataLst>
              <p:tags r:id="rId5"/>
            </p:custDataLst>
          </p:nvPr>
        </p:nvSpPr>
        <p:spPr bwMode="gray">
          <a:xfrm>
            <a:off x="703263" y="264795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F7533C-17AC-4F22-B2AE-70B0F960BC06}" type="datetime'''''8''0''.''''''''''0'">
              <a:rPr kumimoji="0" lang="en-US" altLang="en-US" sz="1000" smtClean="0">
                <a:effectLst/>
              </a:rPr>
              <a:pPr/>
              <a:t>80.0</a:t>
            </a:fld>
            <a:endParaRPr kumimoji="0" lang="ja-JP" altLang="en-US" sz="1000" dirty="0">
              <a:sym typeface="+mn-lt"/>
            </a:endParaRPr>
          </a:p>
        </p:txBody>
      </p:sp>
      <p:sp useBgFill="1">
        <p:nvSpPr>
          <p:cNvPr id="62" name="テキスト プレースホルダ 9"/>
          <p:cNvSpPr>
            <a:spLocks noGrp="1"/>
          </p:cNvSpPr>
          <p:nvPr>
            <p:custDataLst>
              <p:tags r:id="rId6"/>
            </p:custDataLst>
          </p:nvPr>
        </p:nvSpPr>
        <p:spPr bwMode="gray">
          <a:xfrm>
            <a:off x="728663" y="490220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DF91E86-1BFE-43CF-BAC7-2438150C61A1}" type="datetime'''''2''''''''''''''''''''''''''''''''0.''''''0'''">
              <a:rPr kumimoji="0" lang="en-US" altLang="en-US" sz="1000" smtClean="0">
                <a:effectLst/>
              </a:rPr>
              <a:pPr/>
              <a:t>20.0</a:t>
            </a:fld>
            <a:endParaRPr kumimoji="0" lang="ja-JP" altLang="en-US" sz="1000" dirty="0">
              <a:sym typeface="+mn-lt"/>
            </a:endParaRPr>
          </a:p>
        </p:txBody>
      </p:sp>
      <p:sp>
        <p:nvSpPr>
          <p:cNvPr id="19" name="Text Placeholder 12"/>
          <p:cNvSpPr>
            <a:spLocks noGrp="1"/>
          </p:cNvSpPr>
          <p:nvPr>
            <p:custDataLst>
              <p:tags r:id="rId7"/>
            </p:custDataLst>
          </p:nvPr>
        </p:nvSpPr>
        <p:spPr bwMode="auto">
          <a:xfrm>
            <a:off x="64611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22FAB4-34C6-4024-BB56-1C7DA908541C}" type="datetime'''''''2''''''''''''''''''''''0''''0''''''''''''''''''''''0'">
              <a:rPr lang="ja-JP" altLang="en-US" sz="1000" b="0"/>
              <a:pPr algn="ctr">
                <a:spcBef>
                  <a:spcPct val="0"/>
                </a:spcBef>
                <a:spcAft>
                  <a:spcPct val="0"/>
                </a:spcAft>
              </a:pPr>
              <a:t>2000</a:t>
            </a:fld>
            <a:endParaRPr kumimoji="0" lang="ja-JP" altLang="en-US" sz="1000" b="0" dirty="0">
              <a:sym typeface="+mn-lt"/>
            </a:endParaRPr>
          </a:p>
        </p:txBody>
      </p:sp>
      <p:sp>
        <p:nvSpPr>
          <p:cNvPr id="20" name="Text Placeholder 12"/>
          <p:cNvSpPr>
            <a:spLocks noGrp="1"/>
          </p:cNvSpPr>
          <p:nvPr>
            <p:custDataLst>
              <p:tags r:id="rId8"/>
            </p:custDataLst>
          </p:nvPr>
        </p:nvSpPr>
        <p:spPr bwMode="auto">
          <a:xfrm>
            <a:off x="15494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76D050-8C9B-4459-9C00-F0AF3A227967}" type="datetime'''''''''''''''''''''0''''''''5'''''''''''''''''''''''''''''">
              <a:rPr lang="ja-JP" altLang="en-US" sz="1000" b="0"/>
              <a:pPr algn="ctr">
                <a:spcBef>
                  <a:spcPct val="0"/>
                </a:spcBef>
                <a:spcAft>
                  <a:spcPct val="0"/>
                </a:spcAft>
              </a:pPr>
              <a:t>05</a:t>
            </a:fld>
            <a:endParaRPr kumimoji="0" lang="ja-JP" altLang="en-US" sz="1000" b="0" dirty="0">
              <a:sym typeface="+mn-lt"/>
            </a:endParaRPr>
          </a:p>
        </p:txBody>
      </p:sp>
      <p:sp>
        <p:nvSpPr>
          <p:cNvPr id="21" name="Text Placeholder 12"/>
          <p:cNvSpPr>
            <a:spLocks noGrp="1"/>
          </p:cNvSpPr>
          <p:nvPr>
            <p:custDataLst>
              <p:tags r:id="rId9"/>
            </p:custDataLst>
          </p:nvPr>
        </p:nvSpPr>
        <p:spPr bwMode="auto">
          <a:xfrm>
            <a:off x="2382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58B761-3FF7-44E5-899B-72A1DBE5B2A4}"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noGrp="1"/>
          </p:cNvSpPr>
          <p:nvPr>
            <p:custDataLst>
              <p:tags r:id="rId10"/>
            </p:custDataLst>
          </p:nvPr>
        </p:nvSpPr>
        <p:spPr bwMode="auto">
          <a:xfrm>
            <a:off x="32178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164CA3-9D52-427A-A48A-7DDD5C196996}"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noGrp="1"/>
          </p:cNvSpPr>
          <p:nvPr>
            <p:custDataLst>
              <p:tags r:id="rId11"/>
            </p:custDataLst>
          </p:nvPr>
        </p:nvSpPr>
        <p:spPr bwMode="auto">
          <a:xfrm>
            <a:off x="40513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EEA05BA-EC0F-49E8-9E9C-CB2B36236E7B}"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noGrp="1"/>
          </p:cNvSpPr>
          <p:nvPr>
            <p:custDataLst>
              <p:tags r:id="rId12"/>
            </p:custDataLst>
          </p:nvPr>
        </p:nvSpPr>
        <p:spPr bwMode="auto">
          <a:xfrm>
            <a:off x="48847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99909C-B99A-4F39-990B-838551284D22}"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noGrp="1"/>
          </p:cNvSpPr>
          <p:nvPr>
            <p:custDataLst>
              <p:tags r:id="rId13"/>
            </p:custDataLst>
          </p:nvPr>
        </p:nvSpPr>
        <p:spPr bwMode="auto">
          <a:xfrm>
            <a:off x="57181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C0795F2-0563-4A34-BCA6-F489DE01740E}"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4"/>
            </p:custDataLst>
          </p:nvPr>
        </p:nvSpPr>
        <p:spPr bwMode="auto">
          <a:xfrm>
            <a:off x="65516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61DBE25-E82D-4F58-A7C0-ECCB6B2BEF35}"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5"/>
            </p:custDataLst>
          </p:nvPr>
        </p:nvSpPr>
        <p:spPr bwMode="auto">
          <a:xfrm>
            <a:off x="73866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A12F0D-72D1-44F8-BA45-28FE571D9A2E}"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6"/>
            </p:custDataLst>
          </p:nvPr>
        </p:nvSpPr>
        <p:spPr bwMode="auto">
          <a:xfrm>
            <a:off x="8220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FEBCCF-C632-4877-90C1-5BE761507B2A}"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17"/>
            </p:custDataLst>
          </p:nvPr>
        </p:nvSpPr>
        <p:spPr bwMode="auto">
          <a:xfrm>
            <a:off x="9053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A823DA5-45CF-4B06-BFCD-241D7F44BCAE}" type="datetime'''''''''''''''''''''''5''''''''0'''''">
              <a:rPr lang="ja-JP" altLang="en-US" sz="1000" b="0"/>
              <a:pPr algn="ctr">
                <a:spcBef>
                  <a:spcPct val="0"/>
                </a:spcBef>
                <a:spcAft>
                  <a:spcPct val="0"/>
                </a:spcAft>
              </a:pPr>
              <a:t>50</a:t>
            </a:fld>
            <a:endParaRPr kumimoji="0" lang="ja-JP" altLang="en-US" sz="1000" b="0" dirty="0">
              <a:sym typeface="+mn-lt"/>
            </a:endParaRPr>
          </a:p>
        </p:txBody>
      </p:sp>
      <p:cxnSp>
        <p:nvCxnSpPr>
          <p:cNvPr id="31" name="Straight Connector 30"/>
          <p:cNvCxnSpPr/>
          <p:nvPr>
            <p:custDataLst>
              <p:tags r:id="rId18"/>
            </p:custDataLst>
          </p:nvPr>
        </p:nvCxnSpPr>
        <p:spPr bwMode="gray">
          <a:xfrm>
            <a:off x="8651875" y="3684588"/>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9"/>
            </p:custDataLst>
          </p:nvPr>
        </p:nvCxnSpPr>
        <p:spPr bwMode="gray">
          <a:xfrm>
            <a:off x="8651875" y="388778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custDataLst>
              <p:tags r:id="rId20"/>
            </p:custDataLst>
          </p:nvPr>
        </p:nvSpPr>
        <p:spPr bwMode="gray">
          <a:xfrm>
            <a:off x="8740775" y="3646488"/>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2" name="Rectangle 31"/>
          <p:cNvSpPr/>
          <p:nvPr>
            <p:custDataLst>
              <p:tags r:id="rId21"/>
            </p:custDataLst>
          </p:nvPr>
        </p:nvSpPr>
        <p:spPr bwMode="gray">
          <a:xfrm>
            <a:off x="8740775" y="3849688"/>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Text Placeholder 12"/>
          <p:cNvSpPr>
            <a:spLocks noGrp="1"/>
          </p:cNvSpPr>
          <p:nvPr>
            <p:custDataLst>
              <p:tags r:id="rId22"/>
            </p:custDataLst>
          </p:nvPr>
        </p:nvSpPr>
        <p:spPr bwMode="auto">
          <a:xfrm>
            <a:off x="8963025" y="36131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79D2F24-239C-4562-90A1-EBC85B0E7E3C}" type="datetime'''''''''''''都''''''''''''''''''''市''''部'''''''''''''''">
              <a:rPr lang="ja-JP" altLang="en-US" sz="1000" b="0"/>
              <a:pPr>
                <a:spcBef>
                  <a:spcPct val="0"/>
                </a:spcBef>
                <a:spcAft>
                  <a:spcPct val="0"/>
                </a:spcAft>
              </a:pPr>
              <a:t>都市部</a:t>
            </a:fld>
            <a:endParaRPr kumimoji="0" lang="ja-JP" altLang="en-US" sz="1000" b="0" dirty="0">
              <a:sym typeface="+mn-lt"/>
            </a:endParaRPr>
          </a:p>
        </p:txBody>
      </p:sp>
      <p:sp>
        <p:nvSpPr>
          <p:cNvPr id="36" name="Text Placeholder 12"/>
          <p:cNvSpPr>
            <a:spLocks noGrp="1"/>
          </p:cNvSpPr>
          <p:nvPr>
            <p:custDataLst>
              <p:tags r:id="rId23"/>
            </p:custDataLst>
          </p:nvPr>
        </p:nvSpPr>
        <p:spPr bwMode="auto">
          <a:xfrm>
            <a:off x="8963025" y="38163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532419A-1432-4649-8122-95B28ACB93FA}" type="datetime'''''''''''''''''''''''''''''''''''''''農''''''村''''''''部'">
              <a:rPr lang="ja-JP" altLang="en-US" sz="1000" b="0"/>
              <a:pPr>
                <a:spcBef>
                  <a:spcPct val="0"/>
                </a:spcBef>
                <a:spcAft>
                  <a:spcPct val="0"/>
                </a:spcAft>
              </a:pPr>
              <a:t>農村部</a:t>
            </a:fld>
            <a:endParaRPr kumimoji="0" lang="ja-JP" altLang="en-US" sz="1000" b="0" dirty="0">
              <a:sym typeface="+mn-lt"/>
            </a:endParaRPr>
          </a:p>
        </p:txBody>
      </p:sp>
    </p:spTree>
    <p:extLst>
      <p:ext uri="{BB962C8B-B14F-4D97-AF65-F5344CB8AC3E}">
        <p14:creationId xmlns:p14="http://schemas.microsoft.com/office/powerpoint/2010/main" val="2941482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671683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9" imgW="360" imgH="360" progId="TCLayout.ActiveDocument.1">
                  <p:embed/>
                </p:oleObj>
              </mc:Choice>
              <mc:Fallback>
                <p:oleObj name="think-cellスライド" r:id="rId109" imgW="360" imgH="360" progId="TCLayout.ActiveDocument.1">
                  <p:embed/>
                  <p:pic>
                    <p:nvPicPr>
                      <p:cNvPr id="8" name="Object 7" hidden="1"/>
                      <p:cNvPicPr>
                        <a:picLocks noChangeAspect="1" noChangeArrowheads="1"/>
                      </p:cNvPicPr>
                      <p:nvPr/>
                    </p:nvPicPr>
                    <p:blipFill>
                      <a:blip r:embed="rId1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defRPr/>
            </a:pPr>
            <a:r>
              <a:rPr kumimoji="1" lang="en-US" altLang="ja-JP" sz="18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268.53</a:t>
            </a:r>
            <a:endParaRPr kumimoji="1" lang="en-US" altLang="ja-JP" sz="18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defRPr/>
            </a:pPr>
            <a:r>
              <a:rPr kumimoji="1" lang="en-US" altLang="ja-JP" sz="2000"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35,230.93</a:t>
            </a:r>
            <a:endPar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51608"/>
            <a:ext cx="8640960" cy="288032"/>
            <a:chOff x="4803500" y="21646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646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0" y="1052113"/>
            <a:ext cx="9505056"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ウイルス感染症のパンデミックの影響もあり、</a:t>
            </a:r>
            <a:r>
              <a:rPr lang="en-US" altLang="ja-JP" dirty="0"/>
              <a:t>2020</a:t>
            </a:r>
            <a:r>
              <a:rPr lang="ja-JP" altLang="en-US" dirty="0"/>
              <a:t>年に急落したが、</a:t>
            </a:r>
            <a:r>
              <a:rPr lang="en-US" altLang="ja-JP" dirty="0"/>
              <a:t>2021</a:t>
            </a:r>
            <a:r>
              <a:rPr lang="ja-JP" altLang="en-US" dirty="0"/>
              <a:t>年には</a:t>
            </a:r>
            <a:r>
              <a:rPr lang="en-US" altLang="ja-JP" dirty="0"/>
              <a:t>6.5%</a:t>
            </a:r>
            <a:r>
              <a:rPr lang="ja-JP" altLang="en-US" dirty="0"/>
              <a:t>に回復し、</a:t>
            </a:r>
            <a:r>
              <a:rPr lang="en-US" altLang="ja-JP" dirty="0"/>
              <a:t>2022</a:t>
            </a:r>
            <a:r>
              <a:rPr lang="ja-JP" altLang="en-US" dirty="0"/>
              <a:t>年には</a:t>
            </a:r>
            <a:r>
              <a:rPr lang="en-US" altLang="ja-JP" dirty="0"/>
              <a:t>12%</a:t>
            </a:r>
            <a:r>
              <a:rPr lang="ja-JP" altLang="en-US" dirty="0"/>
              <a:t>に達した。その後、</a:t>
            </a:r>
            <a:r>
              <a:rPr lang="en-US" altLang="ja-JP" dirty="0"/>
              <a:t>2023</a:t>
            </a:r>
            <a:r>
              <a:rPr lang="ja-JP" altLang="en-US" dirty="0"/>
              <a:t>年から再び低下に転じた。</a:t>
            </a:r>
            <a:endParaRPr lang="en-IN" altLang="ja-JP" dirty="0"/>
          </a:p>
          <a:p>
            <a:r>
              <a:rPr lang="en-US" altLang="ja-JP" dirty="0"/>
              <a:t>2024</a:t>
            </a:r>
            <a:r>
              <a:rPr lang="ja-JP" altLang="en-US" dirty="0"/>
              <a:t>年には名目</a:t>
            </a:r>
            <a:r>
              <a:rPr lang="en-US" altLang="ja-JP" dirty="0"/>
              <a:t>GDP</a:t>
            </a:r>
            <a:r>
              <a:rPr lang="ja-JP" altLang="en-US" dirty="0"/>
              <a:t>が約</a:t>
            </a:r>
            <a:r>
              <a:rPr lang="en-US" altLang="ja-JP" dirty="0"/>
              <a:t>1.2</a:t>
            </a:r>
            <a:r>
              <a:rPr lang="ja-JP" altLang="en-US" dirty="0"/>
              <a:t>兆</a:t>
            </a:r>
            <a:r>
              <a:rPr lang="en-US" altLang="ja-JP" dirty="0"/>
              <a:t>US$</a:t>
            </a:r>
            <a:r>
              <a:rPr lang="ja-JP" altLang="en-US" dirty="0"/>
              <a:t>、一人当たり名目</a:t>
            </a:r>
            <a:r>
              <a:rPr lang="en-US" altLang="ja-JP" dirty="0"/>
              <a:t>GDP</a:t>
            </a:r>
            <a:r>
              <a:rPr lang="ja-JP" altLang="en-US" dirty="0"/>
              <a:t>も過去最高水準の約</a:t>
            </a:r>
            <a:r>
              <a:rPr lang="en-US" altLang="ja-JP" dirty="0"/>
              <a:t>3</a:t>
            </a:r>
            <a:r>
              <a:rPr lang="ja-JP" altLang="en-US" dirty="0"/>
              <a:t>万</a:t>
            </a:r>
            <a:r>
              <a:rPr lang="en-US" altLang="ja-JP" dirty="0"/>
              <a:t>5,120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6" name="Chart 15">
            <a:extLst>
              <a:ext uri="{FF2B5EF4-FFF2-40B4-BE49-F238E27FC236}">
                <a16:creationId xmlns:a16="http://schemas.microsoft.com/office/drawing/2014/main" id="{3D9903A5-8C33-616F-DF70-28A72C1785E9}"/>
              </a:ext>
            </a:extLst>
          </p:cNvPr>
          <p:cNvGraphicFramePr/>
          <p:nvPr>
            <p:custDataLst>
              <p:tags r:id="rId8"/>
            </p:custDataLst>
            <p:extLst>
              <p:ext uri="{D42A27DB-BD31-4B8C-83A1-F6EECF244321}">
                <p14:modId xmlns:p14="http://schemas.microsoft.com/office/powerpoint/2010/main" val="1176022631"/>
              </p:ext>
            </p:extLst>
          </p:nvPr>
        </p:nvGraphicFramePr>
        <p:xfrm>
          <a:off x="222250" y="2022475"/>
          <a:ext cx="8124825" cy="2089150"/>
        </p:xfrm>
        <a:graphic>
          <a:graphicData uri="http://schemas.openxmlformats.org/drawingml/2006/chart">
            <c:chart xmlns:c="http://schemas.openxmlformats.org/drawingml/2006/chart" xmlns:r="http://schemas.openxmlformats.org/officeDocument/2006/relationships" r:id="rId111"/>
          </a:graphicData>
        </a:graphic>
      </p:graphicFrame>
      <p:cxnSp>
        <p:nvCxnSpPr>
          <p:cNvPr id="150" name="Straight Connector 149">
            <a:extLst>
              <a:ext uri="{FF2B5EF4-FFF2-40B4-BE49-F238E27FC236}">
                <a16:creationId xmlns:a16="http://schemas.microsoft.com/office/drawing/2014/main" id="{926DD60E-4932-F181-E47A-C5F3AAEDFB76}"/>
              </a:ext>
            </a:extLst>
          </p:cNvPr>
          <p:cNvCxnSpPr/>
          <p:nvPr>
            <p:custDataLst>
              <p:tags r:id="rId9"/>
            </p:custDataLst>
          </p:nvPr>
        </p:nvCxnSpPr>
        <p:spPr bwMode="auto">
          <a:xfrm>
            <a:off x="5738813" y="3316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C191072B-E7AB-9DF4-3101-937FA785FB09}"/>
              </a:ext>
            </a:extLst>
          </p:cNvPr>
          <p:cNvCxnSpPr/>
          <p:nvPr>
            <p:custDataLst>
              <p:tags r:id="rId10"/>
            </p:custDataLst>
          </p:nvPr>
        </p:nvCxnSpPr>
        <p:spPr bwMode="auto">
          <a:xfrm>
            <a:off x="6307138" y="3279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C3854497-4F19-7B20-F9F5-39EAF03D667F}"/>
              </a:ext>
            </a:extLst>
          </p:cNvPr>
          <p:cNvCxnSpPr/>
          <p:nvPr>
            <p:custDataLst>
              <p:tags r:id="rId11"/>
            </p:custDataLst>
          </p:nvPr>
        </p:nvCxnSpPr>
        <p:spPr bwMode="auto">
          <a:xfrm>
            <a:off x="7443788" y="3365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94F24ECB-7809-03A8-EAC7-C94B3F9A122C}"/>
              </a:ext>
            </a:extLst>
          </p:cNvPr>
          <p:cNvCxnSpPr/>
          <p:nvPr>
            <p:custDataLst>
              <p:tags r:id="rId12"/>
            </p:custDataLst>
          </p:nvPr>
        </p:nvCxnSpPr>
        <p:spPr bwMode="auto">
          <a:xfrm>
            <a:off x="7727950" y="3252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341B1784-9388-8B91-934F-B06C03B595B8}"/>
              </a:ext>
            </a:extLst>
          </p:cNvPr>
          <p:cNvCxnSpPr/>
          <p:nvPr>
            <p:custDataLst>
              <p:tags r:id="rId13"/>
            </p:custDataLst>
          </p:nvPr>
        </p:nvCxnSpPr>
        <p:spPr bwMode="auto">
          <a:xfrm>
            <a:off x="7731125" y="2324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B09F2A9-8E31-26BE-FEAC-6F23A80B5BE6}"/>
              </a:ext>
            </a:extLst>
          </p:cNvPr>
          <p:cNvCxnSpPr/>
          <p:nvPr>
            <p:custDataLst>
              <p:tags r:id="rId14"/>
            </p:custDataLst>
          </p:nvPr>
        </p:nvCxnSpPr>
        <p:spPr bwMode="auto">
          <a:xfrm>
            <a:off x="7469188" y="2349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3" name="テキスト プレースホルダ 9">
            <a:extLst>
              <a:ext uri="{FF2B5EF4-FFF2-40B4-BE49-F238E27FC236}">
                <a16:creationId xmlns:a16="http://schemas.microsoft.com/office/drawing/2014/main" id="{01C1B29F-6A6B-25E1-6186-6A33EC31C604}"/>
              </a:ext>
            </a:extLst>
          </p:cNvPr>
          <p:cNvSpPr>
            <a:spLocks/>
          </p:cNvSpPr>
          <p:nvPr>
            <p:custDataLst>
              <p:tags r:id="rId15"/>
            </p:custDataLst>
          </p:nvPr>
        </p:nvSpPr>
        <p:spPr bwMode="gray">
          <a:xfrm>
            <a:off x="1352550" y="3306763"/>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565577-559A-4129-ADA4-3FB25F1BC6F9}"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AF064B47-00B7-A061-5673-2E863EDC3D60}"/>
              </a:ext>
            </a:extLst>
          </p:cNvPr>
          <p:cNvSpPr>
            <a:spLocks/>
          </p:cNvSpPr>
          <p:nvPr>
            <p:custDataLst>
              <p:tags r:id="rId16"/>
            </p:custDataLst>
          </p:nvPr>
        </p:nvSpPr>
        <p:spPr bwMode="auto">
          <a:xfrm>
            <a:off x="140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39F6AC-74E4-4866-9926-C1F5F761234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4CE67955-AED7-00AC-DE3B-F45DD6C4DDC4}"/>
              </a:ext>
            </a:extLst>
          </p:cNvPr>
          <p:cNvSpPr>
            <a:spLocks/>
          </p:cNvSpPr>
          <p:nvPr>
            <p:custDataLst>
              <p:tags r:id="rId17"/>
            </p:custDataLst>
          </p:nvPr>
        </p:nvSpPr>
        <p:spPr bwMode="gray">
          <a:xfrm>
            <a:off x="1639888" y="36750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93DC8C-6F99-4087-B5A2-C9E19DFBEC1E}" type="datetime'''''''''''''''''''2''''1''''''''''''''6'''''">
              <a:rPr lang="en-US" altLang="en-US" sz="1000" smtClean="0">
                <a:effectLst/>
                <a:sym typeface="+mn-lt"/>
              </a:rPr>
              <a:pPr marL="0" lvl="0" indent="0" algn="ctr">
                <a:spcBef>
                  <a:spcPct val="0"/>
                </a:spcBef>
                <a:buNone/>
              </a:pPr>
              <a:t>216</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788C4EB9-84BF-E891-B7CF-06B473771E11}"/>
              </a:ext>
            </a:extLst>
          </p:cNvPr>
          <p:cNvSpPr>
            <a:spLocks/>
          </p:cNvSpPr>
          <p:nvPr>
            <p:custDataLst>
              <p:tags r:id="rId18"/>
            </p:custDataLst>
          </p:nvPr>
        </p:nvSpPr>
        <p:spPr bwMode="auto">
          <a:xfrm>
            <a:off x="16859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900A3B-B9FD-4D88-96B1-16980B81E03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EC713C67-54E5-4F7D-42AF-7B09301B022F}"/>
              </a:ext>
            </a:extLst>
          </p:cNvPr>
          <p:cNvSpPr>
            <a:spLocks/>
          </p:cNvSpPr>
          <p:nvPr>
            <p:custDataLst>
              <p:tags r:id="rId19"/>
            </p:custDataLst>
          </p:nvPr>
        </p:nvSpPr>
        <p:spPr bwMode="gray">
          <a:xfrm>
            <a:off x="1924050" y="36496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1F13AA-7259-4FC5-91CB-77F03C251D80}" type="datetime'''''''''''''''''''''''''''''''''''2''''''''59'''''''">
              <a:rPr lang="en-US" altLang="en-US" sz="1000" smtClean="0">
                <a:effectLst/>
                <a:sym typeface="+mn-lt"/>
              </a:rPr>
              <a:pPr marL="0" lvl="0" indent="0" algn="ctr">
                <a:spcBef>
                  <a:spcPct val="0"/>
                </a:spcBef>
                <a:buNone/>
              </a:pPr>
              <a:t>259</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283EF1D6-1BB1-7853-2000-654BFC0A1944}"/>
              </a:ext>
            </a:extLst>
          </p:cNvPr>
          <p:cNvSpPr>
            <a:spLocks/>
          </p:cNvSpPr>
          <p:nvPr>
            <p:custDataLst>
              <p:tags r:id="rId20"/>
            </p:custDataLst>
          </p:nvPr>
        </p:nvSpPr>
        <p:spPr bwMode="auto">
          <a:xfrm>
            <a:off x="197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1D1180-44A5-4BAB-8667-39EC94154D1D}"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54E409BC-711D-3D4B-F857-A885C5DE0877}"/>
              </a:ext>
            </a:extLst>
          </p:cNvPr>
          <p:cNvSpPr>
            <a:spLocks/>
          </p:cNvSpPr>
          <p:nvPr>
            <p:custDataLst>
              <p:tags r:id="rId21"/>
            </p:custDataLst>
          </p:nvPr>
        </p:nvSpPr>
        <p:spPr bwMode="gray">
          <a:xfrm>
            <a:off x="2208213" y="3606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C422F3-1285-4E5E-81C7-A0A9DC5E428F}" type="datetime'''3''''''''''''''''''2''''''''''''''''''8'''">
              <a:rPr lang="en-US" altLang="en-US" sz="1000" smtClean="0">
                <a:effectLst/>
                <a:sym typeface="+mn-lt"/>
              </a:rPr>
              <a:pPr marL="0" lvl="0" indent="0" algn="ctr">
                <a:spcBef>
                  <a:spcPct val="0"/>
                </a:spcBef>
                <a:buNone/>
              </a:pPr>
              <a:t>328</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FAE0CCA6-FF26-8F04-BA1B-800EBF2545F2}"/>
              </a:ext>
            </a:extLst>
          </p:cNvPr>
          <p:cNvSpPr>
            <a:spLocks/>
          </p:cNvSpPr>
          <p:nvPr>
            <p:custDataLst>
              <p:tags r:id="rId22"/>
            </p:custDataLst>
          </p:nvPr>
        </p:nvSpPr>
        <p:spPr bwMode="auto">
          <a:xfrm>
            <a:off x="22542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52B3FC-B843-43EA-8790-43B4ED21F126}"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447E4386-78A8-70FB-8919-D5BE652C17FE}"/>
              </a:ext>
            </a:extLst>
          </p:cNvPr>
          <p:cNvSpPr>
            <a:spLocks/>
          </p:cNvSpPr>
          <p:nvPr>
            <p:custDataLst>
              <p:tags r:id="rId23"/>
            </p:custDataLst>
          </p:nvPr>
        </p:nvSpPr>
        <p:spPr bwMode="gray">
          <a:xfrm>
            <a:off x="2492375" y="35766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CED348-5E58-4EF1-8761-2097F752A5F6}" type="datetime'''''''''''''3''7''''6'''''''''''''''''''''''''''">
              <a:rPr lang="en-US" altLang="en-US" sz="1000" smtClean="0">
                <a:effectLst/>
                <a:sym typeface="+mn-lt"/>
              </a:rPr>
              <a:pPr marL="0" lvl="0" indent="0" algn="ctr">
                <a:spcBef>
                  <a:spcPct val="0"/>
                </a:spcBef>
                <a:buNone/>
              </a:pPr>
              <a:t>376</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71F2DA8A-0C77-C9D2-610B-38D6BA68807B}"/>
              </a:ext>
            </a:extLst>
          </p:cNvPr>
          <p:cNvSpPr>
            <a:spLocks/>
          </p:cNvSpPr>
          <p:nvPr>
            <p:custDataLst>
              <p:tags r:id="rId24"/>
            </p:custDataLst>
          </p:nvPr>
        </p:nvSpPr>
        <p:spPr bwMode="auto">
          <a:xfrm>
            <a:off x="25384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646D8-F3CF-4225-901A-4C1BCF8A807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148162A9-D3A7-63EC-6C3B-7B73684E67D2}"/>
              </a:ext>
            </a:extLst>
          </p:cNvPr>
          <p:cNvSpPr>
            <a:spLocks/>
          </p:cNvSpPr>
          <p:nvPr>
            <p:custDataLst>
              <p:tags r:id="rId25"/>
            </p:custDataLst>
          </p:nvPr>
        </p:nvSpPr>
        <p:spPr bwMode="gray">
          <a:xfrm>
            <a:off x="2776538" y="3551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45197C-8F24-4598-A3CB-8BB404313995}" type="datetime'''''''4''''1''''''''''''''''''''''''''6'''">
              <a:rPr lang="en-US" altLang="en-US" sz="1000" smtClean="0">
                <a:effectLst/>
                <a:sym typeface="+mn-lt"/>
              </a:rPr>
              <a:pPr marL="0" lvl="0" indent="0" algn="ctr">
                <a:spcBef>
                  <a:spcPct val="0"/>
                </a:spcBef>
                <a:buNone/>
              </a:pPr>
              <a:t>416</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21151B43-A3E7-A539-614D-447C24D23750}"/>
              </a:ext>
            </a:extLst>
          </p:cNvPr>
          <p:cNvSpPr>
            <a:spLocks/>
          </p:cNvSpPr>
          <p:nvPr>
            <p:custDataLst>
              <p:tags r:id="rId26"/>
            </p:custDataLst>
          </p:nvPr>
        </p:nvSpPr>
        <p:spPr bwMode="auto">
          <a:xfrm>
            <a:off x="28225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5B1EE-8561-4E74-973D-19452A3F7B41}"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122A4271-1CB4-F6EB-5786-415F46056A35}"/>
              </a:ext>
            </a:extLst>
          </p:cNvPr>
          <p:cNvSpPr>
            <a:spLocks/>
          </p:cNvSpPr>
          <p:nvPr>
            <p:custDataLst>
              <p:tags r:id="rId27"/>
            </p:custDataLst>
          </p:nvPr>
        </p:nvSpPr>
        <p:spPr bwMode="gray">
          <a:xfrm>
            <a:off x="3060700" y="34877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6554CD-494F-4850-A9D8-58B649043A44}" type="datetime'''''''''5''''''''2''''''''''''''''''''''0'''''">
              <a:rPr lang="en-US" altLang="en-US" sz="1000" smtClean="0">
                <a:effectLst/>
                <a:sym typeface="+mn-lt"/>
              </a:rPr>
              <a:pPr marL="0" lvl="0" indent="0" algn="ctr">
                <a:spcBef>
                  <a:spcPct val="0"/>
                </a:spcBef>
                <a:buNone/>
              </a:pPr>
              <a:t>520</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457729DA-EF6F-C73F-C7A3-3572561111F3}"/>
              </a:ext>
            </a:extLst>
          </p:cNvPr>
          <p:cNvSpPr>
            <a:spLocks/>
          </p:cNvSpPr>
          <p:nvPr>
            <p:custDataLst>
              <p:tags r:id="rId28"/>
            </p:custDataLst>
          </p:nvPr>
        </p:nvSpPr>
        <p:spPr bwMode="auto">
          <a:xfrm>
            <a:off x="3106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1B100A-800C-44C9-94FD-1950053E31E4}"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F2826C7F-0DF6-FE6D-7721-33B077F7D6B2}"/>
              </a:ext>
            </a:extLst>
          </p:cNvPr>
          <p:cNvSpPr>
            <a:spLocks/>
          </p:cNvSpPr>
          <p:nvPr>
            <p:custDataLst>
              <p:tags r:id="rId29"/>
            </p:custDataLst>
          </p:nvPr>
        </p:nvSpPr>
        <p:spPr bwMode="gray">
          <a:xfrm>
            <a:off x="3344863" y="35433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7B8BC-6CBF-4267-898E-C850BD901CCB}" type="datetime'''''''''''4''''''''2''9'''''''''''''''''''''''''''''''''''''">
              <a:rPr lang="en-US" altLang="en-US" sz="1000" smtClean="0">
                <a:effectLst/>
                <a:sym typeface="+mn-lt"/>
              </a:rPr>
              <a:pPr marL="0" lvl="0" indent="0" algn="ctr">
                <a:spcBef>
                  <a:spcPct val="0"/>
                </a:spcBef>
                <a:buNone/>
              </a:pPr>
              <a:t>429</a:t>
            </a:fld>
            <a:endParaRPr kumimoji="1" lang="en-US" altLang="ja-JP" sz="1000" dirty="0">
              <a:sym typeface="+mn-lt"/>
            </a:endParaRPr>
          </a:p>
        </p:txBody>
      </p:sp>
      <p:sp useBgFill="1">
        <p:nvSpPr>
          <p:cNvPr id="111" name="テキスト プレースホルダ 9">
            <a:extLst>
              <a:ext uri="{FF2B5EF4-FFF2-40B4-BE49-F238E27FC236}">
                <a16:creationId xmlns:a16="http://schemas.microsoft.com/office/drawing/2014/main" id="{9A7496D0-2863-B107-E644-BFCF06DD6918}"/>
              </a:ext>
            </a:extLst>
          </p:cNvPr>
          <p:cNvSpPr>
            <a:spLocks/>
          </p:cNvSpPr>
          <p:nvPr>
            <p:custDataLst>
              <p:tags r:id="rId30"/>
            </p:custDataLst>
          </p:nvPr>
        </p:nvSpPr>
        <p:spPr bwMode="gray">
          <a:xfrm>
            <a:off x="3341688" y="3336925"/>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F7480B-A4A3-494C-9DED-327B793BF8E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B4F8121A-3F3D-7D4F-06F1-0FA4DCD641D5}"/>
              </a:ext>
            </a:extLst>
          </p:cNvPr>
          <p:cNvSpPr>
            <a:spLocks/>
          </p:cNvSpPr>
          <p:nvPr>
            <p:custDataLst>
              <p:tags r:id="rId31"/>
            </p:custDataLst>
          </p:nvPr>
        </p:nvSpPr>
        <p:spPr bwMode="auto">
          <a:xfrm>
            <a:off x="33909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11FA43-F7F8-4AF9-A45E-1E92172D7EBC}"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A7FE3876-2767-3F74-D913-C01381A89534}"/>
              </a:ext>
            </a:extLst>
          </p:cNvPr>
          <p:cNvSpPr>
            <a:spLocks/>
          </p:cNvSpPr>
          <p:nvPr>
            <p:custDataLst>
              <p:tags r:id="rId32"/>
            </p:custDataLst>
          </p:nvPr>
        </p:nvSpPr>
        <p:spPr bwMode="gray">
          <a:xfrm>
            <a:off x="3629025" y="34813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E0D215-60C2-488B-9ACE-E22ABB9CE828}" type="datetime'''''5''''''''''''''''''''''''''''''2''''''''''''8'''''''''''">
              <a:rPr lang="en-US" altLang="en-US" sz="1000" smtClean="0">
                <a:effectLst/>
                <a:sym typeface="+mn-lt"/>
              </a:rPr>
              <a:pPr marL="0" lvl="0" indent="0" algn="ctr">
                <a:spcBef>
                  <a:spcPct val="0"/>
                </a:spcBef>
                <a:buNone/>
              </a:pPr>
              <a:t>528</a:t>
            </a:fld>
            <a:endParaRPr kumimoji="1" lang="en-US" altLang="ja-JP" sz="1000" dirty="0">
              <a:sym typeface="+mn-lt"/>
            </a:endParaRPr>
          </a:p>
        </p:txBody>
      </p:sp>
      <p:sp useBgFill="1">
        <p:nvSpPr>
          <p:cNvPr id="113" name="テキスト プレースホルダ 9">
            <a:extLst>
              <a:ext uri="{FF2B5EF4-FFF2-40B4-BE49-F238E27FC236}">
                <a16:creationId xmlns:a16="http://schemas.microsoft.com/office/drawing/2014/main" id="{FA182B58-B63F-C946-BC90-E66E2654BBA6}"/>
              </a:ext>
            </a:extLst>
          </p:cNvPr>
          <p:cNvSpPr>
            <a:spLocks/>
          </p:cNvSpPr>
          <p:nvPr>
            <p:custDataLst>
              <p:tags r:id="rId33"/>
            </p:custDataLst>
          </p:nvPr>
        </p:nvSpPr>
        <p:spPr bwMode="gray">
          <a:xfrm>
            <a:off x="3646488" y="2867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B397CC-19E5-4B02-A90F-0619ED05B380}"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BDAD433C-7CF3-6F20-818C-03F865D1E615}"/>
              </a:ext>
            </a:extLst>
          </p:cNvPr>
          <p:cNvSpPr>
            <a:spLocks/>
          </p:cNvSpPr>
          <p:nvPr>
            <p:custDataLst>
              <p:tags r:id="rId34"/>
            </p:custDataLst>
          </p:nvPr>
        </p:nvSpPr>
        <p:spPr bwMode="auto">
          <a:xfrm>
            <a:off x="3675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B59D54-ED08-4916-9BF3-61E74D5690F2}"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6FF4D930-9766-96DB-B7EF-806D1DBA36BE}"/>
              </a:ext>
            </a:extLst>
          </p:cNvPr>
          <p:cNvSpPr>
            <a:spLocks/>
          </p:cNvSpPr>
          <p:nvPr>
            <p:custDataLst>
              <p:tags r:id="rId35"/>
            </p:custDataLst>
          </p:nvPr>
        </p:nvSpPr>
        <p:spPr bwMode="gray">
          <a:xfrm>
            <a:off x="3913188" y="3387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E5E5FF-99F6-4426-86B1-767783935D2D}" type="datetime'''''''''''''''''''''''''''''''''''''''6''''''''''''''''81'">
              <a:rPr lang="en-US" altLang="en-US" sz="1000" smtClean="0">
                <a:effectLst/>
                <a:sym typeface="+mn-lt"/>
              </a:rPr>
              <a:pPr marL="0" lvl="0" indent="0" algn="ctr">
                <a:spcBef>
                  <a:spcPct val="0"/>
                </a:spcBef>
                <a:buNone/>
              </a:pPr>
              <a:t>681</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A84E6A92-C0CD-D430-270F-8C17477683AC}"/>
              </a:ext>
            </a:extLst>
          </p:cNvPr>
          <p:cNvSpPr>
            <a:spLocks/>
          </p:cNvSpPr>
          <p:nvPr>
            <p:custDataLst>
              <p:tags r:id="rId36"/>
            </p:custDataLst>
          </p:nvPr>
        </p:nvSpPr>
        <p:spPr bwMode="auto">
          <a:xfrm>
            <a:off x="39592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150955-DD6D-4436-8ED2-0BE31AEED4D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C21CE3B8-7229-91AA-5DB9-C28EB150C65A}"/>
              </a:ext>
            </a:extLst>
          </p:cNvPr>
          <p:cNvSpPr>
            <a:spLocks/>
          </p:cNvSpPr>
          <p:nvPr>
            <p:custDataLst>
              <p:tags r:id="rId37"/>
            </p:custDataLst>
          </p:nvPr>
        </p:nvSpPr>
        <p:spPr bwMode="gray">
          <a:xfrm>
            <a:off x="4197350" y="3343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9D1370-26E9-4316-B3A6-5A7315D8BD6A}" type="datetime'''''''''''''''''''''''''''''''''''''''''''''7''''''5''2'''''''">
              <a:rPr lang="en-US" altLang="en-US" sz="1000" smtClean="0">
                <a:effectLst/>
                <a:sym typeface="+mn-lt"/>
              </a:rPr>
              <a:pPr marL="0" lvl="0" indent="0" algn="ctr">
                <a:spcBef>
                  <a:spcPct val="0"/>
                </a:spcBef>
                <a:buNone/>
              </a:pPr>
              <a:t>752</a:t>
            </a:fld>
            <a:endParaRPr kumimoji="1" lang="en-US" altLang="ja-JP" sz="1000" dirty="0">
              <a:sym typeface="+mn-lt"/>
            </a:endParaRPr>
          </a:p>
        </p:txBody>
      </p:sp>
      <p:sp useBgFill="1">
        <p:nvSpPr>
          <p:cNvPr id="133" name="テキスト プレースホルダ 9">
            <a:extLst>
              <a:ext uri="{FF2B5EF4-FFF2-40B4-BE49-F238E27FC236}">
                <a16:creationId xmlns:a16="http://schemas.microsoft.com/office/drawing/2014/main" id="{4B86A982-4D30-A578-28FC-C7061B4FF0FC}"/>
              </a:ext>
            </a:extLst>
          </p:cNvPr>
          <p:cNvSpPr>
            <a:spLocks/>
          </p:cNvSpPr>
          <p:nvPr>
            <p:custDataLst>
              <p:tags r:id="rId38"/>
            </p:custDataLst>
          </p:nvPr>
        </p:nvSpPr>
        <p:spPr bwMode="gray">
          <a:xfrm>
            <a:off x="4214813" y="28114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F870FB-E396-427C-9976-68385BE6940E}" type="datetime'5''.''''''''''''''''''8'''''''">
              <a:rPr lang="en-US" altLang="en-US" sz="1000" smtClean="0">
                <a:effectLst/>
                <a:sym typeface="+mn-lt"/>
              </a:rPr>
              <a:pPr marL="0" lvl="0" indent="0" algn="ctr">
                <a:spcBef>
                  <a:spcPct val="0"/>
                </a:spcBef>
                <a:buNone/>
              </a:pPr>
              <a:t>5.8</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FA436814-1B79-0CB9-8BC5-38277AC8F59C}"/>
              </a:ext>
            </a:extLst>
          </p:cNvPr>
          <p:cNvSpPr>
            <a:spLocks/>
          </p:cNvSpPr>
          <p:nvPr>
            <p:custDataLst>
              <p:tags r:id="rId39"/>
            </p:custDataLst>
          </p:nvPr>
        </p:nvSpPr>
        <p:spPr bwMode="auto">
          <a:xfrm>
            <a:off x="4243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0D8864-CBE5-4A4C-A467-A53D3461CEE9}"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07C18BCF-C6B5-3C1E-06A5-537230738581}"/>
              </a:ext>
            </a:extLst>
          </p:cNvPr>
          <p:cNvSpPr>
            <a:spLocks/>
          </p:cNvSpPr>
          <p:nvPr>
            <p:custDataLst>
              <p:tags r:id="rId40"/>
            </p:custDataLst>
          </p:nvPr>
        </p:nvSpPr>
        <p:spPr bwMode="gray">
          <a:xfrm>
            <a:off x="4479925" y="3332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B10254-0C2C-4D67-9865-659E5326EB99}" type="datetime'''''''''''7''''''''''''''''''''''''''''''''''''7''''''''0'''">
              <a:rPr lang="en-US" altLang="en-US" sz="1000" smtClean="0">
                <a:effectLst/>
                <a:sym typeface="+mn-lt"/>
              </a:rPr>
              <a:pPr marL="0" lvl="0" indent="0" algn="ctr">
                <a:spcBef>
                  <a:spcPct val="0"/>
                </a:spcBef>
                <a:buNone/>
              </a:pPr>
              <a:t>770</a:t>
            </a:fld>
            <a:endParaRPr kumimoji="1" lang="en-US" altLang="ja-JP" sz="1000" dirty="0">
              <a:sym typeface="+mn-lt"/>
            </a:endParaRPr>
          </a:p>
        </p:txBody>
      </p:sp>
      <p:sp useBgFill="1">
        <p:nvSpPr>
          <p:cNvPr id="20" name="テキスト プレースホルダ 9">
            <a:extLst>
              <a:ext uri="{FF2B5EF4-FFF2-40B4-BE49-F238E27FC236}">
                <a16:creationId xmlns:a16="http://schemas.microsoft.com/office/drawing/2014/main" id="{9AB62A18-A90F-DAA3-E920-8A91CAED5B5A}"/>
              </a:ext>
            </a:extLst>
          </p:cNvPr>
          <p:cNvSpPr>
            <a:spLocks/>
          </p:cNvSpPr>
          <p:nvPr>
            <p:custDataLst>
              <p:tags r:id="rId41"/>
            </p:custDataLst>
          </p:nvPr>
        </p:nvSpPr>
        <p:spPr bwMode="gray">
          <a:xfrm>
            <a:off x="4497388" y="30273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7EA60B-3F25-4494-BD6D-8658D81BD8A2}"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4449B9B4-2986-310D-5561-25FA8F29E2A2}"/>
              </a:ext>
            </a:extLst>
          </p:cNvPr>
          <p:cNvSpPr>
            <a:spLocks/>
          </p:cNvSpPr>
          <p:nvPr>
            <p:custDataLst>
              <p:tags r:id="rId42"/>
            </p:custDataLst>
          </p:nvPr>
        </p:nvSpPr>
        <p:spPr bwMode="auto">
          <a:xfrm>
            <a:off x="45259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07EFD9-EC39-4C98-A8F5-0B28E62BD478}"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D926E8E5-7C7B-B0EF-BE89-D98FA32A7C2F}"/>
              </a:ext>
            </a:extLst>
          </p:cNvPr>
          <p:cNvSpPr>
            <a:spLocks/>
          </p:cNvSpPr>
          <p:nvPr>
            <p:custDataLst>
              <p:tags r:id="rId43"/>
            </p:custDataLst>
          </p:nvPr>
        </p:nvSpPr>
        <p:spPr bwMode="gray">
          <a:xfrm>
            <a:off x="4764088" y="33210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CC0F0D-83C5-48CF-B773-C16E92B8DB6B}" type="datetime'''''''''''''''''''7''''''''''''''8''7'''''''''''''''">
              <a:rPr lang="en-US" altLang="en-US" sz="1000" smtClean="0">
                <a:effectLst/>
                <a:sym typeface="+mn-lt"/>
              </a:rPr>
              <a:pPr marL="0" lvl="0" indent="0" algn="ctr">
                <a:spcBef>
                  <a:spcPct val="0"/>
                </a:spcBef>
                <a:buNone/>
              </a:pPr>
              <a:t>787</a:t>
            </a:fld>
            <a:endParaRPr kumimoji="1" lang="en-US" altLang="ja-JP" sz="1000" dirty="0">
              <a:sym typeface="+mn-lt"/>
            </a:endParaRPr>
          </a:p>
        </p:txBody>
      </p:sp>
      <p:sp useBgFill="1">
        <p:nvSpPr>
          <p:cNvPr id="21" name="テキスト プレースホルダ 9">
            <a:extLst>
              <a:ext uri="{FF2B5EF4-FFF2-40B4-BE49-F238E27FC236}">
                <a16:creationId xmlns:a16="http://schemas.microsoft.com/office/drawing/2014/main" id="{8795891C-1DE4-37B9-7887-40CEDD422F42}"/>
              </a:ext>
            </a:extLst>
          </p:cNvPr>
          <p:cNvSpPr>
            <a:spLocks/>
          </p:cNvSpPr>
          <p:nvPr>
            <p:custDataLst>
              <p:tags r:id="rId44"/>
            </p:custDataLst>
          </p:nvPr>
        </p:nvSpPr>
        <p:spPr bwMode="gray">
          <a:xfrm>
            <a:off x="4781550" y="29448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64F7C4-A772-412A-84F9-C0C18B741C7B}"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A2907387-3CD5-B951-E96C-225584C870BD}"/>
              </a:ext>
            </a:extLst>
          </p:cNvPr>
          <p:cNvSpPr>
            <a:spLocks/>
          </p:cNvSpPr>
          <p:nvPr>
            <p:custDataLst>
              <p:tags r:id="rId45"/>
            </p:custDataLst>
          </p:nvPr>
        </p:nvSpPr>
        <p:spPr bwMode="auto">
          <a:xfrm>
            <a:off x="48101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FB068-84F5-4077-AA74-FA704215C092}"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F036B336-B564-3FDC-B4B8-F83F19689934}"/>
              </a:ext>
            </a:extLst>
          </p:cNvPr>
          <p:cNvSpPr>
            <a:spLocks/>
          </p:cNvSpPr>
          <p:nvPr>
            <p:custDataLst>
              <p:tags r:id="rId46"/>
            </p:custDataLst>
          </p:nvPr>
        </p:nvSpPr>
        <p:spPr bwMode="gray">
          <a:xfrm>
            <a:off x="5048250" y="3379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68C5A-D841-4687-8B3D-6B7840CCC461}" type="datetime'''''6''''''''''''''''''''9''''''3'''''''''''''''">
              <a:rPr lang="en-US" altLang="en-US" sz="1000" smtClean="0">
                <a:effectLst/>
                <a:sym typeface="+mn-lt"/>
              </a:rPr>
              <a:pPr marL="0" lvl="0" indent="0" algn="ctr">
                <a:spcBef>
                  <a:spcPct val="0"/>
                </a:spcBef>
                <a:buNone/>
              </a:pPr>
              <a:t>693</a:t>
            </a:fld>
            <a:endParaRPr kumimoji="1" lang="en-US" altLang="ja-JP" sz="1000" dirty="0">
              <a:sym typeface="+mn-lt"/>
            </a:endParaRPr>
          </a:p>
        </p:txBody>
      </p:sp>
      <p:sp useBgFill="1">
        <p:nvSpPr>
          <p:cNvPr id="137" name="テキスト プレースホルダ 9">
            <a:extLst>
              <a:ext uri="{FF2B5EF4-FFF2-40B4-BE49-F238E27FC236}">
                <a16:creationId xmlns:a16="http://schemas.microsoft.com/office/drawing/2014/main" id="{10F3F3E3-6953-F59F-718A-E2AD482F709D}"/>
              </a:ext>
            </a:extLst>
          </p:cNvPr>
          <p:cNvSpPr>
            <a:spLocks/>
          </p:cNvSpPr>
          <p:nvPr>
            <p:custDataLst>
              <p:tags r:id="rId47"/>
            </p:custDataLst>
          </p:nvPr>
        </p:nvSpPr>
        <p:spPr bwMode="gray">
          <a:xfrm>
            <a:off x="5065713" y="2897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187BD8-7D33-4BFC-80BC-6A557BA0F2D5}" type="datetime'''4''.''''''''''''''''''7'''''''''''''''''''''''''">
              <a:rPr lang="en-US" altLang="en-US" sz="1000" smtClean="0">
                <a:effectLst/>
                <a:sym typeface="+mn-lt"/>
              </a:rPr>
              <a:pPr marL="0" lvl="0" indent="0" algn="ctr">
                <a:spcBef>
                  <a:spcPct val="0"/>
                </a:spcBef>
                <a:buNone/>
              </a:pPr>
              <a:t>4.7</a:t>
            </a:fld>
            <a:endParaRPr kumimoji="1" lang="en-US" altLang="ja-JP" sz="1000" dirty="0">
              <a:sym typeface="+mn-lt"/>
            </a:endParaRPr>
          </a:p>
        </p:txBody>
      </p:sp>
      <p:sp>
        <p:nvSpPr>
          <p:cNvPr id="170" name="テキスト プレースホルダ 9">
            <a:extLst>
              <a:ext uri="{FF2B5EF4-FFF2-40B4-BE49-F238E27FC236}">
                <a16:creationId xmlns:a16="http://schemas.microsoft.com/office/drawing/2014/main" id="{16255B70-198F-F2F7-8CC5-0E1ECC67F01E}"/>
              </a:ext>
            </a:extLst>
          </p:cNvPr>
          <p:cNvSpPr>
            <a:spLocks/>
          </p:cNvSpPr>
          <p:nvPr>
            <p:custDataLst>
              <p:tags r:id="rId48"/>
            </p:custDataLst>
          </p:nvPr>
        </p:nvSpPr>
        <p:spPr bwMode="auto">
          <a:xfrm>
            <a:off x="50942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74453-F13C-46AD-8517-606A37D7314B}"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BA461246-F9CE-69C2-2BCF-A7A97317EF5E}"/>
              </a:ext>
            </a:extLst>
          </p:cNvPr>
          <p:cNvSpPr>
            <a:spLocks/>
          </p:cNvSpPr>
          <p:nvPr>
            <p:custDataLst>
              <p:tags r:id="rId49"/>
            </p:custDataLst>
          </p:nvPr>
        </p:nvSpPr>
        <p:spPr bwMode="gray">
          <a:xfrm>
            <a:off x="5332413" y="33829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385E11-1AB1-49FF-8E74-9EA94BA45595}" type="datetime'''''6''''''8''9'''''''''''''''''''''''''''''">
              <a:rPr lang="en-US" altLang="en-US" sz="1000" smtClean="0">
                <a:effectLst/>
                <a:sym typeface="+mn-lt"/>
              </a:rPr>
              <a:pPr marL="0" lvl="0" indent="0" algn="ctr">
                <a:spcBef>
                  <a:spcPct val="0"/>
                </a:spcBef>
                <a:buNone/>
              </a:pPr>
              <a:t>689</a:t>
            </a:fld>
            <a:endParaRPr kumimoji="1" lang="en-US" altLang="ja-JP" sz="1000" dirty="0">
              <a:sym typeface="+mn-lt"/>
            </a:endParaRPr>
          </a:p>
        </p:txBody>
      </p:sp>
      <p:sp useBgFill="1">
        <p:nvSpPr>
          <p:cNvPr id="22" name="テキスト プレースホルダ 9">
            <a:extLst>
              <a:ext uri="{FF2B5EF4-FFF2-40B4-BE49-F238E27FC236}">
                <a16:creationId xmlns:a16="http://schemas.microsoft.com/office/drawing/2014/main" id="{ADE0EEFA-8680-CA16-983F-F5222AC6C9FC}"/>
              </a:ext>
            </a:extLst>
          </p:cNvPr>
          <p:cNvSpPr>
            <a:spLocks/>
          </p:cNvSpPr>
          <p:nvPr>
            <p:custDataLst>
              <p:tags r:id="rId50"/>
            </p:custDataLst>
          </p:nvPr>
        </p:nvSpPr>
        <p:spPr bwMode="gray">
          <a:xfrm>
            <a:off x="5349875" y="3122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595507-2D51-43BC-9CDD-340E6A335335}"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768291D7-15E7-A015-5D2E-D7218C61A447}"/>
              </a:ext>
            </a:extLst>
          </p:cNvPr>
          <p:cNvSpPr>
            <a:spLocks/>
          </p:cNvSpPr>
          <p:nvPr>
            <p:custDataLst>
              <p:tags r:id="rId51"/>
            </p:custDataLst>
          </p:nvPr>
        </p:nvSpPr>
        <p:spPr bwMode="auto">
          <a:xfrm>
            <a:off x="53784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787A37-1392-49B1-8C1F-5EFA53528695}"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FA7E03F7-A387-2823-8DEE-606BA958BC89}"/>
              </a:ext>
            </a:extLst>
          </p:cNvPr>
          <p:cNvSpPr>
            <a:spLocks/>
          </p:cNvSpPr>
          <p:nvPr>
            <p:custDataLst>
              <p:tags r:id="rId52"/>
            </p:custDataLst>
          </p:nvPr>
        </p:nvSpPr>
        <p:spPr bwMode="gray">
          <a:xfrm>
            <a:off x="5616575" y="3349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7145D2-E666-4425-9911-A7612F71A753}" type="datetime'''''''''7''''''''''''''''''''''''''4''''''''''''1'">
              <a:rPr lang="en-US" altLang="en-US" sz="1000" smtClean="0">
                <a:effectLst/>
                <a:sym typeface="+mn-lt"/>
              </a:rPr>
              <a:pPr marL="0" lvl="0" indent="0" algn="ctr">
                <a:spcBef>
                  <a:spcPct val="0"/>
                </a:spcBef>
                <a:buNone/>
              </a:pPr>
              <a:t>741</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4E5BE019-17ED-0561-4292-5C8E85578349}"/>
              </a:ext>
            </a:extLst>
          </p:cNvPr>
          <p:cNvSpPr>
            <a:spLocks/>
          </p:cNvSpPr>
          <p:nvPr>
            <p:custDataLst>
              <p:tags r:id="rId53"/>
            </p:custDataLst>
          </p:nvPr>
        </p:nvSpPr>
        <p:spPr bwMode="gray">
          <a:xfrm>
            <a:off x="5634038" y="316388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B6AD81-12A4-4C95-9646-760E7B755DBB}"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4" name="Text Placeholder 12"/>
          <p:cNvSpPr>
            <a:spLocks noGrp="1"/>
          </p:cNvSpPr>
          <p:nvPr>
            <p:custDataLst>
              <p:tags r:id="rId54"/>
            </p:custDataLst>
          </p:nvPr>
        </p:nvSpPr>
        <p:spPr bwMode="auto">
          <a:xfrm>
            <a:off x="325438" y="2068513"/>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72" name="テキスト プレースホルダ 9">
            <a:extLst>
              <a:ext uri="{FF2B5EF4-FFF2-40B4-BE49-F238E27FC236}">
                <a16:creationId xmlns:a16="http://schemas.microsoft.com/office/drawing/2014/main" id="{9FE04FA9-BC45-6FE0-66F0-196BB49802E7}"/>
              </a:ext>
            </a:extLst>
          </p:cNvPr>
          <p:cNvSpPr>
            <a:spLocks/>
          </p:cNvSpPr>
          <p:nvPr>
            <p:custDataLst>
              <p:tags r:id="rId55"/>
            </p:custDataLst>
          </p:nvPr>
        </p:nvSpPr>
        <p:spPr bwMode="auto">
          <a:xfrm>
            <a:off x="5662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D28729-F7D0-4205-A731-226D1D57C44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02F6BB68-92C6-AFFB-1130-193B58C35B9B}"/>
              </a:ext>
            </a:extLst>
          </p:cNvPr>
          <p:cNvSpPr>
            <a:spLocks/>
          </p:cNvSpPr>
          <p:nvPr>
            <p:custDataLst>
              <p:tags r:id="rId56"/>
            </p:custDataLst>
          </p:nvPr>
        </p:nvSpPr>
        <p:spPr bwMode="gray">
          <a:xfrm>
            <a:off x="5900738" y="3260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FC9A7E-E64B-4FAA-937F-C036F47FC76C}" type="datetime'''''''8''''''''''''''''''8''''''''''7'">
              <a:rPr lang="en-US" altLang="en-US" sz="1000" smtClean="0">
                <a:effectLst/>
                <a:sym typeface="+mn-lt"/>
              </a:rPr>
              <a:pPr marL="0" lvl="0" indent="0" algn="ctr">
                <a:spcBef>
                  <a:spcPct val="0"/>
                </a:spcBef>
                <a:buNone/>
              </a:pPr>
              <a:t>887</a:t>
            </a:fld>
            <a:endParaRPr kumimoji="1" lang="en-US" altLang="ja-JP" sz="1000" dirty="0">
              <a:sym typeface="+mn-lt"/>
            </a:endParaRPr>
          </a:p>
        </p:txBody>
      </p:sp>
      <p:sp useBgFill="1">
        <p:nvSpPr>
          <p:cNvPr id="26" name="テキスト プレースホルダ 9">
            <a:extLst>
              <a:ext uri="{FF2B5EF4-FFF2-40B4-BE49-F238E27FC236}">
                <a16:creationId xmlns:a16="http://schemas.microsoft.com/office/drawing/2014/main" id="{5E9D4CA3-0962-F085-AF85-C74CE063B60C}"/>
              </a:ext>
            </a:extLst>
          </p:cNvPr>
          <p:cNvSpPr>
            <a:spLocks/>
          </p:cNvSpPr>
          <p:nvPr>
            <p:custDataLst>
              <p:tags r:id="rId57"/>
            </p:custDataLst>
          </p:nvPr>
        </p:nvSpPr>
        <p:spPr bwMode="gray">
          <a:xfrm>
            <a:off x="5918200" y="30067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FEDBE9-8B72-4861-B937-17591112AF96}"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173" name="テキスト プレースホルダ 9">
            <a:extLst>
              <a:ext uri="{FF2B5EF4-FFF2-40B4-BE49-F238E27FC236}">
                <a16:creationId xmlns:a16="http://schemas.microsoft.com/office/drawing/2014/main" id="{99FD0162-4034-CFBC-16A1-44E26ADEEDDC}"/>
              </a:ext>
            </a:extLst>
          </p:cNvPr>
          <p:cNvSpPr>
            <a:spLocks/>
          </p:cNvSpPr>
          <p:nvPr>
            <p:custDataLst>
              <p:tags r:id="rId58"/>
            </p:custDataLst>
          </p:nvPr>
        </p:nvSpPr>
        <p:spPr bwMode="auto">
          <a:xfrm>
            <a:off x="59467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F7F7D-172B-4BC4-9407-D2CCCEBAEA94}"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86D714A2-362C-51CE-14B4-D9C28216BB5E}"/>
              </a:ext>
            </a:extLst>
          </p:cNvPr>
          <p:cNvSpPr>
            <a:spLocks/>
          </p:cNvSpPr>
          <p:nvPr>
            <p:custDataLst>
              <p:tags r:id="rId59"/>
            </p:custDataLst>
          </p:nvPr>
        </p:nvSpPr>
        <p:spPr bwMode="gray">
          <a:xfrm>
            <a:off x="6184900" y="3259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EA354E-83C1-4632-A427-C62C58BD713C}" type="datetime'''''''''''''8''''''''''''''''''''''''8''''''''9'''">
              <a:rPr lang="en-US" altLang="en-US" sz="1000" smtClean="0">
                <a:effectLst/>
                <a:sym typeface="+mn-lt"/>
              </a:rPr>
              <a:pPr marL="0" lvl="0" indent="0" algn="ctr">
                <a:spcBef>
                  <a:spcPct val="0"/>
                </a:spcBef>
                <a:buNone/>
              </a:pPr>
              <a:t>889</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CDF2A554-01E1-5E33-A04B-990669EFF6F0}"/>
              </a:ext>
            </a:extLst>
          </p:cNvPr>
          <p:cNvSpPr>
            <a:spLocks/>
          </p:cNvSpPr>
          <p:nvPr>
            <p:custDataLst>
              <p:tags r:id="rId60"/>
            </p:custDataLst>
          </p:nvPr>
        </p:nvSpPr>
        <p:spPr bwMode="gray">
          <a:xfrm>
            <a:off x="6202363" y="312737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1F2C78-F333-4BF1-8651-EE70D163C45A}"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42" name="Text Placeholder 12"/>
          <p:cNvSpPr>
            <a:spLocks noGrp="1"/>
          </p:cNvSpPr>
          <p:nvPr>
            <p:custDataLst>
              <p:tags r:id="rId61"/>
            </p:custDataLst>
          </p:nvPr>
        </p:nvSpPr>
        <p:spPr bwMode="auto">
          <a:xfrm>
            <a:off x="79898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93" name="テキスト プレースホルダ 9">
            <a:extLst>
              <a:ext uri="{FF2B5EF4-FFF2-40B4-BE49-F238E27FC236}">
                <a16:creationId xmlns:a16="http://schemas.microsoft.com/office/drawing/2014/main" id="{E5505B24-F582-BE0C-FC1A-C0F8B5AC1F40}"/>
              </a:ext>
            </a:extLst>
          </p:cNvPr>
          <p:cNvSpPr>
            <a:spLocks/>
          </p:cNvSpPr>
          <p:nvPr>
            <p:custDataLst>
              <p:tags r:id="rId62"/>
            </p:custDataLst>
          </p:nvPr>
        </p:nvSpPr>
        <p:spPr bwMode="gray">
          <a:xfrm>
            <a:off x="787400" y="3692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0080CB-131A-442F-AB7B-EA2E97CF0A00}" type="datetime'''''''''''''''''''''''1''''''''''''''''90'''">
              <a:rPr lang="en-US" altLang="en-US" sz="1000" smtClean="0">
                <a:effectLst/>
                <a:sym typeface="+mn-lt"/>
              </a:rPr>
              <a:pPr marL="0" lvl="0" indent="0" algn="ctr">
                <a:spcBef>
                  <a:spcPct val="0"/>
                </a:spcBef>
                <a:buNone/>
              </a:pPr>
              <a:t>190</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CF3C9A6-12E7-BE1F-C495-123D2BC2E994}"/>
              </a:ext>
            </a:extLst>
          </p:cNvPr>
          <p:cNvSpPr>
            <a:spLocks/>
          </p:cNvSpPr>
          <p:nvPr>
            <p:custDataLst>
              <p:tags r:id="rId63"/>
            </p:custDataLst>
          </p:nvPr>
        </p:nvSpPr>
        <p:spPr bwMode="gray">
          <a:xfrm>
            <a:off x="6469063" y="33337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194147-2357-43D2-AF6C-EE674D806571}" type="datetime'7''''6''''''''''7'''''''''''''''''''''''">
              <a:rPr lang="en-US" altLang="en-US" sz="1000" smtClean="0">
                <a:effectLst/>
                <a:sym typeface="+mn-lt"/>
              </a:rPr>
              <a:pPr marL="0" lvl="0" indent="0" algn="ctr">
                <a:spcBef>
                  <a:spcPct val="0"/>
                </a:spcBef>
                <a:buNone/>
              </a:pPr>
              <a:t>767</a:t>
            </a:fld>
            <a:endParaRPr kumimoji="1" lang="en-US" altLang="ja-JP" sz="1000" dirty="0">
              <a:sym typeface="+mn-lt"/>
            </a:endParaRPr>
          </a:p>
        </p:txBody>
      </p:sp>
      <p:sp useBgFill="1">
        <p:nvSpPr>
          <p:cNvPr id="143" name="テキスト プレースホルダ 9">
            <a:extLst>
              <a:ext uri="{FF2B5EF4-FFF2-40B4-BE49-F238E27FC236}">
                <a16:creationId xmlns:a16="http://schemas.microsoft.com/office/drawing/2014/main" id="{CD3BA5DF-A0F2-7329-9874-05C00091782A}"/>
              </a:ext>
            </a:extLst>
          </p:cNvPr>
          <p:cNvSpPr>
            <a:spLocks/>
          </p:cNvSpPr>
          <p:nvPr>
            <p:custDataLst>
              <p:tags r:id="rId64"/>
            </p:custDataLst>
          </p:nvPr>
        </p:nvSpPr>
        <p:spPr bwMode="gray">
          <a:xfrm>
            <a:off x="6465888" y="3546475"/>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E5618E-97CC-4EBA-BAAA-10E1E6D8F831}" type="datetime'''''''-''''''''3''''''''''''''''''''''''''''''''.''8'">
              <a:rPr lang="en-US" altLang="en-US" sz="1000" smtClean="0">
                <a:effectLst/>
                <a:sym typeface="+mn-lt"/>
              </a:rPr>
              <a:pPr marL="0" lvl="0" indent="0" algn="ctr">
                <a:spcBef>
                  <a:spcPct val="0"/>
                </a:spcBef>
                <a:buNone/>
              </a:pPr>
              <a:t>-3.8</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72A117FB-E4C8-64B3-CA80-12C1A05CE232}"/>
              </a:ext>
            </a:extLst>
          </p:cNvPr>
          <p:cNvSpPr>
            <a:spLocks/>
          </p:cNvSpPr>
          <p:nvPr>
            <p:custDataLst>
              <p:tags r:id="rId65"/>
            </p:custDataLst>
          </p:nvPr>
        </p:nvSpPr>
        <p:spPr bwMode="auto">
          <a:xfrm>
            <a:off x="65151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DE3D4B-7756-406B-88E0-FC41B1C3439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2C8EE241-EF97-8235-0EF6-1DFCA79F2DF3}"/>
              </a:ext>
            </a:extLst>
          </p:cNvPr>
          <p:cNvSpPr>
            <a:spLocks/>
          </p:cNvSpPr>
          <p:nvPr>
            <p:custDataLst>
              <p:tags r:id="rId66"/>
            </p:custDataLst>
          </p:nvPr>
        </p:nvSpPr>
        <p:spPr bwMode="gray">
          <a:xfrm>
            <a:off x="6753225" y="32004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9437BA-D9D0-47A5-AE76-1EAD633FC67B}" type="datetime'''9''''''''8''''''3'''''''''''''''''''''''''''">
              <a:rPr lang="en-US" altLang="en-US" sz="1000" smtClean="0">
                <a:effectLst/>
                <a:sym typeface="+mn-lt"/>
              </a:rPr>
              <a:pPr marL="0" lvl="0" indent="0" algn="ctr">
                <a:spcBef>
                  <a:spcPct val="0"/>
                </a:spcBef>
                <a:buNone/>
              </a:pPr>
              <a:t>983</a:t>
            </a:fld>
            <a:endParaRPr kumimoji="1" lang="en-US" altLang="ja-JP" sz="1000" dirty="0">
              <a:sym typeface="+mn-lt"/>
            </a:endParaRPr>
          </a:p>
        </p:txBody>
      </p:sp>
      <p:sp useBgFill="1">
        <p:nvSpPr>
          <p:cNvPr id="145" name="テキスト プレースホルダ 9">
            <a:extLst>
              <a:ext uri="{FF2B5EF4-FFF2-40B4-BE49-F238E27FC236}">
                <a16:creationId xmlns:a16="http://schemas.microsoft.com/office/drawing/2014/main" id="{1D275355-6412-E517-8954-C7FF78731F90}"/>
              </a:ext>
            </a:extLst>
          </p:cNvPr>
          <p:cNvSpPr>
            <a:spLocks/>
          </p:cNvSpPr>
          <p:nvPr>
            <p:custDataLst>
              <p:tags r:id="rId67"/>
            </p:custDataLst>
          </p:nvPr>
        </p:nvSpPr>
        <p:spPr bwMode="gray">
          <a:xfrm>
            <a:off x="6770688" y="27527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95B861-4BAF-4AD2-9CF7-7EDE32B2CFAD}" type="datetime'''''''''''6''''''''''''''''.''''''''''''''''''''''''''5'">
              <a:rPr lang="en-US" altLang="en-US" sz="1000" smtClean="0">
                <a:effectLst/>
                <a:sym typeface="+mn-lt"/>
              </a:rPr>
              <a:pPr marL="0" lvl="0" indent="0" algn="ctr">
                <a:spcBef>
                  <a:spcPct val="0"/>
                </a:spcBef>
                <a:buNone/>
              </a:pPr>
              <a:t>6.5</a:t>
            </a:fld>
            <a:endParaRPr kumimoji="1" lang="en-US" altLang="ja-JP" sz="1000" dirty="0">
              <a:sym typeface="+mn-lt"/>
            </a:endParaRPr>
          </a:p>
        </p:txBody>
      </p:sp>
      <p:sp>
        <p:nvSpPr>
          <p:cNvPr id="176" name="テキスト プレースホルダ 9">
            <a:extLst>
              <a:ext uri="{FF2B5EF4-FFF2-40B4-BE49-F238E27FC236}">
                <a16:creationId xmlns:a16="http://schemas.microsoft.com/office/drawing/2014/main" id="{9EA3AAF6-6AA7-1FBE-056E-2E5FE3172D8A}"/>
              </a:ext>
            </a:extLst>
          </p:cNvPr>
          <p:cNvSpPr>
            <a:spLocks/>
          </p:cNvSpPr>
          <p:nvPr>
            <p:custDataLst>
              <p:tags r:id="rId68"/>
            </p:custDataLst>
          </p:nvPr>
        </p:nvSpPr>
        <p:spPr bwMode="auto">
          <a:xfrm>
            <a:off x="67992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0204F4-B197-4B6C-A56C-8BC56DC16FB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DC5219E7-4047-C4EF-D386-68CE295DD503}"/>
              </a:ext>
            </a:extLst>
          </p:cNvPr>
          <p:cNvSpPr>
            <a:spLocks/>
          </p:cNvSpPr>
          <p:nvPr>
            <p:custDataLst>
              <p:tags r:id="rId69"/>
            </p:custDataLst>
          </p:nvPr>
        </p:nvSpPr>
        <p:spPr bwMode="gray">
          <a:xfrm>
            <a:off x="6985000" y="30416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49909-4E53-4507-807F-4355CA9FA349}" type="datetime'''''''''1,''''''''''''''''''''2''''''''''3''9'''''''''''''''''">
              <a:rPr lang="en-US" altLang="en-US" sz="1000" smtClean="0">
                <a:effectLst/>
                <a:sym typeface="+mn-lt"/>
              </a:rPr>
              <a:pPr marL="0" lvl="0" indent="0" algn="ctr">
                <a:spcBef>
                  <a:spcPct val="0"/>
                </a:spcBef>
                <a:buNone/>
              </a:pPr>
              <a:t>1,239</a:t>
            </a:fld>
            <a:endParaRPr kumimoji="1" lang="en-US" altLang="ja-JP" sz="1000" dirty="0">
              <a:sym typeface="+mn-lt"/>
            </a:endParaRPr>
          </a:p>
        </p:txBody>
      </p:sp>
      <p:sp useBgFill="1">
        <p:nvSpPr>
          <p:cNvPr id="147" name="テキスト プレースホルダ 9">
            <a:extLst>
              <a:ext uri="{FF2B5EF4-FFF2-40B4-BE49-F238E27FC236}">
                <a16:creationId xmlns:a16="http://schemas.microsoft.com/office/drawing/2014/main" id="{C729E561-3C2D-2B9A-21C3-09173FFC4A9C}"/>
              </a:ext>
            </a:extLst>
          </p:cNvPr>
          <p:cNvSpPr>
            <a:spLocks/>
          </p:cNvSpPr>
          <p:nvPr>
            <p:custDataLst>
              <p:tags r:id="rId70"/>
            </p:custDataLst>
          </p:nvPr>
        </p:nvSpPr>
        <p:spPr bwMode="gray">
          <a:xfrm>
            <a:off x="7019925" y="23320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C03C4-C347-4322-ADE8-2307154614C0}" type="datetime'''''''''''1''''''''''2''''''''''''''''.''''''''''''0'''''''">
              <a:rPr lang="en-US" altLang="en-US" sz="1000" smtClean="0">
                <a:effectLst/>
                <a:sym typeface="+mn-lt"/>
              </a:rPr>
              <a:pPr marL="0" lvl="0" indent="0" algn="ctr">
                <a:spcBef>
                  <a:spcPct val="0"/>
                </a:spcBef>
                <a:buNone/>
              </a:pPr>
              <a:t>12.0</a:t>
            </a:fld>
            <a:endParaRPr kumimoji="1" lang="en-US" altLang="ja-JP" sz="1000" dirty="0">
              <a:sym typeface="+mn-lt"/>
            </a:endParaRPr>
          </a:p>
        </p:txBody>
      </p:sp>
      <p:sp>
        <p:nvSpPr>
          <p:cNvPr id="174" name="テキスト プレースホルダ 9">
            <a:extLst>
              <a:ext uri="{FF2B5EF4-FFF2-40B4-BE49-F238E27FC236}">
                <a16:creationId xmlns:a16="http://schemas.microsoft.com/office/drawing/2014/main" id="{7B6AD296-D11F-13EF-4C89-6F7E7C244252}"/>
              </a:ext>
            </a:extLst>
          </p:cNvPr>
          <p:cNvSpPr>
            <a:spLocks/>
          </p:cNvSpPr>
          <p:nvPr>
            <p:custDataLst>
              <p:tags r:id="rId71"/>
            </p:custDataLst>
          </p:nvPr>
        </p:nvSpPr>
        <p:spPr bwMode="auto">
          <a:xfrm>
            <a:off x="6230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4C13B3-4080-469C-B96F-ACDE9C88E206}"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8080F1BA-A36D-2511-E314-9D6F4A5966E2}"/>
              </a:ext>
            </a:extLst>
          </p:cNvPr>
          <p:cNvSpPr>
            <a:spLocks/>
          </p:cNvSpPr>
          <p:nvPr>
            <p:custDataLst>
              <p:tags r:id="rId72"/>
            </p:custDataLst>
          </p:nvPr>
        </p:nvSpPr>
        <p:spPr bwMode="gray">
          <a:xfrm>
            <a:off x="7339013" y="3213100"/>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F3DF5F-3535-4AAF-902B-26058611B7F0}"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2D05A78D-2F62-5BF7-3B9E-8620173D9B09}"/>
              </a:ext>
            </a:extLst>
          </p:cNvPr>
          <p:cNvSpPr>
            <a:spLocks/>
          </p:cNvSpPr>
          <p:nvPr>
            <p:custDataLst>
              <p:tags r:id="rId73"/>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31D1D5-B0B7-41AC-8D4F-29636D3934AA}"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78" name="テキスト プレースホルダ 9">
            <a:extLst>
              <a:ext uri="{FF2B5EF4-FFF2-40B4-BE49-F238E27FC236}">
                <a16:creationId xmlns:a16="http://schemas.microsoft.com/office/drawing/2014/main" id="{85904BFA-E598-4D61-157D-D9CA2EECDA5C}"/>
              </a:ext>
            </a:extLst>
          </p:cNvPr>
          <p:cNvSpPr>
            <a:spLocks/>
          </p:cNvSpPr>
          <p:nvPr>
            <p:custDataLst>
              <p:tags r:id="rId74"/>
            </p:custDataLst>
          </p:nvPr>
        </p:nvSpPr>
        <p:spPr bwMode="auto">
          <a:xfrm>
            <a:off x="7367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5D04A3-3E71-40BB-93AA-72578A612D77}"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B81D2913-BF2F-92DD-D546-FAE8674CD8F6}"/>
              </a:ext>
            </a:extLst>
          </p:cNvPr>
          <p:cNvSpPr>
            <a:spLocks/>
          </p:cNvSpPr>
          <p:nvPr>
            <p:custDataLst>
              <p:tags r:id="rId75"/>
            </p:custDataLst>
          </p:nvPr>
        </p:nvSpPr>
        <p:spPr bwMode="gray">
          <a:xfrm>
            <a:off x="7623175" y="310038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CCBB06-1007-46BE-B2FC-943F08F124F0}"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E14634F1-FB21-2FE5-F217-87F370340F41}"/>
              </a:ext>
            </a:extLst>
          </p:cNvPr>
          <p:cNvSpPr>
            <a:spLocks/>
          </p:cNvSpPr>
          <p:nvPr>
            <p:custDataLst>
              <p:tags r:id="rId76"/>
            </p:custDataLst>
          </p:nvPr>
        </p:nvSpPr>
        <p:spPr bwMode="gray">
          <a:xfrm>
            <a:off x="1071563" y="36957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443160-A5E1-4510-9A64-A60CD989C207}" type="datetime'1''''''8''''''''''4'''''''">
              <a:rPr lang="en-US" altLang="en-US" sz="1000" smtClean="0">
                <a:effectLst/>
                <a:sym typeface="+mn-lt"/>
              </a:rPr>
              <a:pPr marL="0" lvl="0" indent="0" algn="ctr">
                <a:spcBef>
                  <a:spcPct val="0"/>
                </a:spcBef>
                <a:buNone/>
              </a:pPr>
              <a:t>184</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9FFB6985-6970-3B1F-50F0-4C996AE4017C}"/>
              </a:ext>
            </a:extLst>
          </p:cNvPr>
          <p:cNvSpPr>
            <a:spLocks/>
          </p:cNvSpPr>
          <p:nvPr>
            <p:custDataLst>
              <p:tags r:id="rId77"/>
            </p:custDataLst>
          </p:nvPr>
        </p:nvSpPr>
        <p:spPr bwMode="auto">
          <a:xfrm>
            <a:off x="76517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97F016-2172-45A4-85F1-579B0510BEAA}" type="datetime'''''''''''''''''''''''''2''''4'''''''">
              <a:rPr lang="en-US" altLang="en-US" sz="1000" smtClean="0"/>
              <a:pPr/>
              <a:t>24</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DC389821-F241-C0A2-DD4E-E7B81F4D8850}"/>
              </a:ext>
            </a:extLst>
          </p:cNvPr>
          <p:cNvSpPr>
            <a:spLocks/>
          </p:cNvSpPr>
          <p:nvPr>
            <p:custDataLst>
              <p:tags r:id="rId78"/>
            </p:custDataLst>
          </p:nvPr>
        </p:nvSpPr>
        <p:spPr bwMode="auto">
          <a:xfrm>
            <a:off x="11176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8B676C-E71C-4E90-870B-DDD6326470A1}"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505892EB-EE3E-90B8-AB9F-5F2B1377FEF9}"/>
              </a:ext>
            </a:extLst>
          </p:cNvPr>
          <p:cNvSpPr>
            <a:spLocks/>
          </p:cNvSpPr>
          <p:nvPr>
            <p:custDataLst>
              <p:tags r:id="rId79"/>
            </p:custDataLst>
          </p:nvPr>
        </p:nvSpPr>
        <p:spPr bwMode="gray">
          <a:xfrm>
            <a:off x="1355725" y="3692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5668F6-6B8F-4064-9D38-9AB3EC630CD9}" type="datetime'''''1''''''9''''''''''''''''''''''''0'''''''''''''''''''''''''">
              <a:rPr lang="en-US" altLang="en-US" sz="1000" smtClean="0">
                <a:effectLst/>
                <a:sym typeface="+mn-lt"/>
              </a:rPr>
              <a:pPr marL="0" lvl="0" indent="0" algn="ctr">
                <a:spcBef>
                  <a:spcPct val="0"/>
                </a:spcBef>
                <a:buNone/>
              </a:pPr>
              <a:t>190</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5C6A5391-3046-E7FA-0B5C-7DDEE12A4B20}"/>
              </a:ext>
            </a:extLst>
          </p:cNvPr>
          <p:cNvSpPr>
            <a:spLocks/>
          </p:cNvSpPr>
          <p:nvPr>
            <p:custDataLst>
              <p:tags r:id="rId80"/>
            </p:custDataLst>
          </p:nvPr>
        </p:nvSpPr>
        <p:spPr bwMode="auto">
          <a:xfrm>
            <a:off x="7083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BB7C68-0A06-47D9-9759-79502B4C1020}"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graphicFrame>
        <p:nvGraphicFramePr>
          <p:cNvPr id="78" name="Chart 77">
            <a:extLst>
              <a:ext uri="{FF2B5EF4-FFF2-40B4-BE49-F238E27FC236}">
                <a16:creationId xmlns:a16="http://schemas.microsoft.com/office/drawing/2014/main" id="{45626D29-5012-D57B-3453-63A837E3B07D}"/>
              </a:ext>
            </a:extLst>
          </p:cNvPr>
          <p:cNvGraphicFramePr/>
          <p:nvPr>
            <p:custDataLst>
              <p:tags r:id="rId81"/>
            </p:custDataLst>
            <p:extLst>
              <p:ext uri="{D42A27DB-BD31-4B8C-83A1-F6EECF244321}">
                <p14:modId xmlns:p14="http://schemas.microsoft.com/office/powerpoint/2010/main" val="3626619629"/>
              </p:ext>
            </p:extLst>
          </p:nvPr>
        </p:nvGraphicFramePr>
        <p:xfrm>
          <a:off x="119063" y="4508500"/>
          <a:ext cx="8137525" cy="2098675"/>
        </p:xfrm>
        <a:graphic>
          <a:graphicData uri="http://schemas.openxmlformats.org/drawingml/2006/chart">
            <c:chart xmlns:c="http://schemas.openxmlformats.org/drawingml/2006/chart" xmlns:r="http://schemas.openxmlformats.org/officeDocument/2006/relationships" r:id="rId112"/>
          </a:graphicData>
        </a:graphic>
      </p:graphicFrame>
      <p:sp>
        <p:nvSpPr>
          <p:cNvPr id="63" name="Text Placeholder 12"/>
          <p:cNvSpPr>
            <a:spLocks noGrp="1"/>
          </p:cNvSpPr>
          <p:nvPr>
            <p:custDataLst>
              <p:tags r:id="rId82"/>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7" name="テキスト プレースホルダ 9">
            <a:extLst>
              <a:ext uri="{FF2B5EF4-FFF2-40B4-BE49-F238E27FC236}">
                <a16:creationId xmlns:a16="http://schemas.microsoft.com/office/drawing/2014/main" id="{177CEFB6-A5E1-D4F8-A4C1-99684811F4AE}"/>
              </a:ext>
            </a:extLst>
          </p:cNvPr>
          <p:cNvSpPr>
            <a:spLocks/>
          </p:cNvSpPr>
          <p:nvPr>
            <p:custDataLst>
              <p:tags r:id="rId83"/>
            </p:custDataLst>
          </p:nvPr>
        </p:nvSpPr>
        <p:spPr bwMode="auto">
          <a:xfrm>
            <a:off x="73660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0A7B21-8A3B-41BD-867D-D541306C0996}"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8" name="テキスト プレースホルダ 9">
            <a:extLst>
              <a:ext uri="{FF2B5EF4-FFF2-40B4-BE49-F238E27FC236}">
                <a16:creationId xmlns:a16="http://schemas.microsoft.com/office/drawing/2014/main" id="{E1837C70-0B5B-A693-2C77-C8A0056DBE6B}"/>
              </a:ext>
            </a:extLst>
          </p:cNvPr>
          <p:cNvSpPr>
            <a:spLocks/>
          </p:cNvSpPr>
          <p:nvPr>
            <p:custDataLst>
              <p:tags r:id="rId84"/>
            </p:custDataLst>
          </p:nvPr>
        </p:nvSpPr>
        <p:spPr bwMode="auto">
          <a:xfrm>
            <a:off x="11049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27F75C-95FE-4AED-8575-969879C90CCC}"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9" name="テキスト プレースホルダ 9">
            <a:extLst>
              <a:ext uri="{FF2B5EF4-FFF2-40B4-BE49-F238E27FC236}">
                <a16:creationId xmlns:a16="http://schemas.microsoft.com/office/drawing/2014/main" id="{E62CC08D-2BED-0197-D178-11210AAE6872}"/>
              </a:ext>
            </a:extLst>
          </p:cNvPr>
          <p:cNvSpPr>
            <a:spLocks/>
          </p:cNvSpPr>
          <p:nvPr>
            <p:custDataLst>
              <p:tags r:id="rId85"/>
            </p:custDataLst>
          </p:nvPr>
        </p:nvSpPr>
        <p:spPr bwMode="auto">
          <a:xfrm>
            <a:off x="1401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C10488-7846-435E-B862-F9F127B4DCD4}"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9A0A3CE6-423F-E463-2208-7913F6C22131}"/>
              </a:ext>
            </a:extLst>
          </p:cNvPr>
          <p:cNvSpPr>
            <a:spLocks/>
          </p:cNvSpPr>
          <p:nvPr>
            <p:custDataLst>
              <p:tags r:id="rId86"/>
            </p:custDataLst>
          </p:nvPr>
        </p:nvSpPr>
        <p:spPr bwMode="auto">
          <a:xfrm>
            <a:off x="16986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01DBA-B2BC-4DA0-B4AC-C93E11F51D8A}"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DE540549-B343-1FD4-E095-E96441715573}"/>
              </a:ext>
            </a:extLst>
          </p:cNvPr>
          <p:cNvSpPr>
            <a:spLocks/>
          </p:cNvSpPr>
          <p:nvPr>
            <p:custDataLst>
              <p:tags r:id="rId87"/>
            </p:custDataLst>
          </p:nvPr>
        </p:nvSpPr>
        <p:spPr bwMode="auto">
          <a:xfrm>
            <a:off x="19954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141764-FABA-4276-A5E0-DE0E7CE15A6D}"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B82089CC-AA6F-228D-163B-46B447760A48}"/>
              </a:ext>
            </a:extLst>
          </p:cNvPr>
          <p:cNvSpPr>
            <a:spLocks/>
          </p:cNvSpPr>
          <p:nvPr>
            <p:custDataLst>
              <p:tags r:id="rId88"/>
            </p:custDataLst>
          </p:nvPr>
        </p:nvSpPr>
        <p:spPr bwMode="auto">
          <a:xfrm>
            <a:off x="22939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9777A6-5DE8-4F9A-8706-B5ED65077EA6}"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6224EDAC-82FD-7D93-E2E4-1F1B4D918B28}"/>
              </a:ext>
            </a:extLst>
          </p:cNvPr>
          <p:cNvSpPr>
            <a:spLocks/>
          </p:cNvSpPr>
          <p:nvPr>
            <p:custDataLst>
              <p:tags r:id="rId89"/>
            </p:custDataLst>
          </p:nvPr>
        </p:nvSpPr>
        <p:spPr bwMode="auto">
          <a:xfrm>
            <a:off x="25908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E5F8E-4EE4-417A-AE01-0AE4B30AFFD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04DFFFD1-4DCF-B4E3-7A9F-91A48C7E2744}"/>
              </a:ext>
            </a:extLst>
          </p:cNvPr>
          <p:cNvSpPr>
            <a:spLocks/>
          </p:cNvSpPr>
          <p:nvPr>
            <p:custDataLst>
              <p:tags r:id="rId90"/>
            </p:custDataLst>
          </p:nvPr>
        </p:nvSpPr>
        <p:spPr bwMode="auto">
          <a:xfrm>
            <a:off x="28876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D3078B-4615-4670-96F4-7A9511B51FAF}"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7FA10DE4-B22F-63DA-B69F-C4A1E557EF66}"/>
              </a:ext>
            </a:extLst>
          </p:cNvPr>
          <p:cNvSpPr>
            <a:spLocks/>
          </p:cNvSpPr>
          <p:nvPr>
            <p:custDataLst>
              <p:tags r:id="rId91"/>
            </p:custDataLst>
          </p:nvPr>
        </p:nvSpPr>
        <p:spPr bwMode="auto">
          <a:xfrm>
            <a:off x="31861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0F2F9B-6A75-4D4F-B5E3-177C929535F3}"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8D6D51AA-A83B-2125-E746-AF136F3D552F}"/>
              </a:ext>
            </a:extLst>
          </p:cNvPr>
          <p:cNvSpPr>
            <a:spLocks/>
          </p:cNvSpPr>
          <p:nvPr>
            <p:custDataLst>
              <p:tags r:id="rId92"/>
            </p:custDataLst>
          </p:nvPr>
        </p:nvSpPr>
        <p:spPr bwMode="auto">
          <a:xfrm>
            <a:off x="34829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876C80-F790-4B2A-856F-6AC97A9D5AA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7BBB5862-0508-120A-8847-5E5815447C38}"/>
              </a:ext>
            </a:extLst>
          </p:cNvPr>
          <p:cNvSpPr>
            <a:spLocks/>
          </p:cNvSpPr>
          <p:nvPr>
            <p:custDataLst>
              <p:tags r:id="rId93"/>
            </p:custDataLst>
          </p:nvPr>
        </p:nvSpPr>
        <p:spPr bwMode="auto">
          <a:xfrm>
            <a:off x="3779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57EA43-ABA5-495B-9C22-93DF92ED2E80}"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8CE4C74D-FB7B-8DEB-BABD-0DC3567332B3}"/>
              </a:ext>
            </a:extLst>
          </p:cNvPr>
          <p:cNvSpPr>
            <a:spLocks/>
          </p:cNvSpPr>
          <p:nvPr>
            <p:custDataLst>
              <p:tags r:id="rId94"/>
            </p:custDataLst>
          </p:nvPr>
        </p:nvSpPr>
        <p:spPr bwMode="auto">
          <a:xfrm>
            <a:off x="40767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95D3F8-8D76-493B-9A89-C1FC57163A71}"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C531C450-BF38-642A-6C70-F7C8E3680CE0}"/>
              </a:ext>
            </a:extLst>
          </p:cNvPr>
          <p:cNvSpPr>
            <a:spLocks/>
          </p:cNvSpPr>
          <p:nvPr>
            <p:custDataLst>
              <p:tags r:id="rId95"/>
            </p:custDataLst>
          </p:nvPr>
        </p:nvSpPr>
        <p:spPr bwMode="auto">
          <a:xfrm>
            <a:off x="43751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DCD7AC-B89E-48F6-91AD-20CDA244C8AA}"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038C5C84-4BDC-C846-2340-2D13CB7B4390}"/>
              </a:ext>
            </a:extLst>
          </p:cNvPr>
          <p:cNvSpPr>
            <a:spLocks/>
          </p:cNvSpPr>
          <p:nvPr>
            <p:custDataLst>
              <p:tags r:id="rId96"/>
            </p:custDataLst>
          </p:nvPr>
        </p:nvSpPr>
        <p:spPr bwMode="auto">
          <a:xfrm>
            <a:off x="4672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5C6BA6-B1D0-40B7-85DD-527620F44640}"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2866FAE6-7EAA-7BAA-0897-338BFF5E9672}"/>
              </a:ext>
            </a:extLst>
          </p:cNvPr>
          <p:cNvSpPr>
            <a:spLocks/>
          </p:cNvSpPr>
          <p:nvPr>
            <p:custDataLst>
              <p:tags r:id="rId97"/>
            </p:custDataLst>
          </p:nvPr>
        </p:nvSpPr>
        <p:spPr bwMode="auto">
          <a:xfrm>
            <a:off x="49688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1CB3A3-222B-41F2-8CBB-555057CE803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681F37E5-B275-1D4A-66A5-E7D783D7E21B}"/>
              </a:ext>
            </a:extLst>
          </p:cNvPr>
          <p:cNvSpPr>
            <a:spLocks/>
          </p:cNvSpPr>
          <p:nvPr>
            <p:custDataLst>
              <p:tags r:id="rId98"/>
            </p:custDataLst>
          </p:nvPr>
        </p:nvSpPr>
        <p:spPr bwMode="auto">
          <a:xfrm>
            <a:off x="52657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858FC7-66F2-4F8F-BECA-1F1147BDC8B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1A6F3DD6-177A-DEF6-6B8E-EA0FA689CE87}"/>
              </a:ext>
            </a:extLst>
          </p:cNvPr>
          <p:cNvSpPr>
            <a:spLocks/>
          </p:cNvSpPr>
          <p:nvPr>
            <p:custDataLst>
              <p:tags r:id="rId99"/>
            </p:custDataLst>
          </p:nvPr>
        </p:nvSpPr>
        <p:spPr bwMode="auto">
          <a:xfrm>
            <a:off x="55641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8720C-EE6A-4330-852A-B1C6A0B38B3C}"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949F9635-7642-F240-3DE2-5DD28700EE80}"/>
              </a:ext>
            </a:extLst>
          </p:cNvPr>
          <p:cNvSpPr>
            <a:spLocks/>
          </p:cNvSpPr>
          <p:nvPr>
            <p:custDataLst>
              <p:tags r:id="rId100"/>
            </p:custDataLst>
          </p:nvPr>
        </p:nvSpPr>
        <p:spPr bwMode="auto">
          <a:xfrm>
            <a:off x="58610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4F8BF-7E2F-4BC6-BC03-4597F77F2F07}"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64B59FF6-6DFF-9363-8108-0BFE28B61718}"/>
              </a:ext>
            </a:extLst>
          </p:cNvPr>
          <p:cNvSpPr>
            <a:spLocks/>
          </p:cNvSpPr>
          <p:nvPr>
            <p:custDataLst>
              <p:tags r:id="rId101"/>
            </p:custDataLst>
          </p:nvPr>
        </p:nvSpPr>
        <p:spPr bwMode="auto">
          <a:xfrm>
            <a:off x="61579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1E19F5-3EA8-4956-A5C4-8838A3E19ED6}"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9D05CBD3-AEB6-12FD-0788-12C8494AE0BB}"/>
              </a:ext>
            </a:extLst>
          </p:cNvPr>
          <p:cNvSpPr>
            <a:spLocks/>
          </p:cNvSpPr>
          <p:nvPr>
            <p:custDataLst>
              <p:tags r:id="rId102"/>
            </p:custDataLst>
          </p:nvPr>
        </p:nvSpPr>
        <p:spPr bwMode="auto">
          <a:xfrm>
            <a:off x="64563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C54360-0FED-4678-9958-1752DCE66E7D}"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5C2B7F2-17F0-919F-4540-F1D51460C3DD}"/>
              </a:ext>
            </a:extLst>
          </p:cNvPr>
          <p:cNvSpPr>
            <a:spLocks/>
          </p:cNvSpPr>
          <p:nvPr>
            <p:custDataLst>
              <p:tags r:id="rId103"/>
            </p:custDataLst>
          </p:nvPr>
        </p:nvSpPr>
        <p:spPr bwMode="auto">
          <a:xfrm>
            <a:off x="67532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FE0A75-C667-4E01-B0E0-703F932716C0}"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319FD7C1-5F8D-6666-449F-A9BA94C0E312}"/>
              </a:ext>
            </a:extLst>
          </p:cNvPr>
          <p:cNvSpPr>
            <a:spLocks/>
          </p:cNvSpPr>
          <p:nvPr>
            <p:custDataLst>
              <p:tags r:id="rId104"/>
            </p:custDataLst>
          </p:nvPr>
        </p:nvSpPr>
        <p:spPr bwMode="auto">
          <a:xfrm>
            <a:off x="705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ED92F6-67B4-4C8F-B62B-7204E251B3DC}"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20B851F7-D909-415A-78C1-C4B49ACC457C}"/>
              </a:ext>
            </a:extLst>
          </p:cNvPr>
          <p:cNvSpPr>
            <a:spLocks/>
          </p:cNvSpPr>
          <p:nvPr>
            <p:custDataLst>
              <p:tags r:id="rId105"/>
            </p:custDataLst>
          </p:nvPr>
        </p:nvSpPr>
        <p:spPr bwMode="auto">
          <a:xfrm>
            <a:off x="73469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CB356E-E00A-44C3-9224-E5DDE31FEB0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851A942D-6EF0-C543-5647-9CCE313D8244}"/>
              </a:ext>
            </a:extLst>
          </p:cNvPr>
          <p:cNvSpPr>
            <a:spLocks/>
          </p:cNvSpPr>
          <p:nvPr>
            <p:custDataLst>
              <p:tags r:id="rId106"/>
            </p:custDataLst>
          </p:nvPr>
        </p:nvSpPr>
        <p:spPr bwMode="auto">
          <a:xfrm>
            <a:off x="76454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2D9606-A45E-4F9F-B4B4-784F01D27058}"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E4791C5C-8671-7EF0-E00D-7771F43DE968}"/>
              </a:ext>
            </a:extLst>
          </p:cNvPr>
          <p:cNvSpPr>
            <a:spLocks/>
          </p:cNvSpPr>
          <p:nvPr>
            <p:custDataLst>
              <p:tags r:id="rId107"/>
            </p:custDataLst>
          </p:nvPr>
        </p:nvSpPr>
        <p:spPr bwMode="auto">
          <a:xfrm>
            <a:off x="7942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0659D-C500-4672-A75C-9E0CBF91F6E3}"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27427583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43268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0" imgW="360" imgH="360" progId="TCLayout.ActiveDocument.1">
                  <p:embed/>
                </p:oleObj>
              </mc:Choice>
              <mc:Fallback>
                <p:oleObj name="think-cellスライド" r:id="rId110" imgW="360" imgH="360" progId="TCLayout.ActiveDocument.1">
                  <p:embed/>
                  <p:pic>
                    <p:nvPicPr>
                      <p:cNvPr id="7" name="Object 6" hidden="1"/>
                      <p:cNvPicPr>
                        <a:picLocks noChangeAspect="1" noChangeArrowheads="1"/>
                      </p:cNvPicPr>
                      <p:nvPr/>
                    </p:nvPicPr>
                    <p:blipFill>
                      <a:blip r:embed="rId1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IN"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20807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5</a:t>
            </a:r>
            <a:r>
              <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年のインフレ率は</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2</a:t>
            </a:r>
            <a:r>
              <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1%</a:t>
            </a:r>
            <a:r>
              <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であり、</a:t>
            </a:r>
            <a:r>
              <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6</a:t>
            </a:r>
            <a:r>
              <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年以降は</a:t>
            </a:r>
            <a:r>
              <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台で安定して推移していく見込みであ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376934"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70" name="Chart 69">
            <a:extLst>
              <a:ext uri="{FF2B5EF4-FFF2-40B4-BE49-F238E27FC236}">
                <a16:creationId xmlns:a16="http://schemas.microsoft.com/office/drawing/2014/main" id="{A2F6A7CB-38BB-1D73-2F15-CED6EA9FAC33}"/>
              </a:ext>
            </a:extLst>
          </p:cNvPr>
          <p:cNvGraphicFramePr/>
          <p:nvPr>
            <p:custDataLst>
              <p:tags r:id="rId3"/>
            </p:custDataLst>
            <p:extLst>
              <p:ext uri="{D42A27DB-BD31-4B8C-83A1-F6EECF244321}">
                <p14:modId xmlns:p14="http://schemas.microsoft.com/office/powerpoint/2010/main" val="2972799796"/>
              </p:ext>
            </p:extLst>
          </p:nvPr>
        </p:nvGraphicFramePr>
        <p:xfrm>
          <a:off x="4884738" y="2266950"/>
          <a:ext cx="4903787" cy="4002088"/>
        </p:xfrm>
        <a:graphic>
          <a:graphicData uri="http://schemas.openxmlformats.org/drawingml/2006/chart">
            <c:chart xmlns:c="http://schemas.openxmlformats.org/drawingml/2006/chart" xmlns:r="http://schemas.openxmlformats.org/officeDocument/2006/relationships" r:id="rId112"/>
          </a:graphicData>
        </a:graphic>
      </p:graphicFrame>
      <p:cxnSp>
        <p:nvCxnSpPr>
          <p:cNvPr id="12" name="Straight Connector 11">
            <a:extLst>
              <a:ext uri="{FF2B5EF4-FFF2-40B4-BE49-F238E27FC236}">
                <a16:creationId xmlns:a16="http://schemas.microsoft.com/office/drawing/2014/main" id="{E806F5AA-3EC5-EAD4-FBC4-C407BB91F3D6}"/>
              </a:ext>
            </a:extLst>
          </p:cNvPr>
          <p:cNvCxnSpPr/>
          <p:nvPr>
            <p:custDataLst>
              <p:tags r:id="rId4"/>
            </p:custDataLst>
          </p:nvPr>
        </p:nvCxnSpPr>
        <p:spPr bwMode="auto">
          <a:xfrm>
            <a:off x="5881688" y="3511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6EB773F4-1BEC-8B0B-DA1E-A9C0AAECD63A}"/>
              </a:ext>
            </a:extLst>
          </p:cNvPr>
          <p:cNvCxnSpPr/>
          <p:nvPr>
            <p:custDataLst>
              <p:tags r:id="rId5"/>
            </p:custDataLst>
          </p:nvPr>
        </p:nvCxnSpPr>
        <p:spPr bwMode="auto">
          <a:xfrm flipV="1">
            <a:off x="7272338" y="4445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F922AB4-D30C-4DAD-7CD8-89F78EC3F8C5}"/>
              </a:ext>
            </a:extLst>
          </p:cNvPr>
          <p:cNvCxnSpPr/>
          <p:nvPr>
            <p:custDataLst>
              <p:tags r:id="rId6"/>
            </p:custDataLst>
          </p:nvPr>
        </p:nvCxnSpPr>
        <p:spPr bwMode="auto">
          <a:xfrm>
            <a:off x="6229350" y="3616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C06DDA1-E56B-41BC-F52A-6261EA11C959}"/>
              </a:ext>
            </a:extLst>
          </p:cNvPr>
          <p:cNvCxnSpPr/>
          <p:nvPr>
            <p:custDataLst>
              <p:tags r:id="rId7"/>
            </p:custDataLst>
          </p:nvPr>
        </p:nvCxnSpPr>
        <p:spPr bwMode="auto">
          <a:xfrm>
            <a:off x="6403975" y="3505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00CEED9-135D-D460-94A7-5078CA4AE828}"/>
              </a:ext>
            </a:extLst>
          </p:cNvPr>
          <p:cNvCxnSpPr/>
          <p:nvPr>
            <p:custDataLst>
              <p:tags r:id="rId8"/>
            </p:custDataLst>
          </p:nvPr>
        </p:nvCxnSpPr>
        <p:spPr bwMode="auto">
          <a:xfrm flipV="1">
            <a:off x="6577013" y="3644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A54C3E2-62BA-92C1-317D-B7A6C542310F}"/>
              </a:ext>
            </a:extLst>
          </p:cNvPr>
          <p:cNvCxnSpPr/>
          <p:nvPr>
            <p:custDataLst>
              <p:tags r:id="rId9"/>
            </p:custDataLst>
          </p:nvPr>
        </p:nvCxnSpPr>
        <p:spPr bwMode="auto">
          <a:xfrm flipV="1">
            <a:off x="6924675" y="4146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770DE9FC-2BC3-B83F-456E-566F6607857A}"/>
              </a:ext>
            </a:extLst>
          </p:cNvPr>
          <p:cNvCxnSpPr/>
          <p:nvPr>
            <p:custDataLst>
              <p:tags r:id="rId10"/>
            </p:custDataLst>
          </p:nvPr>
        </p:nvCxnSpPr>
        <p:spPr bwMode="auto">
          <a:xfrm>
            <a:off x="7099300" y="4114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C1DD11D6-8F1D-2151-3DF9-39031F623CA6}"/>
              </a:ext>
            </a:extLst>
          </p:cNvPr>
          <p:cNvCxnSpPr/>
          <p:nvPr>
            <p:custDataLst>
              <p:tags r:id="rId11"/>
            </p:custDataLst>
          </p:nvPr>
        </p:nvCxnSpPr>
        <p:spPr bwMode="auto">
          <a:xfrm>
            <a:off x="7446963" y="42624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CA904F4-142B-25F8-85EA-F36B3ABAA104}"/>
              </a:ext>
            </a:extLst>
          </p:cNvPr>
          <p:cNvCxnSpPr/>
          <p:nvPr>
            <p:custDataLst>
              <p:tags r:id="rId12"/>
            </p:custDataLst>
          </p:nvPr>
        </p:nvCxnSpPr>
        <p:spPr bwMode="auto">
          <a:xfrm>
            <a:off x="7620000" y="3887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046C6CF8-1E1C-5C11-EABB-647A72EFD54E}"/>
              </a:ext>
            </a:extLst>
          </p:cNvPr>
          <p:cNvCxnSpPr/>
          <p:nvPr>
            <p:custDataLst>
              <p:tags r:id="rId13"/>
            </p:custDataLst>
          </p:nvPr>
        </p:nvCxnSpPr>
        <p:spPr bwMode="auto">
          <a:xfrm>
            <a:off x="8142288" y="3652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F6FAE7A8-EF50-F20C-07F4-6A4664DB350A}"/>
              </a:ext>
            </a:extLst>
          </p:cNvPr>
          <p:cNvCxnSpPr/>
          <p:nvPr>
            <p:custDataLst>
              <p:tags r:id="rId14"/>
            </p:custDataLst>
          </p:nvPr>
        </p:nvCxnSpPr>
        <p:spPr bwMode="auto">
          <a:xfrm flipH="1">
            <a:off x="8342313" y="3549650"/>
            <a:ext cx="26988"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A295CEFF-2668-DC32-DF0E-5C3DA3F1DA3D}"/>
              </a:ext>
            </a:extLst>
          </p:cNvPr>
          <p:cNvCxnSpPr/>
          <p:nvPr>
            <p:custDataLst>
              <p:tags r:id="rId15"/>
            </p:custDataLst>
          </p:nvPr>
        </p:nvCxnSpPr>
        <p:spPr bwMode="auto">
          <a:xfrm flipV="1">
            <a:off x="8489950" y="3797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91BDB753-5A8C-1BA1-29B3-C66916F62090}"/>
              </a:ext>
            </a:extLst>
          </p:cNvPr>
          <p:cNvCxnSpPr/>
          <p:nvPr>
            <p:custDataLst>
              <p:tags r:id="rId16"/>
            </p:custDataLst>
          </p:nvPr>
        </p:nvCxnSpPr>
        <p:spPr bwMode="auto">
          <a:xfrm>
            <a:off x="8662988" y="3656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EADEBD3C-0E70-67D0-89AF-80A94B01EDA1}"/>
              </a:ext>
            </a:extLst>
          </p:cNvPr>
          <p:cNvCxnSpPr/>
          <p:nvPr>
            <p:custDataLst>
              <p:tags r:id="rId17"/>
            </p:custDataLst>
          </p:nvPr>
        </p:nvCxnSpPr>
        <p:spPr bwMode="auto">
          <a:xfrm>
            <a:off x="7794625" y="3705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C71BDC68-0849-58FB-D674-AC1C3C856518}"/>
              </a:ext>
            </a:extLst>
          </p:cNvPr>
          <p:cNvCxnSpPr/>
          <p:nvPr>
            <p:custDataLst>
              <p:tags r:id="rId18"/>
            </p:custDataLst>
          </p:nvPr>
        </p:nvCxnSpPr>
        <p:spPr bwMode="auto">
          <a:xfrm flipV="1">
            <a:off x="9358313" y="3213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BE28CDF5-832E-29F2-8286-7BAF21165F01}"/>
              </a:ext>
            </a:extLst>
          </p:cNvPr>
          <p:cNvCxnSpPr/>
          <p:nvPr>
            <p:custDataLst>
              <p:tags r:id="rId19"/>
            </p:custDataLst>
          </p:nvPr>
        </p:nvCxnSpPr>
        <p:spPr bwMode="auto">
          <a:xfrm>
            <a:off x="6751638" y="3786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6064B95C-4E69-0B09-11D6-31195A619E86}"/>
              </a:ext>
            </a:extLst>
          </p:cNvPr>
          <p:cNvCxnSpPr/>
          <p:nvPr>
            <p:custDataLst>
              <p:tags r:id="rId20"/>
            </p:custDataLst>
          </p:nvPr>
        </p:nvCxnSpPr>
        <p:spPr bwMode="auto">
          <a:xfrm flipV="1">
            <a:off x="5534025" y="3541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34" name="Text Placeholder 12"/>
          <p:cNvSpPr>
            <a:spLocks noGrp="1"/>
          </p:cNvSpPr>
          <p:nvPr>
            <p:custDataLst>
              <p:tags r:id="rId21"/>
            </p:custDataLst>
          </p:nvPr>
        </p:nvSpPr>
        <p:spPr bwMode="gray">
          <a:xfrm>
            <a:off x="7307263" y="41100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D29C8AE-E182-4906-B870-93FCBA5206F9}" type="datetime'''''''''''''''2''''''1''''.''''''''4'''''''''''''''''''''">
              <a:rPr lang="en-US" altLang="en-US" sz="1000" b="0" smtClean="0">
                <a:solidFill>
                  <a:srgbClr val="000000"/>
                </a:solidFill>
                <a:effectLst/>
              </a:rPr>
              <a:pPr/>
              <a:t>21.4</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7" name="Text Placeholder 12"/>
          <p:cNvSpPr>
            <a:spLocks noGrp="1"/>
          </p:cNvSpPr>
          <p:nvPr>
            <p:custDataLst>
              <p:tags r:id="rId22"/>
            </p:custDataLst>
          </p:nvPr>
        </p:nvSpPr>
        <p:spPr bwMode="auto">
          <a:xfrm>
            <a:off x="73834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9" name="Text Placeholder 12"/>
          <p:cNvSpPr>
            <a:spLocks noGrp="1"/>
          </p:cNvSpPr>
          <p:nvPr>
            <p:custDataLst>
              <p:tags r:id="rId23"/>
            </p:custDataLst>
          </p:nvPr>
        </p:nvSpPr>
        <p:spPr bwMode="gray">
          <a:xfrm>
            <a:off x="7480300" y="37353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AD9F80-1FCA-4D41-8882-FB5077B5129B}" type="datetime'''''''''''''''2''''''''''6.''''''1'''''''''">
              <a:rPr lang="en-US" altLang="en-US" sz="1000" b="0" smtClean="0">
                <a:solidFill>
                  <a:srgbClr val="000000"/>
                </a:solidFill>
                <a:effectLst/>
              </a:rPr>
              <a:pPr/>
              <a:t>26.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8" name="Text Placeholder 12"/>
          <p:cNvSpPr>
            <a:spLocks noGrp="1"/>
          </p:cNvSpPr>
          <p:nvPr>
            <p:custDataLst>
              <p:tags r:id="rId24"/>
            </p:custDataLst>
          </p:nvPr>
        </p:nvSpPr>
        <p:spPr bwMode="auto">
          <a:xfrm>
            <a:off x="7556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25"/>
            </p:custDataLst>
          </p:nvPr>
        </p:nvSpPr>
        <p:spPr bwMode="auto">
          <a:xfrm>
            <a:off x="7731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26"/>
            </p:custDataLst>
          </p:nvPr>
        </p:nvSpPr>
        <p:spPr bwMode="auto">
          <a:xfrm>
            <a:off x="7904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1" name="Text Placeholder 12"/>
          <p:cNvSpPr>
            <a:spLocks noGrp="1"/>
          </p:cNvSpPr>
          <p:nvPr>
            <p:custDataLst>
              <p:tags r:id="rId27"/>
            </p:custDataLst>
          </p:nvPr>
        </p:nvSpPr>
        <p:spPr bwMode="gray">
          <a:xfrm>
            <a:off x="8002588" y="35004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EB03425-C45E-4080-A7E2-9FB7BBCDBAA8}" type="datetime'''2''''9''''''''.''''''1'''''''''">
              <a:rPr lang="en-US" altLang="en-US" sz="1000" b="0" smtClean="0">
                <a:solidFill>
                  <a:srgbClr val="000000"/>
                </a:solidFill>
                <a:effectLst/>
              </a:rPr>
              <a:pPr/>
              <a:t>29.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0" name="Text Placeholder 12"/>
          <p:cNvSpPr>
            <a:spLocks noGrp="1"/>
          </p:cNvSpPr>
          <p:nvPr>
            <p:custDataLst>
              <p:tags r:id="rId28"/>
            </p:custDataLst>
          </p:nvPr>
        </p:nvSpPr>
        <p:spPr bwMode="auto">
          <a:xfrm>
            <a:off x="8078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29"/>
            </p:custDataLst>
          </p:nvPr>
        </p:nvSpPr>
        <p:spPr bwMode="auto">
          <a:xfrm>
            <a:off x="8251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30"/>
            </p:custDataLst>
          </p:nvPr>
        </p:nvSpPr>
        <p:spPr bwMode="auto">
          <a:xfrm>
            <a:off x="8426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31"/>
            </p:custDataLst>
          </p:nvPr>
        </p:nvSpPr>
        <p:spPr bwMode="auto">
          <a:xfrm>
            <a:off x="5992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32"/>
            </p:custDataLst>
          </p:nvPr>
        </p:nvSpPr>
        <p:spPr bwMode="auto">
          <a:xfrm>
            <a:off x="877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6" name="テキスト プレースホルダ 9">
            <a:extLst>
              <a:ext uri="{FF2B5EF4-FFF2-40B4-BE49-F238E27FC236}">
                <a16:creationId xmlns:a16="http://schemas.microsoft.com/office/drawing/2014/main" id="{94C7104F-ECFF-4773-9D27-F2F9031EA3C0}"/>
              </a:ext>
            </a:extLst>
          </p:cNvPr>
          <p:cNvSpPr>
            <a:spLocks noGrp="1"/>
          </p:cNvSpPr>
          <p:nvPr>
            <p:custDataLst>
              <p:tags r:id="rId33"/>
            </p:custDataLst>
          </p:nvPr>
        </p:nvSpPr>
        <p:spPr bwMode="gray">
          <a:xfrm>
            <a:off x="8870950" y="34734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FD2A2C-2238-4C9E-9078-783D172AC160}" type="datetime'''''''''''2''''''''''''''''''''''''''9''''''.''''''''''''4'''">
              <a:rPr lang="en-US" altLang="en-US" sz="1000" smtClean="0">
                <a:effectLst/>
              </a:rPr>
              <a:pPr/>
              <a:t>29.4</a:t>
            </a:fld>
            <a:endParaRPr lang="ja-JP" altLang="en-US" sz="1000" dirty="0">
              <a:sym typeface="+mn-lt"/>
            </a:endParaRPr>
          </a:p>
        </p:txBody>
      </p:sp>
      <p:sp>
        <p:nvSpPr>
          <p:cNvPr id="139" name="Text Placeholder 12"/>
          <p:cNvSpPr>
            <a:spLocks noGrp="1"/>
          </p:cNvSpPr>
          <p:nvPr>
            <p:custDataLst>
              <p:tags r:id="rId34"/>
            </p:custDataLst>
          </p:nvPr>
        </p:nvSpPr>
        <p:spPr bwMode="auto">
          <a:xfrm>
            <a:off x="8947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7" name="テキスト プレースホルダ 9">
            <a:extLst>
              <a:ext uri="{FF2B5EF4-FFF2-40B4-BE49-F238E27FC236}">
                <a16:creationId xmlns:a16="http://schemas.microsoft.com/office/drawing/2014/main" id="{8A849BFD-9237-4095-91DD-5B086DBBEA9D}"/>
              </a:ext>
            </a:extLst>
          </p:cNvPr>
          <p:cNvSpPr>
            <a:spLocks noGrp="1"/>
          </p:cNvSpPr>
          <p:nvPr>
            <p:custDataLst>
              <p:tags r:id="rId35"/>
            </p:custDataLst>
          </p:nvPr>
        </p:nvSpPr>
        <p:spPr bwMode="gray">
          <a:xfrm>
            <a:off x="9045575" y="336867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1646F6-40D4-401B-AB4B-D1287BC1E2A1}" type="datetime'3''5''''''''''''''''''''''.''''''''1'''''">
              <a:rPr lang="en-US" altLang="en-US" sz="1000" smtClean="0">
                <a:effectLst/>
              </a:rPr>
              <a:pPr/>
              <a:t>35.1</a:t>
            </a:fld>
            <a:endParaRPr lang="ja-JP" altLang="en-US" sz="1000" dirty="0">
              <a:sym typeface="+mn-lt"/>
            </a:endParaRPr>
          </a:p>
        </p:txBody>
      </p:sp>
      <p:sp>
        <p:nvSpPr>
          <p:cNvPr id="140" name="Text Placeholder 12"/>
          <p:cNvSpPr>
            <a:spLocks noGrp="1"/>
          </p:cNvSpPr>
          <p:nvPr>
            <p:custDataLst>
              <p:tags r:id="rId36"/>
            </p:custDataLst>
          </p:nvPr>
        </p:nvSpPr>
        <p:spPr bwMode="auto">
          <a:xfrm>
            <a:off x="9121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 name="Text Placeholder 12">
            <a:extLst>
              <a:ext uri="{FF2B5EF4-FFF2-40B4-BE49-F238E27FC236}">
                <a16:creationId xmlns:a16="http://schemas.microsoft.com/office/drawing/2014/main" id="{E92F2FF4-1A64-3D26-AF26-3F00D4C8A1FB}"/>
              </a:ext>
            </a:extLst>
          </p:cNvPr>
          <p:cNvSpPr>
            <a:spLocks noGrp="1"/>
          </p:cNvSpPr>
          <p:nvPr>
            <p:custDataLst>
              <p:tags r:id="rId37"/>
            </p:custDataLst>
          </p:nvPr>
        </p:nvSpPr>
        <p:spPr bwMode="auto">
          <a:xfrm>
            <a:off x="9294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0997F7BB-440C-482F-A240-20A8B7941848}" type="datetime'''''''''2''''''''''''''''''''''''''''''''''''3'''''">
              <a:rPr kumimoji="0" lang="en-US" altLang="en-US" sz="800" b="0" smtClean="0">
                <a:solidFill>
                  <a:srgbClr val="000000"/>
                </a:solidFill>
              </a:rPr>
              <a:pPr lvl="0" algn="ctr">
                <a:spcBef>
                  <a:spcPct val="0"/>
                </a:spcBef>
                <a:spcAft>
                  <a:spcPct val="0"/>
                </a:spcAft>
                <a:defRPr/>
              </a:pPr>
              <a:t>23</a:t>
            </a:fld>
            <a:endParaRPr kumimoji="0" lang="ja-JP" altLang="en-US" sz="800" b="0" i="0" strike="noStrike" kern="1200" cap="none" spc="0" normalizeH="0" baseline="0" noProof="0" dirty="0">
              <a:ln>
                <a:noFill/>
              </a:ln>
              <a:solidFill>
                <a:srgbClr val="000000"/>
              </a:solidFill>
              <a:effectLst/>
              <a:uLnTx/>
              <a:uFillTx/>
              <a:sym typeface="+mn-lt"/>
            </a:endParaRPr>
          </a:p>
        </p:txBody>
      </p:sp>
      <p:sp>
        <p:nvSpPr>
          <p:cNvPr id="113" name="Text Placeholder 12"/>
          <p:cNvSpPr>
            <a:spLocks noGrp="1"/>
          </p:cNvSpPr>
          <p:nvPr>
            <p:custDataLst>
              <p:tags r:id="rId38"/>
            </p:custDataLst>
          </p:nvPr>
        </p:nvSpPr>
        <p:spPr bwMode="auto">
          <a:xfrm>
            <a:off x="8599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p:cNvSpPr>
            <a:spLocks noGrp="1"/>
          </p:cNvSpPr>
          <p:nvPr>
            <p:custDataLst>
              <p:tags r:id="rId39"/>
            </p:custDataLst>
          </p:nvPr>
        </p:nvSpPr>
        <p:spPr bwMode="auto">
          <a:xfrm>
            <a:off x="4987925" y="2162175"/>
            <a:ext cx="549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dirty="0">
                <a:solidFill>
                  <a:srgbClr val="000000"/>
                </a:solidFill>
                <a:latin typeface="Arial"/>
                <a:ea typeface="ＭＳ Ｐゴシック"/>
                <a:sym typeface="+mn-lt"/>
              </a:rPr>
              <a:t>SAR</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07" name="Text Placeholder 12"/>
          <p:cNvSpPr>
            <a:spLocks noGrp="1"/>
          </p:cNvSpPr>
          <p:nvPr>
            <p:custDataLst>
              <p:tags r:id="rId40"/>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p:cNvSpPr>
            <a:spLocks noGrp="1"/>
          </p:cNvSpPr>
          <p:nvPr>
            <p:custDataLst>
              <p:tags r:id="rId41"/>
            </p:custDataLst>
          </p:nvPr>
        </p:nvSpPr>
        <p:spPr bwMode="gray">
          <a:xfrm>
            <a:off x="5394325" y="3563938"/>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62B9FDE-AB48-4A58-8BD6-94937C30E902}" type="datetime'''3''''''2''''''''''''''''''.6'''''''''''''''''''''''''">
              <a:rPr lang="en-US" altLang="en-US" sz="1000" smtClean="0">
                <a:solidFill>
                  <a:srgbClr val="000000"/>
                </a:solidFill>
                <a:effectLst/>
              </a:rPr>
              <a:pPr/>
              <a:t>32.6</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6" name="Text Placeholder 12"/>
          <p:cNvSpPr>
            <a:spLocks noGrp="1"/>
          </p:cNvSpPr>
          <p:nvPr>
            <p:custDataLst>
              <p:tags r:id="rId42"/>
            </p:custDataLst>
          </p:nvPr>
        </p:nvSpPr>
        <p:spPr bwMode="auto">
          <a:xfrm>
            <a:off x="54705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43"/>
            </p:custDataLst>
          </p:nvPr>
        </p:nvSpPr>
        <p:spPr bwMode="auto">
          <a:xfrm>
            <a:off x="5645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6" name="テキスト プレースホルダ 9">
            <a:extLst>
              <a:ext uri="{FF2B5EF4-FFF2-40B4-BE49-F238E27FC236}">
                <a16:creationId xmlns:a16="http://schemas.microsoft.com/office/drawing/2014/main" id="{CC211FCE-1AC9-4B76-B005-BCF9A4C0DC97}"/>
              </a:ext>
            </a:extLst>
          </p:cNvPr>
          <p:cNvSpPr>
            <a:spLocks noGrp="1"/>
          </p:cNvSpPr>
          <p:nvPr>
            <p:custDataLst>
              <p:tags r:id="rId44"/>
            </p:custDataLst>
          </p:nvPr>
        </p:nvSpPr>
        <p:spPr bwMode="gray">
          <a:xfrm>
            <a:off x="5741988" y="33591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FA9959-D651-40A7-94A1-972210568519}" type="datetime'''''3''''0''''''''''''''''.9'''''''">
              <a:rPr lang="en-US" altLang="en-US" sz="1000" smtClean="0">
                <a:effectLst/>
              </a:rPr>
              <a:pPr/>
              <a:t>30.9</a:t>
            </a:fld>
            <a:endParaRPr lang="ja-JP" altLang="en-US" sz="1000" dirty="0">
              <a:sym typeface="+mn-lt"/>
            </a:endParaRPr>
          </a:p>
        </p:txBody>
      </p:sp>
      <p:sp>
        <p:nvSpPr>
          <p:cNvPr id="118" name="Text Placeholder 12"/>
          <p:cNvSpPr>
            <a:spLocks noGrp="1"/>
          </p:cNvSpPr>
          <p:nvPr>
            <p:custDataLst>
              <p:tags r:id="rId45"/>
            </p:custDataLst>
          </p:nvPr>
        </p:nvSpPr>
        <p:spPr bwMode="auto">
          <a:xfrm>
            <a:off x="5818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46"/>
            </p:custDataLst>
          </p:nvPr>
        </p:nvSpPr>
        <p:spPr bwMode="auto">
          <a:xfrm>
            <a:off x="61658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47"/>
            </p:custDataLst>
          </p:nvPr>
        </p:nvSpPr>
        <p:spPr bwMode="auto">
          <a:xfrm>
            <a:off x="6340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2" name="テキスト プレースホルダ 9">
            <a:extLst>
              <a:ext uri="{FF2B5EF4-FFF2-40B4-BE49-F238E27FC236}">
                <a16:creationId xmlns:a16="http://schemas.microsoft.com/office/drawing/2014/main" id="{1EA846C0-DF0D-4E09-95B2-F3DE1DDDA636}"/>
              </a:ext>
            </a:extLst>
          </p:cNvPr>
          <p:cNvSpPr>
            <a:spLocks noGrp="1"/>
          </p:cNvSpPr>
          <p:nvPr>
            <p:custDataLst>
              <p:tags r:id="rId48"/>
            </p:custDataLst>
          </p:nvPr>
        </p:nvSpPr>
        <p:spPr bwMode="gray">
          <a:xfrm>
            <a:off x="6437313" y="366712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AB2CAC-2983-4765-A6C2-D7B426019570}" type="datetime'''3''''''''''''''''''''''''''''''''''''1''''''''''''''''.3'''">
              <a:rPr lang="en-US" altLang="en-US" sz="1000" smtClean="0">
                <a:effectLst/>
              </a:rPr>
              <a:pPr/>
              <a:t>31.3</a:t>
            </a:fld>
            <a:endParaRPr lang="ja-JP" altLang="en-US" sz="1000" dirty="0">
              <a:sym typeface="+mn-lt"/>
            </a:endParaRPr>
          </a:p>
        </p:txBody>
      </p:sp>
      <p:sp>
        <p:nvSpPr>
          <p:cNvPr id="122" name="Text Placeholder 12"/>
          <p:cNvSpPr>
            <a:spLocks noGrp="1"/>
          </p:cNvSpPr>
          <p:nvPr>
            <p:custDataLst>
              <p:tags r:id="rId49"/>
            </p:custDataLst>
          </p:nvPr>
        </p:nvSpPr>
        <p:spPr bwMode="auto">
          <a:xfrm>
            <a:off x="65135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3" name="テキスト プレースホルダ 9">
            <a:extLst>
              <a:ext uri="{FF2B5EF4-FFF2-40B4-BE49-F238E27FC236}">
                <a16:creationId xmlns:a16="http://schemas.microsoft.com/office/drawing/2014/main" id="{5F0225F1-E934-4072-B463-D97CBDAD5FE4}"/>
              </a:ext>
            </a:extLst>
          </p:cNvPr>
          <p:cNvSpPr>
            <a:spLocks noGrp="1"/>
          </p:cNvSpPr>
          <p:nvPr>
            <p:custDataLst>
              <p:tags r:id="rId50"/>
            </p:custDataLst>
          </p:nvPr>
        </p:nvSpPr>
        <p:spPr bwMode="gray">
          <a:xfrm>
            <a:off x="6611938" y="363378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2730C3-ECDC-4907-80DE-BB121736625A}" type="datetime'''''''''''''''''''''''''''''''27''''''''''''''''''.''''''4'''">
              <a:rPr lang="en-US" altLang="en-US" sz="1000" smtClean="0">
                <a:effectLst/>
              </a:rPr>
              <a:pPr/>
              <a:t>27.4</a:t>
            </a:fld>
            <a:endParaRPr lang="ja-JP" altLang="en-US" sz="1000" dirty="0">
              <a:sym typeface="+mn-lt"/>
            </a:endParaRPr>
          </a:p>
        </p:txBody>
      </p:sp>
      <p:sp useBgFill="1">
        <p:nvSpPr>
          <p:cNvPr id="130" name="Text Placeholder 12"/>
          <p:cNvSpPr>
            <a:spLocks noGrp="1"/>
          </p:cNvSpPr>
          <p:nvPr>
            <p:custDataLst>
              <p:tags r:id="rId51"/>
            </p:custDataLst>
          </p:nvPr>
        </p:nvSpPr>
        <p:spPr bwMode="gray">
          <a:xfrm>
            <a:off x="7654925" y="3552825"/>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045EE8B-30AF-42DF-A440-7A91EB06D5C6}" type="datetime'''2''8''''''''''''''''''''''''''''''''''''''''''''''''.4'">
              <a:rPr lang="en-US" altLang="en-US" sz="1000" b="0" smtClean="0">
                <a:solidFill>
                  <a:srgbClr val="000000"/>
                </a:solidFill>
                <a:effectLst/>
              </a:rPr>
              <a:pPr/>
              <a:t>28.4</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3" name="Text Placeholder 12"/>
          <p:cNvSpPr>
            <a:spLocks noGrp="1"/>
          </p:cNvSpPr>
          <p:nvPr>
            <p:custDataLst>
              <p:tags r:id="rId52"/>
            </p:custDataLst>
          </p:nvPr>
        </p:nvSpPr>
        <p:spPr bwMode="auto">
          <a:xfrm>
            <a:off x="668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53"/>
            </p:custDataLst>
          </p:nvPr>
        </p:nvSpPr>
        <p:spPr bwMode="auto">
          <a:xfrm>
            <a:off x="6861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a:extLst>
              <a:ext uri="{FF2B5EF4-FFF2-40B4-BE49-F238E27FC236}">
                <a16:creationId xmlns:a16="http://schemas.microsoft.com/office/drawing/2014/main" id="{400A1354-52CB-8CB5-AFC9-592095022055}"/>
              </a:ext>
            </a:extLst>
          </p:cNvPr>
          <p:cNvSpPr>
            <a:spLocks noGrp="1"/>
          </p:cNvSpPr>
          <p:nvPr>
            <p:custDataLst>
              <p:tags r:id="rId54"/>
            </p:custDataLst>
          </p:nvPr>
        </p:nvSpPr>
        <p:spPr bwMode="auto">
          <a:xfrm>
            <a:off x="9469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1E405B5A-6545-4E2A-BC45-7DEA2B5084D0}" type="datetime'''''''''''''''''''''''''''''''''''''''''''2''''''''4'''''''''">
              <a:rPr kumimoji="0" lang="en-IN" altLang="en-US" sz="800" b="0" smtClean="0">
                <a:solidFill>
                  <a:srgbClr val="000000"/>
                </a:solidFill>
              </a:rPr>
              <a:pPr/>
              <a:t>24</a:t>
            </a:fld>
            <a:endParaRPr kumimoji="0" lang="ja-JP" altLang="en-US" sz="800" b="0" i="0" strike="noStrike" kern="1200" cap="none" spc="0" normalizeH="0" baseline="0" noProof="0" dirty="0">
              <a:ln>
                <a:noFill/>
              </a:ln>
              <a:solidFill>
                <a:srgbClr val="000000"/>
              </a:solidFill>
              <a:effectLst/>
              <a:uLnTx/>
              <a:uFillTx/>
              <a:sym typeface="+mn-lt"/>
            </a:endParaRPr>
          </a:p>
        </p:txBody>
      </p:sp>
      <p:sp useBgFill="1">
        <p:nvSpPr>
          <p:cNvPr id="53" name="テキスト プレースホルダ 9">
            <a:extLst>
              <a:ext uri="{FF2B5EF4-FFF2-40B4-BE49-F238E27FC236}">
                <a16:creationId xmlns:a16="http://schemas.microsoft.com/office/drawing/2014/main" id="{1CD8723D-340F-B56F-DEA5-8F5DF0C292ED}"/>
              </a:ext>
            </a:extLst>
          </p:cNvPr>
          <p:cNvSpPr>
            <a:spLocks/>
          </p:cNvSpPr>
          <p:nvPr>
            <p:custDataLst>
              <p:tags r:id="rId55"/>
            </p:custDataLst>
          </p:nvPr>
        </p:nvSpPr>
        <p:spPr bwMode="gray">
          <a:xfrm>
            <a:off x="9393238" y="28321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8BF82F-0A27-47EF-A548-81AF4AA3465A}" type="datetime'''''''''4''''''1''''''''''''''''.''''''''''''9'''''''''''''">
              <a:rPr lang="en-US" altLang="en-US" sz="1000" smtClean="0">
                <a:effectLst/>
                <a:sym typeface="+mn-lt"/>
              </a:rPr>
              <a:pPr marL="0" lvl="0" indent="0" algn="ctr">
                <a:spcBef>
                  <a:spcPct val="0"/>
                </a:spcBef>
                <a:buNone/>
              </a:pPr>
              <a:t>41.9</a:t>
            </a:fld>
            <a:endParaRPr kumimoji="1" lang="en-US" altLang="ja-JP" sz="1000" dirty="0">
              <a:sym typeface="+mn-lt"/>
            </a:endParaRPr>
          </a:p>
        </p:txBody>
      </p:sp>
      <p:sp>
        <p:nvSpPr>
          <p:cNvPr id="125" name="Text Placeholder 12"/>
          <p:cNvSpPr>
            <a:spLocks noGrp="1"/>
          </p:cNvSpPr>
          <p:nvPr>
            <p:custDataLst>
              <p:tags r:id="rId56"/>
            </p:custDataLst>
          </p:nvPr>
        </p:nvSpPr>
        <p:spPr bwMode="auto">
          <a:xfrm>
            <a:off x="70358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6" name="Text Placeholder 12">
            <a:extLst>
              <a:ext uri="{FF2B5EF4-FFF2-40B4-BE49-F238E27FC236}">
                <a16:creationId xmlns:a16="http://schemas.microsoft.com/office/drawing/2014/main" id="{D5AA884B-639F-967C-E836-E668C3A906F9}"/>
              </a:ext>
            </a:extLst>
          </p:cNvPr>
          <p:cNvSpPr>
            <a:spLocks noGrp="1"/>
          </p:cNvSpPr>
          <p:nvPr>
            <p:custDataLst>
              <p:tags r:id="rId57"/>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84162760-587F-437D-9507-591E4F6DE21B}" type="datetime'''2''''''''''''''''''''''''''''''''''''''''''5'''''''''''''''">
              <a:rPr kumimoji="0" lang="en-US" altLang="en-US" sz="800" b="0" smtClean="0">
                <a:solidFill>
                  <a:srgbClr val="000000"/>
                </a:solidFill>
              </a:rPr>
              <a:pPr/>
              <a:t>25</a:t>
            </a:fld>
            <a:endParaRPr kumimoji="0" lang="ja-JP" altLang="en-US" sz="800" b="0" i="0" strike="noStrike" kern="1200" cap="none" spc="0" normalizeH="0" baseline="0" noProof="0" dirty="0">
              <a:ln>
                <a:noFill/>
              </a:ln>
              <a:solidFill>
                <a:srgbClr val="000000"/>
              </a:solidFill>
              <a:effectLst/>
              <a:uLnTx/>
              <a:uFillTx/>
              <a:sym typeface="+mn-lt"/>
            </a:endParaRPr>
          </a:p>
        </p:txBody>
      </p:sp>
      <p:sp>
        <p:nvSpPr>
          <p:cNvPr id="126" name="Text Placeholder 12"/>
          <p:cNvSpPr>
            <a:spLocks noGrp="1"/>
          </p:cNvSpPr>
          <p:nvPr>
            <p:custDataLst>
              <p:tags r:id="rId58"/>
            </p:custDataLst>
          </p:nvPr>
        </p:nvSpPr>
        <p:spPr bwMode="auto">
          <a:xfrm>
            <a:off x="7208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72" name="Chart 71">
            <a:extLst>
              <a:ext uri="{FF2B5EF4-FFF2-40B4-BE49-F238E27FC236}">
                <a16:creationId xmlns:a16="http://schemas.microsoft.com/office/drawing/2014/main" id="{B0B1B9B4-E826-7E82-0890-DC9631A6E404}"/>
              </a:ext>
            </a:extLst>
          </p:cNvPr>
          <p:cNvGraphicFramePr/>
          <p:nvPr>
            <p:custDataLst>
              <p:tags r:id="rId59"/>
            </p:custDataLst>
            <p:extLst>
              <p:ext uri="{D42A27DB-BD31-4B8C-83A1-F6EECF244321}">
                <p14:modId xmlns:p14="http://schemas.microsoft.com/office/powerpoint/2010/main" val="250376447"/>
              </p:ext>
            </p:extLst>
          </p:nvPr>
        </p:nvGraphicFramePr>
        <p:xfrm>
          <a:off x="44450" y="2266950"/>
          <a:ext cx="4881563" cy="4002088"/>
        </p:xfrm>
        <a:graphic>
          <a:graphicData uri="http://schemas.openxmlformats.org/drawingml/2006/chart">
            <c:chart xmlns:c="http://schemas.openxmlformats.org/drawingml/2006/chart" xmlns:r="http://schemas.openxmlformats.org/officeDocument/2006/relationships" r:id="rId113"/>
          </a:graphicData>
        </a:graphic>
      </p:graphicFrame>
      <p:cxnSp>
        <p:nvCxnSpPr>
          <p:cNvPr id="58" name="Straight Connector 57">
            <a:extLst>
              <a:ext uri="{FF2B5EF4-FFF2-40B4-BE49-F238E27FC236}">
                <a16:creationId xmlns:a16="http://schemas.microsoft.com/office/drawing/2014/main" id="{E469376D-D9E5-0522-8C36-AE2EF6F1553B}"/>
              </a:ext>
            </a:extLst>
          </p:cNvPr>
          <p:cNvCxnSpPr/>
          <p:nvPr>
            <p:custDataLst>
              <p:tags r:id="rId60"/>
            </p:custDataLst>
          </p:nvPr>
        </p:nvCxnSpPr>
        <p:spPr bwMode="auto">
          <a:xfrm>
            <a:off x="828675" y="4848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5234BB-6325-6DDD-18DE-EEA86EF24707}"/>
              </a:ext>
            </a:extLst>
          </p:cNvPr>
          <p:cNvCxnSpPr/>
          <p:nvPr>
            <p:custDataLst>
              <p:tags r:id="rId61"/>
            </p:custDataLst>
          </p:nvPr>
        </p:nvCxnSpPr>
        <p:spPr bwMode="auto">
          <a:xfrm>
            <a:off x="2166938" y="3568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66E3088B-749B-7BEF-F6D4-1F10C0EED277}"/>
              </a:ext>
            </a:extLst>
          </p:cNvPr>
          <p:cNvCxnSpPr>
            <a:cxnSpLocks/>
          </p:cNvCxnSpPr>
          <p:nvPr>
            <p:custDataLst>
              <p:tags r:id="rId62"/>
            </p:custDataLst>
          </p:nvPr>
        </p:nvCxnSpPr>
        <p:spPr bwMode="auto">
          <a:xfrm flipV="1">
            <a:off x="485775" y="5407025"/>
            <a:ext cx="1588"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DC8B73D7-D139-F207-F9E8-9A23648BBB37}"/>
              </a:ext>
            </a:extLst>
          </p:cNvPr>
          <p:cNvCxnSpPr>
            <a:cxnSpLocks/>
          </p:cNvCxnSpPr>
          <p:nvPr>
            <p:custDataLst>
              <p:tags r:id="rId63"/>
            </p:custDataLst>
          </p:nvPr>
        </p:nvCxnSpPr>
        <p:spPr bwMode="auto">
          <a:xfrm flipV="1">
            <a:off x="2295525" y="3729038"/>
            <a:ext cx="4763" cy="111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8C0C4CA2-F80C-C168-DB4F-7E5E865C91A2}"/>
              </a:ext>
            </a:extLst>
          </p:cNvPr>
          <p:cNvCxnSpPr/>
          <p:nvPr>
            <p:custDataLst>
              <p:tags r:id="rId64"/>
            </p:custDataLst>
          </p:nvPr>
        </p:nvCxnSpPr>
        <p:spPr bwMode="auto">
          <a:xfrm>
            <a:off x="1163638" y="4776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17FFD30-031E-2F75-2BBB-6BEA724042B9}"/>
              </a:ext>
            </a:extLst>
          </p:cNvPr>
          <p:cNvCxnSpPr/>
          <p:nvPr>
            <p:custDataLst>
              <p:tags r:id="rId65"/>
            </p:custDataLst>
          </p:nvPr>
        </p:nvCxnSpPr>
        <p:spPr bwMode="auto">
          <a:xfrm>
            <a:off x="660400" y="5273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1F1D18F0-8E29-9868-63E8-9890C1677638}"/>
              </a:ext>
            </a:extLst>
          </p:cNvPr>
          <p:cNvCxnSpPr/>
          <p:nvPr>
            <p:custDataLst>
              <p:tags r:id="rId66"/>
            </p:custDataLst>
          </p:nvPr>
        </p:nvCxnSpPr>
        <p:spPr bwMode="auto">
          <a:xfrm>
            <a:off x="4341813" y="4067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0A51CFF-181E-91AF-FF4F-76E1A8A6799D}"/>
              </a:ext>
            </a:extLst>
          </p:cNvPr>
          <p:cNvCxnSpPr/>
          <p:nvPr>
            <p:custDataLst>
              <p:tags r:id="rId67"/>
            </p:custDataLst>
          </p:nvPr>
        </p:nvCxnSpPr>
        <p:spPr bwMode="auto">
          <a:xfrm>
            <a:off x="2501900" y="38528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7F7FEB90-1464-1291-A57D-B814BC73E208}"/>
              </a:ext>
            </a:extLst>
          </p:cNvPr>
          <p:cNvCxnSpPr/>
          <p:nvPr>
            <p:custDataLst>
              <p:tags r:id="rId68"/>
            </p:custDataLst>
          </p:nvPr>
        </p:nvCxnSpPr>
        <p:spPr bwMode="auto">
          <a:xfrm>
            <a:off x="3003550" y="4457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 name="テキスト プレースホルダ 9">
            <a:extLst>
              <a:ext uri="{FF2B5EF4-FFF2-40B4-BE49-F238E27FC236}">
                <a16:creationId xmlns:a16="http://schemas.microsoft.com/office/drawing/2014/main" id="{2BFB90AC-BF65-0DDE-669D-18D0FCA71BDE}"/>
              </a:ext>
            </a:extLst>
          </p:cNvPr>
          <p:cNvSpPr>
            <a:spLocks noGrp="1"/>
          </p:cNvSpPr>
          <p:nvPr>
            <p:custDataLst>
              <p:tags r:id="rId69"/>
            </p:custDataLst>
          </p:nvPr>
        </p:nvSpPr>
        <p:spPr bwMode="gray">
          <a:xfrm>
            <a:off x="534988" y="51212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5DAF417-644E-4934-B4E3-451F4FAB2238}" type="datetime'''-''1''''''''''''''''.''''''''''''''''''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テキスト プレースホルダ 9">
            <a:extLst>
              <a:ext uri="{FF2B5EF4-FFF2-40B4-BE49-F238E27FC236}">
                <a16:creationId xmlns:a16="http://schemas.microsoft.com/office/drawing/2014/main" id="{DF991E92-9B15-C82C-4BEC-FBB53524D823}"/>
              </a:ext>
            </a:extLst>
          </p:cNvPr>
          <p:cNvSpPr>
            <a:spLocks/>
          </p:cNvSpPr>
          <p:nvPr>
            <p:custDataLst>
              <p:tags r:id="rId70"/>
            </p:custDataLst>
          </p:nvPr>
        </p:nvSpPr>
        <p:spPr bwMode="auto">
          <a:xfrm>
            <a:off x="7524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539093-0AC4-4109-ACB5-452272450E8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1CDD3D4B-75E1-893D-FCF6-4441F81C99DD}"/>
              </a:ext>
            </a:extLst>
          </p:cNvPr>
          <p:cNvSpPr>
            <a:spLocks/>
          </p:cNvSpPr>
          <p:nvPr>
            <p:custDataLst>
              <p:tags r:id="rId71"/>
            </p:custDataLst>
          </p:nvPr>
        </p:nvSpPr>
        <p:spPr bwMode="auto">
          <a:xfrm>
            <a:off x="9191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7623EE-E49E-458E-AB18-60CBA46D1058}"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6D6FAADF-2438-8B58-8605-6516A393EFE5}"/>
              </a:ext>
            </a:extLst>
          </p:cNvPr>
          <p:cNvSpPr>
            <a:spLocks/>
          </p:cNvSpPr>
          <p:nvPr>
            <p:custDataLst>
              <p:tags r:id="rId72"/>
            </p:custDataLst>
          </p:nvPr>
        </p:nvSpPr>
        <p:spPr bwMode="auto">
          <a:xfrm>
            <a:off x="1087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B561FF-960E-47C3-B1D2-FB642A270A43}"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useBgFill="1">
        <p:nvSpPr>
          <p:cNvPr id="16" name="Text Placeholder 12">
            <a:extLst>
              <a:ext uri="{FF2B5EF4-FFF2-40B4-BE49-F238E27FC236}">
                <a16:creationId xmlns:a16="http://schemas.microsoft.com/office/drawing/2014/main" id="{6DE30F68-6C4F-0C21-5A4C-6397FCA740F5}"/>
              </a:ext>
            </a:extLst>
          </p:cNvPr>
          <p:cNvSpPr>
            <a:spLocks noGrp="1"/>
          </p:cNvSpPr>
          <p:nvPr>
            <p:custDataLst>
              <p:tags r:id="rId73"/>
            </p:custDataLst>
          </p:nvPr>
        </p:nvSpPr>
        <p:spPr bwMode="gray">
          <a:xfrm>
            <a:off x="1225550" y="45180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BBD1CE-FA5E-4819-8369-922BAB057C4C}" type="datetime'''''''''''''''0''''''''''''''''''''''''''.''''6'''">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テキスト プレースホルダ 9">
            <a:extLst>
              <a:ext uri="{FF2B5EF4-FFF2-40B4-BE49-F238E27FC236}">
                <a16:creationId xmlns:a16="http://schemas.microsoft.com/office/drawing/2014/main" id="{A3C2556A-40BB-FC7A-209C-D22AD6931C52}"/>
              </a:ext>
            </a:extLst>
          </p:cNvPr>
          <p:cNvSpPr>
            <a:spLocks/>
          </p:cNvSpPr>
          <p:nvPr>
            <p:custDataLst>
              <p:tags r:id="rId74"/>
            </p:custDataLst>
          </p:nvPr>
        </p:nvSpPr>
        <p:spPr bwMode="auto">
          <a:xfrm>
            <a:off x="1254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A2BA2F-7179-4921-AEF5-ED195CB67A6F}"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18" name="Text Placeholder 12">
            <a:extLst>
              <a:ext uri="{FF2B5EF4-FFF2-40B4-BE49-F238E27FC236}">
                <a16:creationId xmlns:a16="http://schemas.microsoft.com/office/drawing/2014/main" id="{1024D8C2-CCF8-1B55-9D58-295D6C881338}"/>
              </a:ext>
            </a:extLst>
          </p:cNvPr>
          <p:cNvSpPr>
            <a:spLocks noGrp="1"/>
          </p:cNvSpPr>
          <p:nvPr>
            <p:custDataLst>
              <p:tags r:id="rId75"/>
            </p:custDataLst>
          </p:nvPr>
        </p:nvSpPr>
        <p:spPr bwMode="gray">
          <a:xfrm>
            <a:off x="1392238" y="40560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65E77A-98EF-4091-B1C1-480A6115E141}"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テキスト プレースホルダ 9">
            <a:extLst>
              <a:ext uri="{FF2B5EF4-FFF2-40B4-BE49-F238E27FC236}">
                <a16:creationId xmlns:a16="http://schemas.microsoft.com/office/drawing/2014/main" id="{59D29DA0-1EF3-6096-3562-F3EDB4188349}"/>
              </a:ext>
            </a:extLst>
          </p:cNvPr>
          <p:cNvSpPr>
            <a:spLocks/>
          </p:cNvSpPr>
          <p:nvPr>
            <p:custDataLst>
              <p:tags r:id="rId76"/>
            </p:custDataLst>
          </p:nvPr>
        </p:nvSpPr>
        <p:spPr bwMode="auto">
          <a:xfrm>
            <a:off x="1420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7CF248-391C-44D5-9582-B809A593608E}"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21" name="Text Placeholder 12">
            <a:extLst>
              <a:ext uri="{FF2B5EF4-FFF2-40B4-BE49-F238E27FC236}">
                <a16:creationId xmlns:a16="http://schemas.microsoft.com/office/drawing/2014/main" id="{D2A3BA48-F72D-DF8B-36D4-9D5E55118F47}"/>
              </a:ext>
            </a:extLst>
          </p:cNvPr>
          <p:cNvSpPr>
            <a:spLocks noGrp="1"/>
          </p:cNvSpPr>
          <p:nvPr>
            <p:custDataLst>
              <p:tags r:id="rId77"/>
            </p:custDataLst>
          </p:nvPr>
        </p:nvSpPr>
        <p:spPr bwMode="gray">
          <a:xfrm>
            <a:off x="1560513" y="29559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4F0D42-09F9-4439-A7E0-D2712848EF26}" type="datetime'''''''''''''''''''''''''''''''''''''''''5''''''''.''0'">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1" name="テキスト プレースホルダ 9">
            <a:extLst>
              <a:ext uri="{FF2B5EF4-FFF2-40B4-BE49-F238E27FC236}">
                <a16:creationId xmlns:a16="http://schemas.microsoft.com/office/drawing/2014/main" id="{B850695D-21DA-7475-F8CD-97C0BCEB885C}"/>
              </a:ext>
            </a:extLst>
          </p:cNvPr>
          <p:cNvSpPr>
            <a:spLocks/>
          </p:cNvSpPr>
          <p:nvPr>
            <p:custDataLst>
              <p:tags r:id="rId78"/>
            </p:custDataLst>
          </p:nvPr>
        </p:nvSpPr>
        <p:spPr bwMode="auto">
          <a:xfrm>
            <a:off x="15890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C7D1CB-1A0A-4C53-A156-2219D8E01113}"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731927BB-DE63-30FF-132C-F05C18280FEB}"/>
              </a:ext>
            </a:extLst>
          </p:cNvPr>
          <p:cNvSpPr>
            <a:spLocks/>
          </p:cNvSpPr>
          <p:nvPr>
            <p:custDataLst>
              <p:tags r:id="rId79"/>
            </p:custDataLst>
          </p:nvPr>
        </p:nvSpPr>
        <p:spPr bwMode="auto">
          <a:xfrm>
            <a:off x="1755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EA27F-5D91-43CE-9939-EE9A9F69F7F0}"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24" name="Text Placeholder 12">
            <a:extLst>
              <a:ext uri="{FF2B5EF4-FFF2-40B4-BE49-F238E27FC236}">
                <a16:creationId xmlns:a16="http://schemas.microsoft.com/office/drawing/2014/main" id="{0EABD633-DC68-C923-1593-2A1F4A57775C}"/>
              </a:ext>
            </a:extLst>
          </p:cNvPr>
          <p:cNvSpPr>
            <a:spLocks noGrp="1"/>
          </p:cNvSpPr>
          <p:nvPr>
            <p:custDataLst>
              <p:tags r:id="rId80"/>
            </p:custDataLst>
          </p:nvPr>
        </p:nvSpPr>
        <p:spPr bwMode="gray">
          <a:xfrm>
            <a:off x="1893888" y="32035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68006A-97C6-4D6C-B8C6-ACE967AA3AFE}" type="datetime'''''''''''''4''''''''''.''''''''''3'''''''''''''''''">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4.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3" name="テキスト プレースホルダ 9">
            <a:extLst>
              <a:ext uri="{FF2B5EF4-FFF2-40B4-BE49-F238E27FC236}">
                <a16:creationId xmlns:a16="http://schemas.microsoft.com/office/drawing/2014/main" id="{CF172B48-8B34-9C13-5123-D632347ACB4A}"/>
              </a:ext>
            </a:extLst>
          </p:cNvPr>
          <p:cNvSpPr>
            <a:spLocks/>
          </p:cNvSpPr>
          <p:nvPr>
            <p:custDataLst>
              <p:tags r:id="rId81"/>
            </p:custDataLst>
          </p:nvPr>
        </p:nvSpPr>
        <p:spPr bwMode="auto">
          <a:xfrm>
            <a:off x="1922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8C7DEA-F407-4E61-9D16-CA0B169A5BBF}"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AADCED06-346F-2FCB-1714-7EBE840E22B6}"/>
              </a:ext>
            </a:extLst>
          </p:cNvPr>
          <p:cNvSpPr>
            <a:spLocks/>
          </p:cNvSpPr>
          <p:nvPr>
            <p:custDataLst>
              <p:tags r:id="rId82"/>
            </p:custDataLst>
          </p:nvPr>
        </p:nvSpPr>
        <p:spPr bwMode="auto">
          <a:xfrm>
            <a:off x="20907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12314A-BD40-48B0-B243-EDDA8BF5E5C5}"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4DAE3BFE-C6C6-F6F0-7CE8-F5347EDE623C}"/>
              </a:ext>
            </a:extLst>
          </p:cNvPr>
          <p:cNvSpPr>
            <a:spLocks/>
          </p:cNvSpPr>
          <p:nvPr>
            <p:custDataLst>
              <p:tags r:id="rId83"/>
            </p:custDataLst>
          </p:nvPr>
        </p:nvSpPr>
        <p:spPr bwMode="auto">
          <a:xfrm>
            <a:off x="22574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7B36C6-6430-4FCF-9F40-2C6CA463E851}"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939E9783-F289-B271-E547-6BE2E6ADC238}"/>
              </a:ext>
            </a:extLst>
          </p:cNvPr>
          <p:cNvSpPr>
            <a:spLocks/>
          </p:cNvSpPr>
          <p:nvPr>
            <p:custDataLst>
              <p:tags r:id="rId84"/>
            </p:custDataLst>
          </p:nvPr>
        </p:nvSpPr>
        <p:spPr bwMode="auto">
          <a:xfrm>
            <a:off x="5842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BB0898-E9E2-4684-B309-34F7EB0796B4}"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75" name="Text Placeholder 12"/>
          <p:cNvSpPr>
            <a:spLocks noGrp="1"/>
          </p:cNvSpPr>
          <p:nvPr>
            <p:custDataLst>
              <p:tags r:id="rId85"/>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96" name="テキスト プレースホルダ 9">
            <a:extLst>
              <a:ext uri="{FF2B5EF4-FFF2-40B4-BE49-F238E27FC236}">
                <a16:creationId xmlns:a16="http://schemas.microsoft.com/office/drawing/2014/main" id="{895064BB-0D7A-4A38-B292-6E69A6572406}"/>
              </a:ext>
            </a:extLst>
          </p:cNvPr>
          <p:cNvSpPr>
            <a:spLocks/>
          </p:cNvSpPr>
          <p:nvPr>
            <p:custDataLst>
              <p:tags r:id="rId86"/>
            </p:custDataLst>
          </p:nvPr>
        </p:nvSpPr>
        <p:spPr bwMode="auto">
          <a:xfrm>
            <a:off x="24257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1C53D0-8FCB-4DE2-A1DB-E45C069195BC}"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6D836C9C-5C0C-67CD-4F65-73FAFAD0A2C8}"/>
              </a:ext>
            </a:extLst>
          </p:cNvPr>
          <p:cNvSpPr>
            <a:spLocks/>
          </p:cNvSpPr>
          <p:nvPr>
            <p:custDataLst>
              <p:tags r:id="rId87"/>
            </p:custDataLst>
          </p:nvPr>
        </p:nvSpPr>
        <p:spPr bwMode="auto">
          <a:xfrm>
            <a:off x="2592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63883A-E561-4A21-A599-3B5CC5B6A53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useBgFill="1">
        <p:nvSpPr>
          <p:cNvPr id="9" name="テキスト プレースホルダ 9">
            <a:extLst>
              <a:ext uri="{FF2B5EF4-FFF2-40B4-BE49-F238E27FC236}">
                <a16:creationId xmlns:a16="http://schemas.microsoft.com/office/drawing/2014/main" id="{1A315E2A-19C9-292D-71C6-0A7DB7A17977}"/>
              </a:ext>
            </a:extLst>
          </p:cNvPr>
          <p:cNvSpPr>
            <a:spLocks noGrp="1"/>
          </p:cNvSpPr>
          <p:nvPr>
            <p:custDataLst>
              <p:tags r:id="rId88"/>
            </p:custDataLst>
          </p:nvPr>
        </p:nvSpPr>
        <p:spPr bwMode="gray">
          <a:xfrm>
            <a:off x="2730500" y="3949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019B4A6-0279-44C0-85AA-011A2699820A}" type="datetime'''''''''''''2''.''''''''''''''''''''2'''''''''''''''''''''''''">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8" name="テキスト プレースホルダ 9">
            <a:extLst>
              <a:ext uri="{FF2B5EF4-FFF2-40B4-BE49-F238E27FC236}">
                <a16:creationId xmlns:a16="http://schemas.microsoft.com/office/drawing/2014/main" id="{7BFCCEB6-4409-E35B-6D7B-2320AD273358}"/>
              </a:ext>
            </a:extLst>
          </p:cNvPr>
          <p:cNvSpPr>
            <a:spLocks/>
          </p:cNvSpPr>
          <p:nvPr>
            <p:custDataLst>
              <p:tags r:id="rId89"/>
            </p:custDataLst>
          </p:nvPr>
        </p:nvSpPr>
        <p:spPr bwMode="auto">
          <a:xfrm>
            <a:off x="2759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E8ABF4-3D81-4E8A-8338-83D262216C99}"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useBgFill="1">
        <p:nvSpPr>
          <p:cNvPr id="43" name="テキスト プレースホルダ 9">
            <a:extLst>
              <a:ext uri="{FF2B5EF4-FFF2-40B4-BE49-F238E27FC236}">
                <a16:creationId xmlns:a16="http://schemas.microsoft.com/office/drawing/2014/main" id="{EC8F68D5-78A7-BDC7-E149-2CF34941691F}"/>
              </a:ext>
            </a:extLst>
          </p:cNvPr>
          <p:cNvSpPr>
            <a:spLocks noGrp="1"/>
          </p:cNvSpPr>
          <p:nvPr>
            <p:custDataLst>
              <p:tags r:id="rId90"/>
            </p:custDataLst>
          </p:nvPr>
        </p:nvSpPr>
        <p:spPr bwMode="gray">
          <a:xfrm>
            <a:off x="2898775" y="43053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68E4E2D-31FB-4F26-98C2-B4BAAE646B70}" type="datetime'''''''''1''''''''''''''.''''''''''''''''''''''''''''2'''''">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1" name="テキスト プレースホルダ 9">
            <a:extLst>
              <a:ext uri="{FF2B5EF4-FFF2-40B4-BE49-F238E27FC236}">
                <a16:creationId xmlns:a16="http://schemas.microsoft.com/office/drawing/2014/main" id="{B843272A-9E09-ABC0-D22D-E3E1F0392D2B}"/>
              </a:ext>
            </a:extLst>
          </p:cNvPr>
          <p:cNvSpPr>
            <a:spLocks noGrp="1"/>
          </p:cNvSpPr>
          <p:nvPr>
            <p:custDataLst>
              <p:tags r:id="rId91"/>
            </p:custDataLst>
          </p:nvPr>
        </p:nvSpPr>
        <p:spPr bwMode="gray">
          <a:xfrm>
            <a:off x="354013" y="5416550"/>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BD54D03-48CF-4AE1-8A76-EBB8E0221695}" type="datetime'-''''''''1''''''''.''''''0'''''''''''''''''">
              <a:rPr kumimoji="1" lang="en-US" altLang="en-US" sz="1000" b="0" i="0" u="none" strike="noStrike" kern="1200" cap="none" spc="0" normalizeH="0" baseline="0" noProof="0" smtClean="0"/>
              <a:pPr marL="0" marR="0" lvl="0" indent="0"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9" name="テキスト プレースホルダ 9">
            <a:extLst>
              <a:ext uri="{FF2B5EF4-FFF2-40B4-BE49-F238E27FC236}">
                <a16:creationId xmlns:a16="http://schemas.microsoft.com/office/drawing/2014/main" id="{F68A8C6D-D222-E025-0CAD-56AF474F76BC}"/>
              </a:ext>
            </a:extLst>
          </p:cNvPr>
          <p:cNvSpPr>
            <a:spLocks/>
          </p:cNvSpPr>
          <p:nvPr>
            <p:custDataLst>
              <p:tags r:id="rId92"/>
            </p:custDataLst>
          </p:nvPr>
        </p:nvSpPr>
        <p:spPr bwMode="auto">
          <a:xfrm>
            <a:off x="29273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51334-AED0-4A12-8736-B1538FBB686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FBB354BF-98C6-9A6D-F792-2698509F4414}"/>
              </a:ext>
            </a:extLst>
          </p:cNvPr>
          <p:cNvSpPr>
            <a:spLocks/>
          </p:cNvSpPr>
          <p:nvPr>
            <p:custDataLst>
              <p:tags r:id="rId93"/>
            </p:custDataLst>
          </p:nvPr>
        </p:nvSpPr>
        <p:spPr bwMode="auto">
          <a:xfrm>
            <a:off x="30940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7AB62B-132C-462B-AF58-188862C11B92}"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47" name="テキスト プレースホルダ 9">
            <a:extLst>
              <a:ext uri="{FF2B5EF4-FFF2-40B4-BE49-F238E27FC236}">
                <a16:creationId xmlns:a16="http://schemas.microsoft.com/office/drawing/2014/main" id="{5772591C-62B0-9EF5-D379-68CC80CDEEC9}"/>
              </a:ext>
            </a:extLst>
          </p:cNvPr>
          <p:cNvSpPr>
            <a:spLocks noGrp="1"/>
          </p:cNvSpPr>
          <p:nvPr>
            <p:custDataLst>
              <p:tags r:id="rId94"/>
            </p:custDataLst>
          </p:nvPr>
        </p:nvSpPr>
        <p:spPr bwMode="gray">
          <a:xfrm>
            <a:off x="3213100" y="501491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95D8BF8-4222-455B-B17C-CB0935DB69C7}" type="datetime'-''''''''''''0''''''.''8'''''''''''''">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1" name="テキスト プレースホルダ 9">
            <a:extLst>
              <a:ext uri="{FF2B5EF4-FFF2-40B4-BE49-F238E27FC236}">
                <a16:creationId xmlns:a16="http://schemas.microsoft.com/office/drawing/2014/main" id="{0F6CF4C5-1010-353A-9FA2-7306A7165916}"/>
              </a:ext>
            </a:extLst>
          </p:cNvPr>
          <p:cNvSpPr>
            <a:spLocks/>
          </p:cNvSpPr>
          <p:nvPr>
            <p:custDataLst>
              <p:tags r:id="rId95"/>
            </p:custDataLst>
          </p:nvPr>
        </p:nvSpPr>
        <p:spPr bwMode="auto">
          <a:xfrm>
            <a:off x="3262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07AA88-BFF9-412D-89C8-34253F43884B}"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6C58C415-DD14-7250-E2A1-522C7CC992F5}"/>
              </a:ext>
            </a:extLst>
          </p:cNvPr>
          <p:cNvSpPr>
            <a:spLocks/>
          </p:cNvSpPr>
          <p:nvPr>
            <p:custDataLst>
              <p:tags r:id="rId96"/>
            </p:custDataLst>
          </p:nvPr>
        </p:nvSpPr>
        <p:spPr bwMode="auto">
          <a:xfrm>
            <a:off x="347663"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695D11-5522-4D74-B24A-3BCB16D9108F}"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useBgFill="1">
        <p:nvSpPr>
          <p:cNvPr id="49" name="テキスト プレースホルダ 9">
            <a:extLst>
              <a:ext uri="{FF2B5EF4-FFF2-40B4-BE49-F238E27FC236}">
                <a16:creationId xmlns:a16="http://schemas.microsoft.com/office/drawing/2014/main" id="{A95F1F7E-FBAE-AEB9-BC68-D91DEA5484E6}"/>
              </a:ext>
            </a:extLst>
          </p:cNvPr>
          <p:cNvSpPr>
            <a:spLocks noGrp="1"/>
          </p:cNvSpPr>
          <p:nvPr>
            <p:custDataLst>
              <p:tags r:id="rId97"/>
            </p:custDataLst>
          </p:nvPr>
        </p:nvSpPr>
        <p:spPr bwMode="gray">
          <a:xfrm>
            <a:off x="3546475" y="54768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32561EE-DE61-4925-97D4-6260B8266B40}" type="datetime'''-''''''''2''''''''''''''''''''''.''''''''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テキスト プレースホルダ 9">
            <a:extLst>
              <a:ext uri="{FF2B5EF4-FFF2-40B4-BE49-F238E27FC236}">
                <a16:creationId xmlns:a16="http://schemas.microsoft.com/office/drawing/2014/main" id="{6D5B16D7-B74A-96E0-8573-DEE71298DF7C}"/>
              </a:ext>
            </a:extLst>
          </p:cNvPr>
          <p:cNvSpPr>
            <a:spLocks/>
          </p:cNvSpPr>
          <p:nvPr>
            <p:custDataLst>
              <p:tags r:id="rId98"/>
            </p:custDataLst>
          </p:nvPr>
        </p:nvSpPr>
        <p:spPr bwMode="auto">
          <a:xfrm>
            <a:off x="35956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645BD8-7468-4FCF-A9B7-7F057FEBFF50}"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CA6A93B7-1F2D-AF8E-1ED6-2AEEEB90B981}"/>
              </a:ext>
            </a:extLst>
          </p:cNvPr>
          <p:cNvSpPr>
            <a:spLocks/>
          </p:cNvSpPr>
          <p:nvPr>
            <p:custDataLst>
              <p:tags r:id="rId99"/>
            </p:custDataLst>
          </p:nvPr>
        </p:nvSpPr>
        <p:spPr bwMode="auto">
          <a:xfrm>
            <a:off x="37639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23E549-D906-444F-8453-BDD0CBF5561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3FE9E6E0-E872-D9FC-6C17-E1595BA0CEE2}"/>
              </a:ext>
            </a:extLst>
          </p:cNvPr>
          <p:cNvSpPr>
            <a:spLocks/>
          </p:cNvSpPr>
          <p:nvPr>
            <p:custDataLst>
              <p:tags r:id="rId100"/>
            </p:custDataLst>
          </p:nvPr>
        </p:nvSpPr>
        <p:spPr bwMode="auto">
          <a:xfrm>
            <a:off x="39306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6F116F-3FFD-4F9F-B8FA-AD9C6782DF74}"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BF3AE375-3776-52A7-A59C-D0BDCAEDF2F5}"/>
              </a:ext>
            </a:extLst>
          </p:cNvPr>
          <p:cNvSpPr>
            <a:spLocks/>
          </p:cNvSpPr>
          <p:nvPr>
            <p:custDataLst>
              <p:tags r:id="rId101"/>
            </p:custDataLst>
          </p:nvPr>
        </p:nvSpPr>
        <p:spPr bwMode="auto">
          <a:xfrm>
            <a:off x="4097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1DABDF-2EA0-410B-9025-476B3EA1800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34" name="Text Placeholder 12">
            <a:extLst>
              <a:ext uri="{FF2B5EF4-FFF2-40B4-BE49-F238E27FC236}">
                <a16:creationId xmlns:a16="http://schemas.microsoft.com/office/drawing/2014/main" id="{43A3D38A-2F20-16F2-5C9E-6BAB6A00CA7D}"/>
              </a:ext>
            </a:extLst>
          </p:cNvPr>
          <p:cNvSpPr>
            <a:spLocks noGrp="1"/>
          </p:cNvSpPr>
          <p:nvPr>
            <p:custDataLst>
              <p:tags r:id="rId102"/>
            </p:custDataLst>
          </p:nvPr>
        </p:nvSpPr>
        <p:spPr bwMode="gray">
          <a:xfrm>
            <a:off x="2397125" y="37004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561FD4C-E7F6-45D8-A128-F0AABE6998C0}" type="datetime'2''''''''''.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テキスト プレースホルダ 9">
            <a:extLst>
              <a:ext uri="{FF2B5EF4-FFF2-40B4-BE49-F238E27FC236}">
                <a16:creationId xmlns:a16="http://schemas.microsoft.com/office/drawing/2014/main" id="{A3D086ED-0A5A-9B79-17C7-A9EC41279BE5}"/>
              </a:ext>
            </a:extLst>
          </p:cNvPr>
          <p:cNvSpPr>
            <a:spLocks/>
          </p:cNvSpPr>
          <p:nvPr>
            <p:custDataLst>
              <p:tags r:id="rId103"/>
            </p:custDataLst>
          </p:nvPr>
        </p:nvSpPr>
        <p:spPr bwMode="auto">
          <a:xfrm>
            <a:off x="4265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963E74-5FC7-4647-B279-4B81B4460659}"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F4F762F2-DEBD-EB09-73EC-5FCC997EC973}"/>
              </a:ext>
            </a:extLst>
          </p:cNvPr>
          <p:cNvSpPr>
            <a:spLocks/>
          </p:cNvSpPr>
          <p:nvPr>
            <p:custDataLst>
              <p:tags r:id="rId104"/>
            </p:custDataLst>
          </p:nvPr>
        </p:nvSpPr>
        <p:spPr bwMode="auto">
          <a:xfrm>
            <a:off x="44323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82CE8E-3486-4EBA-BC7E-15E29CC6D0CE}"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E15BDF94-F884-FC07-297E-69F557E1844F}"/>
              </a:ext>
            </a:extLst>
          </p:cNvPr>
          <p:cNvSpPr>
            <a:spLocks/>
          </p:cNvSpPr>
          <p:nvPr>
            <p:custDataLst>
              <p:tags r:id="rId105"/>
            </p:custDataLst>
          </p:nvPr>
        </p:nvSpPr>
        <p:spPr bwMode="auto">
          <a:xfrm>
            <a:off x="46005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BF03FE-C9B6-4634-882F-6E0CBF709F3B}"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158" name="テキスト プレースホルダ 9">
            <a:extLst>
              <a:ext uri="{FF2B5EF4-FFF2-40B4-BE49-F238E27FC236}">
                <a16:creationId xmlns:a16="http://schemas.microsoft.com/office/drawing/2014/main" id="{39BE5EC3-EE3F-88C7-E816-099283C77B79}"/>
              </a:ext>
            </a:extLst>
          </p:cNvPr>
          <p:cNvSpPr>
            <a:spLocks/>
          </p:cNvSpPr>
          <p:nvPr>
            <p:custDataLst>
              <p:tags r:id="rId106"/>
            </p:custDataLst>
          </p:nvPr>
        </p:nvSpPr>
        <p:spPr bwMode="gray">
          <a:xfrm>
            <a:off x="4770438" y="42497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6A43115-3E1D-4C5B-9092-9609AB007B49}" type="datetime'''''2''''''''''''''''''''''''''''.''''''0'''''''''''">
              <a:rPr lang="en-US" altLang="en-US" sz="1000" smtClean="0">
                <a:effectLst/>
                <a:sym typeface="+mn-lt"/>
              </a:rPr>
              <a:pPr marL="0" lvl="0" indent="0">
                <a:spcBef>
                  <a:spcPct val="0"/>
                </a:spcBef>
                <a:buNone/>
              </a:pPr>
              <a:t>2.0</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9F26EF18-1F46-AF03-58C2-AADB8071C73A}"/>
              </a:ext>
            </a:extLst>
          </p:cNvPr>
          <p:cNvSpPr>
            <a:spLocks/>
          </p:cNvSpPr>
          <p:nvPr>
            <p:custDataLst>
              <p:tags r:id="rId107"/>
            </p:custDataLst>
          </p:nvPr>
        </p:nvSpPr>
        <p:spPr bwMode="auto">
          <a:xfrm>
            <a:off x="4767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C1650C-B7B6-4560-9E3D-D27A29C77C71}"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F9141FCD-7257-8097-0333-72FC8FB12A69}"/>
              </a:ext>
            </a:extLst>
          </p:cNvPr>
          <p:cNvSpPr>
            <a:spLocks/>
          </p:cNvSpPr>
          <p:nvPr>
            <p:custDataLst>
              <p:tags r:id="rId108"/>
            </p:custDataLst>
          </p:nvPr>
        </p:nvSpPr>
        <p:spPr bwMode="auto">
          <a:xfrm>
            <a:off x="3429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A9BFD7-7C70-424E-BCA3-5939FDC16A38}"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Tree>
    <p:extLst>
      <p:ext uri="{BB962C8B-B14F-4D97-AF65-F5344CB8AC3E}">
        <p14:creationId xmlns:p14="http://schemas.microsoft.com/office/powerpoint/2010/main" val="2525319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投資法</a:t>
            </a:r>
          </a:p>
        </p:txBody>
      </p:sp>
      <p:sp>
        <p:nvSpPr>
          <p:cNvPr id="101" name="テキスト ボックス 100"/>
          <p:cNvSpPr txBox="1"/>
          <p:nvPr/>
        </p:nvSpPr>
        <p:spPr>
          <a:xfrm>
            <a:off x="200472"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lang="en-US" altLang="ja-JP" sz="800" dirty="0"/>
              <a:t>HP</a:t>
            </a:r>
            <a:endParaRPr lang="ja-JP" altLang="ja-JP" sz="800" dirty="0"/>
          </a:p>
        </p:txBody>
      </p:sp>
      <p:graphicFrame>
        <p:nvGraphicFramePr>
          <p:cNvPr id="110" name="表 109"/>
          <p:cNvGraphicFramePr>
            <a:graphicFrameLocks noGrp="1"/>
          </p:cNvGraphicFramePr>
          <p:nvPr>
            <p:extLst>
              <p:ext uri="{D42A27DB-BD31-4B8C-83A1-F6EECF244321}">
                <p14:modId xmlns:p14="http://schemas.microsoft.com/office/powerpoint/2010/main" val="2900882837"/>
              </p:ext>
            </p:extLst>
          </p:nvPr>
        </p:nvGraphicFramePr>
        <p:xfrm>
          <a:off x="200025" y="2225991"/>
          <a:ext cx="9504942" cy="4422140"/>
        </p:xfrm>
        <a:graphic>
          <a:graphicData uri="http://schemas.openxmlformats.org/drawingml/2006/table">
            <a:tbl>
              <a:tblPr firstRow="1" bandRow="1">
                <a:tableStyleId>{5C22544A-7EE6-4342-B048-85BDC9FD1C3A}</a:tableStyleId>
              </a:tblPr>
              <a:tblGrid>
                <a:gridCol w="1296591">
                  <a:extLst>
                    <a:ext uri="{9D8B030D-6E8A-4147-A177-3AD203B41FA5}">
                      <a16:colId xmlns:a16="http://schemas.microsoft.com/office/drawing/2014/main" val="20000"/>
                    </a:ext>
                  </a:extLst>
                </a:gridCol>
                <a:gridCol w="4536504">
                  <a:extLst>
                    <a:ext uri="{9D8B030D-6E8A-4147-A177-3AD203B41FA5}">
                      <a16:colId xmlns:a16="http://schemas.microsoft.com/office/drawing/2014/main" val="20001"/>
                    </a:ext>
                  </a:extLst>
                </a:gridCol>
                <a:gridCol w="3671847">
                  <a:extLst>
                    <a:ext uri="{9D8B030D-6E8A-4147-A177-3AD203B41FA5}">
                      <a16:colId xmlns:a16="http://schemas.microsoft.com/office/drawing/2014/main" val="20002"/>
                    </a:ext>
                  </a:extLst>
                </a:gridCol>
              </a:tblGrid>
              <a:tr h="835708">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主な外資参入規制・禁止業種（ネガティブリスト）</a:t>
                      </a:r>
                      <a:endParaRPr lang="en-US" altLang="ja-JP" sz="10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製造業分野：石油探鉱、採掘、生産、軍事機器・装備等製造、民生用爆発物製造</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サービス分野：軍へのケータリング、治安・警備、探偵業、メッカおよびマディーナにおける不動産投資、巡礼関連観光業、人材斡旋・採用サービス、</a:t>
                      </a:r>
                      <a:r>
                        <a:rPr kumimoji="1" lang="en-US" altLang="ja-JP" sz="1000" b="0" kern="1200" dirty="0">
                          <a:solidFill>
                            <a:srgbClr val="000000"/>
                          </a:solidFill>
                          <a:latin typeface="+mn-lt"/>
                          <a:ea typeface="ＭＳ Ｐゴシック" charset="-128"/>
                          <a:cs typeface="Arial" pitchFamily="34" charset="0"/>
                        </a:rPr>
                        <a:t>Commission Agent</a:t>
                      </a:r>
                      <a:r>
                        <a:rPr kumimoji="1" lang="ja-JP" altLang="en-US" sz="1000" b="0" kern="1200" dirty="0">
                          <a:solidFill>
                            <a:srgbClr val="000000"/>
                          </a:solidFill>
                          <a:latin typeface="+mn-lt"/>
                          <a:ea typeface="ＭＳ Ｐゴシック" charset="-128"/>
                          <a:cs typeface="Arial" pitchFamily="34" charset="0"/>
                        </a:rPr>
                        <a:t>（国連中央製品分類</a:t>
                      </a:r>
                      <a:r>
                        <a:rPr kumimoji="1" lang="en-US" altLang="ja-JP" sz="1000" b="0" kern="1200" dirty="0">
                          <a:solidFill>
                            <a:srgbClr val="000000"/>
                          </a:solidFill>
                          <a:latin typeface="+mn-lt"/>
                          <a:ea typeface="ＭＳ Ｐゴシック" charset="-128"/>
                          <a:cs typeface="Arial" pitchFamily="34" charset="0"/>
                        </a:rPr>
                        <a:t>CPC</a:t>
                      </a:r>
                      <a:r>
                        <a:rPr kumimoji="1" lang="ja-JP" altLang="en-US" sz="1000" b="0" kern="1200" dirty="0">
                          <a:solidFill>
                            <a:srgbClr val="000000"/>
                          </a:solidFill>
                          <a:latin typeface="+mn-lt"/>
                          <a:ea typeface="ＭＳ Ｐゴシック" charset="-128"/>
                          <a:cs typeface="Arial" pitchFamily="34" charset="0"/>
                        </a:rPr>
                        <a:t>の</a:t>
                      </a:r>
                      <a:r>
                        <a:rPr kumimoji="1" lang="en-US" altLang="ja-JP" sz="1000" b="0" kern="1200" dirty="0">
                          <a:solidFill>
                            <a:srgbClr val="000000"/>
                          </a:solidFill>
                          <a:latin typeface="+mn-lt"/>
                          <a:ea typeface="ＭＳ Ｐゴシック" charset="-128"/>
                          <a:cs typeface="Arial" pitchFamily="34" charset="0"/>
                        </a:rPr>
                        <a:t>621</a:t>
                      </a:r>
                      <a:r>
                        <a:rPr kumimoji="1" lang="ja-JP" altLang="en-US" sz="1000" b="0" kern="1200" dirty="0">
                          <a:solidFill>
                            <a:srgbClr val="000000"/>
                          </a:solidFill>
                          <a:latin typeface="+mn-lt"/>
                          <a:ea typeface="ＭＳ Ｐゴシック" charset="-128"/>
                          <a:cs typeface="Arial" pitchFamily="34" charset="0"/>
                        </a:rPr>
                        <a:t>に該当する業種）など</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これらの外資規制は、サウジアラビアの</a:t>
                      </a:r>
                      <a:r>
                        <a:rPr kumimoji="1" lang="en-US" altLang="ja-JP" sz="1000" b="0" kern="1200" dirty="0">
                          <a:solidFill>
                            <a:srgbClr val="000000"/>
                          </a:solidFill>
                          <a:latin typeface="+mn-lt"/>
                          <a:ea typeface="ＭＳ Ｐゴシック" charset="-128"/>
                          <a:cs typeface="Arial" pitchFamily="34" charset="0"/>
                        </a:rPr>
                        <a:t>WTO</a:t>
                      </a:r>
                      <a:r>
                        <a:rPr kumimoji="1" lang="ja-JP" altLang="en-US" sz="1000" b="0" kern="1200" dirty="0">
                          <a:solidFill>
                            <a:srgbClr val="000000"/>
                          </a:solidFill>
                          <a:latin typeface="+mn-lt"/>
                          <a:ea typeface="ＭＳ Ｐゴシック" charset="-128"/>
                          <a:cs typeface="Arial" pitchFamily="34" charset="0"/>
                        </a:rPr>
                        <a:t>加盟にかかわる</a:t>
                      </a:r>
                      <a:r>
                        <a:rPr kumimoji="1" lang="en-US" altLang="ja-JP" sz="1000" b="0" kern="1200" dirty="0">
                          <a:solidFill>
                            <a:srgbClr val="000000"/>
                          </a:solidFill>
                          <a:latin typeface="+mn-lt"/>
                          <a:ea typeface="ＭＳ Ｐゴシック" charset="-128"/>
                          <a:cs typeface="Arial" pitchFamily="34" charset="0"/>
                        </a:rPr>
                        <a:t>2005</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9</a:t>
                      </a:r>
                      <a:r>
                        <a:rPr kumimoji="1" lang="ja-JP" altLang="en-US" sz="1000" b="0" kern="1200" dirty="0">
                          <a:solidFill>
                            <a:srgbClr val="000000"/>
                          </a:solidFill>
                          <a:latin typeface="+mn-lt"/>
                          <a:ea typeface="ＭＳ Ｐゴシック" charset="-128"/>
                          <a:cs typeface="Arial" pitchFamily="34" charset="0"/>
                        </a:rPr>
                        <a:t>月のアメリカとの二国間通商合意、そして同年</a:t>
                      </a:r>
                      <a:r>
                        <a:rPr kumimoji="1" lang="en-US" altLang="ja-JP" sz="1000" b="0" kern="1200" dirty="0">
                          <a:solidFill>
                            <a:srgbClr val="000000"/>
                          </a:solidFill>
                          <a:latin typeface="+mn-lt"/>
                          <a:ea typeface="ＭＳ Ｐゴシック" charset="-128"/>
                          <a:cs typeface="Arial" pitchFamily="34" charset="0"/>
                        </a:rPr>
                        <a:t>12</a:t>
                      </a:r>
                      <a:r>
                        <a:rPr kumimoji="1" lang="ja-JP" altLang="en-US" sz="1000" b="0" kern="1200" dirty="0">
                          <a:solidFill>
                            <a:srgbClr val="000000"/>
                          </a:solidFill>
                          <a:latin typeface="+mn-lt"/>
                          <a:ea typeface="ＭＳ Ｐゴシック" charset="-128"/>
                          <a:cs typeface="Arial" pitchFamily="34" charset="0"/>
                        </a:rPr>
                        <a:t>月の</a:t>
                      </a:r>
                      <a:r>
                        <a:rPr kumimoji="1" lang="en-US" altLang="ja-JP" sz="1000" b="0" kern="1200" dirty="0">
                          <a:solidFill>
                            <a:srgbClr val="000000"/>
                          </a:solidFill>
                          <a:latin typeface="+mn-lt"/>
                          <a:ea typeface="ＭＳ Ｐゴシック" charset="-128"/>
                          <a:cs typeface="Arial" pitchFamily="34" charset="0"/>
                        </a:rPr>
                        <a:t>WTO</a:t>
                      </a:r>
                      <a:r>
                        <a:rPr kumimoji="1" lang="ja-JP" altLang="en-US" sz="1000" b="0" kern="1200" dirty="0">
                          <a:solidFill>
                            <a:srgbClr val="000000"/>
                          </a:solidFill>
                          <a:latin typeface="+mn-lt"/>
                          <a:ea typeface="ＭＳ Ｐゴシック" charset="-128"/>
                          <a:cs typeface="Arial" pitchFamily="34" charset="0"/>
                        </a:rPr>
                        <a:t>正式加盟により段階的に緩和されている</a:t>
                      </a:r>
                      <a:endParaRPr kumimoji="1" lang="en-US" altLang="ja-JP" sz="1000" b="0" kern="1200" dirty="0">
                        <a:solidFill>
                          <a:srgbClr val="000000"/>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25466">
                <a:tc>
                  <a:txBody>
                    <a:bodyPr/>
                    <a:lstStyle/>
                    <a:p>
                      <a:r>
                        <a:rPr kumimoji="1" lang="ja-JP" altLang="en-US" sz="12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資</a:t>
                      </a:r>
                      <a:r>
                        <a:rPr lang="en-US" altLang="ja-JP" sz="1000" dirty="0"/>
                        <a:t>100</a:t>
                      </a:r>
                      <a:r>
                        <a:rPr lang="ja-JP" altLang="en-US" sz="1000" dirty="0"/>
                        <a:t>％での現地法人設立も可能だが、代理店業、保険・金融業、通信業、建設施工管理などの</a:t>
                      </a:r>
                      <a:r>
                        <a:rPr lang="en-US" altLang="ja-JP" sz="1000" dirty="0"/>
                        <a:t>EPC</a:t>
                      </a:r>
                      <a:r>
                        <a:rPr lang="ja-JP" altLang="en-US" sz="1000" dirty="0"/>
                        <a:t>（</a:t>
                      </a:r>
                      <a:r>
                        <a:rPr lang="en-US" altLang="ja-JP" sz="1000" dirty="0"/>
                        <a:t>Engineering, Procurement and Construction</a:t>
                      </a:r>
                      <a:r>
                        <a:rPr lang="ja-JP" altLang="en-US" sz="1000" dirty="0"/>
                        <a:t>）については、規制があ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有限会社（</a:t>
                      </a:r>
                      <a:r>
                        <a:rPr lang="en-US" altLang="ja-JP" sz="1000" dirty="0"/>
                        <a:t>LLC</a:t>
                      </a:r>
                      <a:r>
                        <a:rPr lang="ja-JP" altLang="en-US" sz="1000" dirty="0"/>
                        <a:t>）は、</a:t>
                      </a:r>
                      <a:r>
                        <a:rPr lang="en-US" altLang="ja-JP" sz="1000" dirty="0"/>
                        <a:t>2016</a:t>
                      </a:r>
                      <a:r>
                        <a:rPr lang="ja-JP" altLang="en-US" sz="1000" dirty="0"/>
                        <a:t>年</a:t>
                      </a:r>
                      <a:r>
                        <a:rPr lang="en-US" altLang="ja-JP" sz="1000" dirty="0"/>
                        <a:t>5</a:t>
                      </a:r>
                      <a:r>
                        <a:rPr lang="ja-JP" altLang="en-US" sz="1000" dirty="0"/>
                        <a:t>月に施行された新会社法により、設立の際、</a:t>
                      </a:r>
                      <a:r>
                        <a:rPr lang="en-US" altLang="ja-JP" sz="1000" dirty="0"/>
                        <a:t>1</a:t>
                      </a:r>
                      <a:r>
                        <a:rPr lang="ja-JP" altLang="en-US" sz="1000" dirty="0"/>
                        <a:t>人以上の株主（法人、個人のいずれでも可）の出資で設立が可能となった</a:t>
                      </a:r>
                      <a:endParaRPr lang="en-US" altLang="ja-JP" sz="1000" dirty="0"/>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l"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2016</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6</a:t>
                      </a:r>
                      <a:r>
                        <a:rPr kumimoji="1" lang="ja-JP" altLang="en-US" sz="1000" b="0" kern="1200" dirty="0">
                          <a:solidFill>
                            <a:srgbClr val="000000"/>
                          </a:solidFill>
                          <a:latin typeface="+mn-lt"/>
                          <a:ea typeface="ＭＳ Ｐゴシック" charset="-128"/>
                          <a:cs typeface="Arial" pitchFamily="34" charset="0"/>
                        </a:rPr>
                        <a:t>月の閣議決定により、小売・輸入・流通業については、</a:t>
                      </a:r>
                      <a:r>
                        <a:rPr kumimoji="1" lang="en-US" altLang="ja-JP" sz="1000" b="0" kern="1200" dirty="0">
                          <a:solidFill>
                            <a:srgbClr val="000000"/>
                          </a:solidFill>
                          <a:latin typeface="+mn-lt"/>
                          <a:ea typeface="ＭＳ Ｐゴシック" charset="-128"/>
                          <a:cs typeface="Arial" pitchFamily="34" charset="0"/>
                        </a:rPr>
                        <a:t>3</a:t>
                      </a:r>
                      <a:r>
                        <a:rPr kumimoji="1" lang="ja-JP" altLang="en-US" sz="1000" b="0" kern="1200" dirty="0">
                          <a:solidFill>
                            <a:srgbClr val="000000"/>
                          </a:solidFill>
                          <a:latin typeface="+mn-lt"/>
                          <a:ea typeface="ＭＳ Ｐゴシック" charset="-128"/>
                          <a:cs typeface="Arial" pitchFamily="34" charset="0"/>
                        </a:rPr>
                        <a:t>か国以上に拠点があること、最低資本金</a:t>
                      </a:r>
                      <a:r>
                        <a:rPr kumimoji="1" lang="en-US" altLang="ja-JP" sz="1000" b="0" kern="1200" dirty="0">
                          <a:solidFill>
                            <a:srgbClr val="000000"/>
                          </a:solidFill>
                          <a:latin typeface="+mn-lt"/>
                          <a:ea typeface="ＭＳ Ｐゴシック" charset="-128"/>
                          <a:cs typeface="Arial" pitchFamily="34" charset="0"/>
                        </a:rPr>
                        <a:t>3,000</a:t>
                      </a:r>
                      <a:r>
                        <a:rPr kumimoji="1" lang="ja-JP" altLang="en-US" sz="1000" b="0" kern="1200" dirty="0">
                          <a:solidFill>
                            <a:srgbClr val="000000"/>
                          </a:solidFill>
                          <a:latin typeface="+mn-lt"/>
                          <a:ea typeface="ＭＳ Ｐゴシック" charset="-128"/>
                          <a:cs typeface="Arial" pitchFamily="34" charset="0"/>
                        </a:rPr>
                        <a:t>万リヤルなどの</a:t>
                      </a:r>
                      <a:r>
                        <a:rPr kumimoji="1" lang="ja-JP" altLang="en-US" sz="1000" b="0" kern="1200" dirty="0">
                          <a:solidFill>
                            <a:schemeClr val="tx1"/>
                          </a:solidFill>
                          <a:latin typeface="+mn-lt"/>
                          <a:ea typeface="ＭＳ Ｐゴシック" charset="-128"/>
                          <a:cs typeface="Arial" pitchFamily="34" charset="0"/>
                        </a:rPr>
                        <a:t>条件付きで、エンジニアリング事業については、</a:t>
                      </a:r>
                      <a:r>
                        <a:rPr kumimoji="1" lang="en-US" altLang="ja-JP" sz="1000" b="0" kern="1200" dirty="0">
                          <a:solidFill>
                            <a:schemeClr val="tx1"/>
                          </a:solidFill>
                          <a:latin typeface="+mn-lt"/>
                          <a:ea typeface="ＭＳ Ｐゴシック" charset="-128"/>
                          <a:cs typeface="Arial" pitchFamily="34" charset="0"/>
                        </a:rPr>
                        <a:t>10</a:t>
                      </a:r>
                      <a:r>
                        <a:rPr kumimoji="1" lang="ja-JP" altLang="en-US" sz="1000" b="0" kern="1200" dirty="0">
                          <a:solidFill>
                            <a:schemeClr val="tx1"/>
                          </a:solidFill>
                          <a:latin typeface="+mn-lt"/>
                          <a:ea typeface="ＭＳ Ｐゴシック" charset="-128"/>
                          <a:cs typeface="Arial" pitchFamily="34" charset="0"/>
                        </a:rPr>
                        <a:t>年以上の実績と</a:t>
                      </a:r>
                      <a:r>
                        <a:rPr kumimoji="1" lang="en-US" altLang="ja-JP" sz="1000" b="0" kern="1200" dirty="0">
                          <a:solidFill>
                            <a:schemeClr val="tx1"/>
                          </a:solidFill>
                          <a:latin typeface="+mn-lt"/>
                          <a:ea typeface="ＭＳ Ｐゴシック" charset="-128"/>
                          <a:cs typeface="Arial" pitchFamily="34" charset="0"/>
                        </a:rPr>
                        <a:t>4</a:t>
                      </a:r>
                      <a:r>
                        <a:rPr kumimoji="1" lang="ja-JP" altLang="en-US" sz="1000" b="0" kern="1200" dirty="0">
                          <a:solidFill>
                            <a:schemeClr val="tx1"/>
                          </a:solidFill>
                          <a:latin typeface="+mn-lt"/>
                          <a:ea typeface="ＭＳ Ｐゴシック" charset="-128"/>
                          <a:cs typeface="Arial" pitchFamily="34" charset="0"/>
                        </a:rPr>
                        <a:t>か国以上に拠点があるなどの条件付きで、</a:t>
                      </a:r>
                      <a:r>
                        <a:rPr kumimoji="1" lang="en-US" altLang="ja-JP" sz="1000" b="0" kern="1200" dirty="0">
                          <a:solidFill>
                            <a:schemeClr val="tx1"/>
                          </a:solidFill>
                          <a:latin typeface="+mn-lt"/>
                          <a:ea typeface="ＭＳ Ｐゴシック" charset="-128"/>
                          <a:cs typeface="Arial" pitchFamily="34" charset="0"/>
                        </a:rPr>
                        <a:t>100</a:t>
                      </a:r>
                      <a:r>
                        <a:rPr kumimoji="1" lang="ja-JP" altLang="en-US" sz="1000" b="0" kern="1200" dirty="0">
                          <a:solidFill>
                            <a:schemeClr val="tx1"/>
                          </a:solidFill>
                          <a:latin typeface="+mn-lt"/>
                          <a:ea typeface="ＭＳ Ｐゴシック" charset="-128"/>
                          <a:cs typeface="Arial" pitchFamily="34" charset="0"/>
                        </a:rPr>
                        <a:t>％の外資出資が認められた</a:t>
                      </a:r>
                      <a:endParaRPr kumimoji="1" lang="en-US" altLang="ja-JP" sz="1000" b="0" kern="1200" dirty="0">
                        <a:solidFill>
                          <a:schemeClr val="tx1"/>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24557">
                <a:tc>
                  <a:txBody>
                    <a:bodyPr/>
                    <a:lstStyle/>
                    <a:p>
                      <a:r>
                        <a:rPr kumimoji="1" lang="ja-JP" altLang="en-US" sz="1200" b="1" dirty="0">
                          <a:solidFill>
                            <a:schemeClr val="bg1"/>
                          </a:solidFill>
                        </a:rPr>
                        <a:t>資本金に関する</a:t>
                      </a:r>
                      <a:br>
                        <a:rPr kumimoji="1" lang="en-US" altLang="ja-JP" sz="1200" b="1" dirty="0">
                          <a:solidFill>
                            <a:schemeClr val="bg1"/>
                          </a:solidFill>
                        </a:rPr>
                      </a:br>
                      <a:r>
                        <a:rPr kumimoji="1" lang="ja-JP" altLang="en-US" sz="12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小売・卸売・貿易業：外資の出資比率上限</a:t>
                      </a:r>
                      <a:r>
                        <a:rPr kumimoji="1" lang="en-US" altLang="ja-JP" sz="1000" b="0" kern="1200" dirty="0">
                          <a:solidFill>
                            <a:srgbClr val="000000"/>
                          </a:solidFill>
                          <a:latin typeface="+mn-lt"/>
                          <a:ea typeface="ＭＳ Ｐゴシック" charset="-128"/>
                          <a:cs typeface="Arial" pitchFamily="34" charset="0"/>
                        </a:rPr>
                        <a:t>75</a:t>
                      </a:r>
                      <a:r>
                        <a:rPr kumimoji="1" lang="ja-JP" altLang="en-US" sz="1000" b="0" kern="1200" dirty="0">
                          <a:solidFill>
                            <a:srgbClr val="000000"/>
                          </a:solidFill>
                          <a:latin typeface="+mn-lt"/>
                          <a:ea typeface="ＭＳ Ｐゴシック" charset="-128"/>
                          <a:cs typeface="Arial" pitchFamily="34" charset="0"/>
                        </a:rPr>
                        <a:t>％であれば</a:t>
                      </a:r>
                      <a:r>
                        <a:rPr kumimoji="1" lang="en-US" altLang="ja-JP" sz="1000" b="0" kern="1200" dirty="0">
                          <a:solidFill>
                            <a:srgbClr val="000000"/>
                          </a:solidFill>
                          <a:latin typeface="+mn-lt"/>
                          <a:ea typeface="ＭＳ Ｐゴシック" charset="-128"/>
                          <a:cs typeface="Arial" pitchFamily="34" charset="0"/>
                        </a:rPr>
                        <a:t>2,000</a:t>
                      </a:r>
                      <a:r>
                        <a:rPr kumimoji="1" lang="ja-JP" altLang="en-US" sz="1000" b="0" kern="1200" dirty="0">
                          <a:solidFill>
                            <a:srgbClr val="000000"/>
                          </a:solidFill>
                          <a:latin typeface="+mn-lt"/>
                          <a:ea typeface="ＭＳ Ｐゴシック" charset="-128"/>
                          <a:cs typeface="Arial" pitchFamily="34" charset="0"/>
                        </a:rPr>
                        <a:t>万リヤル（外資出資分）。外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出資の場合は</a:t>
                      </a:r>
                      <a:r>
                        <a:rPr kumimoji="1" lang="en-US" altLang="ja-JP" sz="1000" b="0" kern="1200" dirty="0">
                          <a:solidFill>
                            <a:srgbClr val="000000"/>
                          </a:solidFill>
                          <a:latin typeface="+mn-lt"/>
                          <a:ea typeface="ＭＳ Ｐゴシック" charset="-128"/>
                          <a:cs typeface="Arial" pitchFamily="34" charset="0"/>
                        </a:rPr>
                        <a:t>3,000</a:t>
                      </a:r>
                      <a:r>
                        <a:rPr kumimoji="1" lang="ja-JP" altLang="en-US" sz="1000" b="0" kern="1200" dirty="0">
                          <a:solidFill>
                            <a:srgbClr val="000000"/>
                          </a:solidFill>
                          <a:latin typeface="+mn-lt"/>
                          <a:ea typeface="ＭＳ Ｐゴシック" charset="-128"/>
                          <a:cs typeface="Arial" pitchFamily="34" charset="0"/>
                        </a:rPr>
                        <a:t>万リヤル以上</a:t>
                      </a:r>
                      <a:endParaRPr kumimoji="1" lang="en-US" altLang="ja-JP" sz="1000" b="0" kern="1200" dirty="0">
                        <a:solidFill>
                          <a:srgbClr val="000000"/>
                        </a:solidFill>
                        <a:latin typeface="+mn-lt"/>
                        <a:ea typeface="ＭＳ Ｐゴシック" charset="-128"/>
                        <a:cs typeface="Arial" pitchFamily="34" charset="0"/>
                      </a:endParaRP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株式会社（</a:t>
                      </a:r>
                      <a:r>
                        <a:rPr kumimoji="1" lang="en-US" altLang="ja-JP" sz="1000" b="0" kern="1200" dirty="0">
                          <a:solidFill>
                            <a:srgbClr val="000000"/>
                          </a:solidFill>
                          <a:latin typeface="+mn-lt"/>
                          <a:ea typeface="ＭＳ Ｐゴシック" charset="-128"/>
                          <a:cs typeface="Arial" pitchFamily="34" charset="0"/>
                        </a:rPr>
                        <a:t>Joint Stock </a:t>
                      </a:r>
                      <a:r>
                        <a:rPr kumimoji="1" lang="en-US" altLang="ja-JP" sz="1000" b="0" kern="1200" dirty="0" err="1">
                          <a:solidFill>
                            <a:srgbClr val="000000"/>
                          </a:solidFill>
                          <a:latin typeface="+mn-lt"/>
                          <a:ea typeface="ＭＳ Ｐゴシック" charset="-128"/>
                          <a:cs typeface="Arial" pitchFamily="34" charset="0"/>
                        </a:rPr>
                        <a:t>Compnay</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万リヤル</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有限責任会社（</a:t>
                      </a:r>
                      <a:r>
                        <a:rPr kumimoji="1" lang="en-US" altLang="ja-JP" sz="1000" b="0" kern="1200" dirty="0">
                          <a:solidFill>
                            <a:srgbClr val="000000"/>
                          </a:solidFill>
                          <a:latin typeface="+mn-lt"/>
                          <a:ea typeface="ＭＳ Ｐゴシック" charset="-128"/>
                          <a:cs typeface="Arial" pitchFamily="34" charset="0"/>
                        </a:rPr>
                        <a:t>Limited Liability Company</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MISA</a:t>
                      </a:r>
                      <a:r>
                        <a:rPr kumimoji="1" lang="ja-JP" altLang="en-US" sz="1000" b="0" kern="1200" dirty="0">
                          <a:solidFill>
                            <a:srgbClr val="000000"/>
                          </a:solidFill>
                          <a:latin typeface="+mn-lt"/>
                          <a:ea typeface="ＭＳ Ｐゴシック" charset="-128"/>
                          <a:cs typeface="Arial" pitchFamily="34" charset="0"/>
                        </a:rPr>
                        <a:t>及び商業省によって決定</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支店：通常、</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万リヤル　</a:t>
                      </a:r>
                      <a:endParaRPr kumimoji="1" lang="en-US" altLang="ja-JP" sz="1000" b="0" kern="1200" dirty="0">
                        <a:solidFill>
                          <a:srgbClr val="000000"/>
                        </a:solidFill>
                        <a:latin typeface="+mn-lt"/>
                        <a:ea typeface="ＭＳ Ｐゴシック" charset="-128"/>
                        <a:cs typeface="Arial" pitchFamily="34" charset="0"/>
                      </a:endParaRP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Scientific and Technical Office</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TSO</a:t>
                      </a:r>
                      <a:r>
                        <a:rPr kumimoji="1" lang="ja-JP" altLang="en-US" sz="1000" b="0" kern="1200" dirty="0">
                          <a:solidFill>
                            <a:srgbClr val="000000"/>
                          </a:solidFill>
                          <a:latin typeface="+mn-lt"/>
                          <a:ea typeface="ＭＳ Ｐゴシック" charset="-128"/>
                          <a:cs typeface="Arial" pitchFamily="34" charset="0"/>
                        </a:rPr>
                        <a:t>）：資本に関する要件ない　　　等</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1" indent="-166688" algn="ctr"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txBody>
                  <a:tcPr marR="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02701">
                <a:tc>
                  <a:txBody>
                    <a:bodyPr/>
                    <a:lstStyle/>
                    <a:p>
                      <a:r>
                        <a:rPr kumimoji="1" lang="ja-JP" altLang="en-US" sz="1200" b="1" dirty="0">
                          <a:solidFill>
                            <a:schemeClr val="bg1"/>
                          </a:solidFill>
                        </a:rPr>
                        <a:t>外国企業の</a:t>
                      </a:r>
                      <a:br>
                        <a:rPr kumimoji="1" lang="en-US" altLang="ja-JP" sz="1200" b="1" dirty="0">
                          <a:solidFill>
                            <a:schemeClr val="bg1"/>
                          </a:solidFill>
                        </a:rPr>
                      </a:br>
                      <a:r>
                        <a:rPr kumimoji="1" lang="ja-JP" altLang="en-US" sz="12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人投資家は、「非サウジアラビア投資家の不動産所有及び不動産に関する法律」により、一定の条件の下では、ライセンス当局（内務省）の承諾を得ることを条件に必要な不動産（土地含む）を所有することができ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なお、</a:t>
                      </a:r>
                      <a:r>
                        <a:rPr kumimoji="1" lang="en-US" altLang="ja-JP" sz="1000" b="0" kern="1200" dirty="0">
                          <a:solidFill>
                            <a:srgbClr val="000000"/>
                          </a:solidFill>
                          <a:latin typeface="+mn-lt"/>
                          <a:ea typeface="ＭＳ Ｐゴシック" charset="-128"/>
                          <a:cs typeface="Arial" pitchFamily="34" charset="0"/>
                        </a:rPr>
                        <a:t>2019</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5</a:t>
                      </a:r>
                      <a:r>
                        <a:rPr kumimoji="1" lang="ja-JP" altLang="en-US" sz="1000" b="0" kern="1200" dirty="0">
                          <a:solidFill>
                            <a:srgbClr val="000000"/>
                          </a:solidFill>
                          <a:latin typeface="+mn-lt"/>
                          <a:ea typeface="ＭＳ Ｐゴシック" charset="-128"/>
                          <a:cs typeface="Arial" pitchFamily="34" charset="0"/>
                        </a:rPr>
                        <a:t>月、高度技術を有する、あるいはファンドオーナーなど、一定の字条件を満たした外国人に対して、サウジアラビア人スポンサー不要の居住権（いわゆるグリーンカード）が与えられることが、諮問評議会で承認され、該当外国人の土地所有が可能となった</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l"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a:t>
                      </a:r>
                      <a:r>
                        <a:rPr lang="ja-JP" altLang="en-US" sz="1000" dirty="0"/>
                        <a:t>「専門的、技術的、または経済的事業活動を実施するための利用」、「</a:t>
                      </a:r>
                      <a:r>
                        <a:rPr lang="en-US" altLang="ja-JP" sz="1000" dirty="0"/>
                        <a:t>SAGIA</a:t>
                      </a:r>
                      <a:r>
                        <a:rPr lang="ja-JP" altLang="en-US" sz="1000" dirty="0"/>
                        <a:t>の外国投資ライセンスを取得したプロジェクトに従事する従業員の個人住宅用不動産としての利用」、「適法な滞在許可証（イカーマ）を有する個人の住居のための利用」のいずれかの利用目的の場合に限る</a:t>
                      </a:r>
                      <a:endParaRPr kumimoji="1" lang="ja-JP" altLang="en-US" sz="1000" b="0" kern="1200" dirty="0">
                        <a:solidFill>
                          <a:srgbClr val="000000"/>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11" name="テキスト ボックス 110"/>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石油探鉱、採掘、生産、メッカとマディーナでの不動産投資、軍事機器製造などの分野への外国資本の投資は禁止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外国人または外国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資により医療機関を所有することが可能とな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外国投資の規制業種外となった。</a:t>
            </a:r>
          </a:p>
        </p:txBody>
      </p:sp>
      <p:sp>
        <p:nvSpPr>
          <p:cNvPr id="112" name="Rectangle 6"/>
          <p:cNvSpPr>
            <a:spLocks noChangeArrowheads="1"/>
          </p:cNvSpPr>
          <p:nvPr/>
        </p:nvSpPr>
        <p:spPr bwMode="auto">
          <a:xfrm>
            <a:off x="200001" y="1937959"/>
            <a:ext cx="950599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11" name="正方形/長方形 10"/>
          <p:cNvSpPr/>
          <p:nvPr/>
        </p:nvSpPr>
        <p:spPr>
          <a:xfrm>
            <a:off x="7041232" y="6633646"/>
            <a:ext cx="2664743" cy="215444"/>
          </a:xfrm>
          <a:prstGeom prst="rect">
            <a:avLst/>
          </a:prstGeom>
        </p:spPr>
        <p:txBody>
          <a:bodyPr wrap="square">
            <a:spAutoFit/>
          </a:bodyPr>
          <a:lstStyle/>
          <a:p>
            <a:r>
              <a:rPr lang="en-US" altLang="ja-JP" sz="800" dirty="0"/>
              <a:t>1</a:t>
            </a:r>
            <a:r>
              <a:rPr lang="ja-JP" altLang="en-US" sz="800" dirty="0"/>
              <a:t>リヤル ＝　</a:t>
            </a:r>
            <a:r>
              <a:rPr lang="en-US" altLang="ja-JP" sz="800" dirty="0"/>
              <a:t>40.22</a:t>
            </a:r>
            <a:r>
              <a:rPr lang="ja-JP" altLang="en-US" sz="800" dirty="0"/>
              <a:t>円　（</a:t>
            </a:r>
            <a:r>
              <a:rPr lang="en-US" altLang="ja-JP" sz="800" dirty="0"/>
              <a:t>2024</a:t>
            </a:r>
            <a:r>
              <a:rPr lang="ja-JP" altLang="en-US" sz="800" dirty="0"/>
              <a:t>年</a:t>
            </a:r>
            <a:r>
              <a:rPr lang="en-US" altLang="ja-JP" sz="800" dirty="0"/>
              <a:t>3</a:t>
            </a:r>
            <a:r>
              <a:rPr lang="ja-JP" altLang="en-US" sz="800" dirty="0"/>
              <a:t>月</a:t>
            </a:r>
            <a:r>
              <a:rPr lang="en-US" altLang="ja-JP" sz="800" dirty="0"/>
              <a:t>21</a:t>
            </a:r>
            <a:r>
              <a:rPr lang="ja-JP" altLang="en-US" sz="800" dirty="0"/>
              <a:t>日時点 仲値）</a:t>
            </a:r>
          </a:p>
        </p:txBody>
      </p:sp>
    </p:spTree>
    <p:extLst>
      <p:ext uri="{BB962C8B-B14F-4D97-AF65-F5344CB8AC3E}">
        <p14:creationId xmlns:p14="http://schemas.microsoft.com/office/powerpoint/2010/main" val="2429840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会社法（</a:t>
            </a:r>
            <a:r>
              <a:rPr lang="en-US" altLang="ja-JP" dirty="0"/>
              <a:t>1/3</a:t>
            </a:r>
            <a:r>
              <a:rPr lang="ja-JP" altLang="en-US" dirty="0"/>
              <a:t>）</a:t>
            </a:r>
          </a:p>
        </p:txBody>
      </p:sp>
      <p:sp>
        <p:nvSpPr>
          <p:cNvPr id="12" name="テキスト ボックス 11"/>
          <p:cNvSpPr txBox="1"/>
          <p:nvPr/>
        </p:nvSpPr>
        <p:spPr>
          <a:xfrm>
            <a:off x="200472" y="1124744"/>
            <a:ext cx="9505056" cy="24264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2023</a:t>
            </a:r>
            <a:r>
              <a:rPr lang="ja-JP" altLang="en-US" sz="1400" dirty="0">
                <a:cs typeface="Arial" panose="020B0604020202020204" pitchFamily="34" charset="0"/>
              </a:rPr>
              <a:t>年</a:t>
            </a:r>
            <a:r>
              <a:rPr lang="en-US" altLang="ja-JP" sz="1400" dirty="0">
                <a:cs typeface="Arial" panose="020B0604020202020204" pitchFamily="34" charset="0"/>
              </a:rPr>
              <a:t>1</a:t>
            </a:r>
            <a:r>
              <a:rPr lang="ja-JP" altLang="en-US" sz="1400" dirty="0">
                <a:cs typeface="Arial" panose="020B0604020202020204" pitchFamily="34" charset="0"/>
              </a:rPr>
              <a:t>月に新会社法が施行された。企業が事業を進める際に、これまで存在した様々な規制や制限を緩和するとともに、選択肢の増加を通じて柔軟な対応をしやすいようにし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新法では既存の</a:t>
            </a:r>
            <a:r>
              <a:rPr lang="en-US" altLang="ja-JP" sz="1400" dirty="0">
                <a:cs typeface="Arial" panose="020B0604020202020204" pitchFamily="34" charset="0"/>
              </a:rPr>
              <a:t>6</a:t>
            </a:r>
            <a:r>
              <a:rPr lang="ja-JP" altLang="en-US" sz="1400" dirty="0">
                <a:cs typeface="Arial" panose="020B0604020202020204" pitchFamily="34" charset="0"/>
              </a:rPr>
              <a:t>形態に加え、「簡易株式会社（</a:t>
            </a:r>
            <a:r>
              <a:rPr lang="en-US" altLang="ja-JP" sz="1400" dirty="0">
                <a:cs typeface="Arial" panose="020B0604020202020204" pitchFamily="34" charset="0"/>
              </a:rPr>
              <a:t>SJSC</a:t>
            </a:r>
            <a:r>
              <a:rPr lang="ja-JP" altLang="en-US" sz="1400" dirty="0">
                <a:cs typeface="Arial" panose="020B0604020202020204" pitchFamily="34" charset="0"/>
              </a:rPr>
              <a:t>）」が追加され、最低</a:t>
            </a:r>
            <a:r>
              <a:rPr lang="en-US" altLang="ja-JP" sz="1400" dirty="0">
                <a:cs typeface="Arial" panose="020B0604020202020204" pitchFamily="34" charset="0"/>
              </a:rPr>
              <a:t>1</a:t>
            </a:r>
            <a:r>
              <a:rPr lang="ja-JP" altLang="en-US" sz="1400" dirty="0">
                <a:cs typeface="Arial" panose="020B0604020202020204" pitchFamily="34" charset="0"/>
              </a:rPr>
              <a:t>人での法人設立や、複数の種類株式の発行、当地に関して</a:t>
            </a:r>
            <a:r>
              <a:rPr lang="en-US" altLang="ja-JP" sz="1400" dirty="0">
                <a:cs typeface="Arial" panose="020B0604020202020204" pitchFamily="34" charset="0"/>
              </a:rPr>
              <a:t>1</a:t>
            </a:r>
            <a:r>
              <a:rPr lang="ja-JP" altLang="en-US" sz="1400" dirty="0">
                <a:cs typeface="Arial" panose="020B0604020202020204" pitchFamily="34" charset="0"/>
              </a:rPr>
              <a:t>人や複数人、または取締役会によるものなどの選択肢を示すなど、企業統治（ガバナンス）の柔軟化を、認めた。会社設立以外にも、事業活動、解散・倒産に関する制限の緩和や、同族会社の扱い、企業結合・分割に関する規定の改定などがなされ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外国投資家が一般的に採るのは、「有限責任会社（</a:t>
            </a:r>
            <a:r>
              <a:rPr lang="en-US" altLang="ja-JP" sz="1400" dirty="0">
                <a:cs typeface="Arial" panose="020B0604020202020204" pitchFamily="34" charset="0"/>
              </a:rPr>
              <a:t>LCC</a:t>
            </a:r>
            <a:r>
              <a:rPr lang="ja-JP" altLang="en-US" sz="1400" dirty="0">
                <a:cs typeface="Arial" panose="020B0604020202020204" pitchFamily="34" charset="0"/>
              </a:rPr>
              <a:t>）」、「株式会社」、「外国会社の支店」と「簡易株式会社」の</a:t>
            </a:r>
            <a:r>
              <a:rPr lang="en-US" altLang="ja-JP" sz="1400" dirty="0">
                <a:cs typeface="Arial" panose="020B0604020202020204" pitchFamily="34" charset="0"/>
              </a:rPr>
              <a:t>4</a:t>
            </a:r>
            <a:r>
              <a:rPr lang="ja-JP" altLang="en-US" sz="1400" dirty="0">
                <a:cs typeface="Arial" panose="020B0604020202020204" pitchFamily="34" charset="0"/>
              </a:rPr>
              <a:t>形態とされており、要点は次頁の通り。</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また、外国人投資家は、</a:t>
            </a:r>
            <a:r>
              <a:rPr lang="ja-JP" altLang="en-US" sz="1400" dirty="0">
                <a:solidFill>
                  <a:srgbClr val="000000"/>
                </a:solidFill>
                <a:cs typeface="Arial" panose="020B0604020202020204" pitchFamily="34" charset="0"/>
              </a:rPr>
              <a:t>サウジアラビア総合投資院（</a:t>
            </a:r>
            <a:r>
              <a:rPr lang="en-US" altLang="ja-JP" sz="1400" dirty="0">
                <a:cs typeface="Arial" panose="020B0604020202020204" pitchFamily="34" charset="0"/>
              </a:rPr>
              <a:t>SAGIA</a:t>
            </a:r>
            <a:r>
              <a:rPr lang="ja-JP" altLang="en-US" sz="1400" dirty="0">
                <a:cs typeface="Arial" panose="020B0604020202020204" pitchFamily="34" charset="0"/>
              </a:rPr>
              <a:t>）から外国投資ライセンス（</a:t>
            </a:r>
            <a:r>
              <a:rPr lang="en-US" altLang="ja-JP" sz="1400" dirty="0">
                <a:cs typeface="Arial" panose="020B0604020202020204" pitchFamily="34" charset="0"/>
              </a:rPr>
              <a:t>Foreign Investment License</a:t>
            </a:r>
            <a:r>
              <a:rPr lang="ja-JP" altLang="en-US" sz="1400" dirty="0">
                <a:cs typeface="Arial" panose="020B0604020202020204" pitchFamily="34" charset="0"/>
              </a:rPr>
              <a:t>）を取得する必要があるが、外国投資ライセンスの取得に関する手続きも簡略化された。</a:t>
            </a:r>
            <a:endParaRPr lang="en-US" altLang="ja-JP" sz="1400" dirty="0">
              <a:cs typeface="Arial" panose="020B0604020202020204" pitchFamily="34" charset="0"/>
            </a:endParaRPr>
          </a:p>
        </p:txBody>
      </p:sp>
      <p:sp>
        <p:nvSpPr>
          <p:cNvPr id="101" name="テキスト ボックス 100"/>
          <p:cNvSpPr txBox="1"/>
          <p:nvPr/>
        </p:nvSpPr>
        <p:spPr>
          <a:xfrm>
            <a:off x="200472" y="6525344"/>
            <a:ext cx="884287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JETRO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ONESDAY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http://www.jonesday.com/update-on-the-new-saudi-arabian-companies-law-and-sagia-announcements-09-13-2016/</a:t>
            </a:r>
            <a:r>
              <a:rPr lang="ja-JP" altLang="en-US" sz="800" dirty="0">
                <a:solidFill>
                  <a:srgbClr val="000000"/>
                </a:solidFill>
                <a:cs typeface="Arial" panose="020B0604020202020204" pitchFamily="34" charset="0"/>
              </a:rPr>
              <a:t>）</a:t>
            </a:r>
            <a:endParaRPr lang="ja-JP" altLang="ja-JP" sz="800" dirty="0">
              <a:solidFill>
                <a:srgbClr val="000000"/>
              </a:solidFill>
            </a:endParaRPr>
          </a:p>
        </p:txBody>
      </p:sp>
      <p:grpSp>
        <p:nvGrpSpPr>
          <p:cNvPr id="14" name="グループ化 7"/>
          <p:cNvGrpSpPr/>
          <p:nvPr/>
        </p:nvGrpSpPr>
        <p:grpSpPr>
          <a:xfrm>
            <a:off x="2828764" y="3861648"/>
            <a:ext cx="4176089" cy="288032"/>
            <a:chOff x="4944173" y="2113806"/>
            <a:chExt cx="5861371" cy="288032"/>
          </a:xfrm>
        </p:grpSpPr>
        <p:cxnSp>
          <p:nvCxnSpPr>
            <p:cNvPr id="15" name="直線コネクタ 1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投資ライセンスの取得の際に必要な提出書類</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7" name="表 16"/>
          <p:cNvGraphicFramePr>
            <a:graphicFrameLocks noGrp="1"/>
          </p:cNvGraphicFramePr>
          <p:nvPr/>
        </p:nvGraphicFramePr>
        <p:xfrm>
          <a:off x="2828764" y="4290005"/>
          <a:ext cx="4176089" cy="2019315"/>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投資に関する取締役会決議</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dirty="0">
                          <a:solidFill>
                            <a:schemeClr val="tx1"/>
                          </a:solidFill>
                        </a:rPr>
                        <a:t>商業登記証明書</a:t>
                      </a:r>
                      <a:endPar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950" b="0" dirty="0">
                          <a:solidFill>
                            <a:schemeClr val="tx1"/>
                          </a:solidFill>
                        </a:rPr>
                        <a:t>投資計画</a:t>
                      </a:r>
                      <a:endParaRPr kumimoji="0" lang="ja-JP" altLang="en-US" sz="95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財務能力を証明する書類</a:t>
                      </a:r>
                      <a:endParaRPr lang="en-US" altLang="ja-JP" sz="1000" b="0" dirty="0">
                        <a:solidFill>
                          <a:schemeClr val="tx1"/>
                        </a:solidFill>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サウジアラビアに駐在する責任者のパスポートの写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9299956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B94231-BC95-4B61-AAFF-2753B07DE7E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31B94231-BC95-4B61-AAFF-2753B07DE7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2404492573"/>
              </p:ext>
            </p:extLst>
          </p:nvPr>
        </p:nvGraphicFramePr>
        <p:xfrm>
          <a:off x="200025" y="980728"/>
          <a:ext cx="4500000" cy="525260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7805">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G20</a:t>
                      </a:r>
                      <a:r>
                        <a:rPr kumimoji="1" lang="ja-JP" altLang="en-US" sz="1200" b="0" kern="1200" dirty="0" err="1">
                          <a:solidFill>
                            <a:schemeClr val="tx1"/>
                          </a:solidFill>
                          <a:latin typeface="HGP創英角ｺﾞｼｯｸUB" panose="020B0900000000000000" pitchFamily="50" charset="-128"/>
                          <a:ea typeface="HGP創英角ｺﾞｼｯｸUB" panose="020B0900000000000000" pitchFamily="50" charset="-128"/>
                          <a:cs typeface="+mn-cs"/>
                        </a:rPr>
                        <a:t>での</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定量データ比較</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人口動態、および人口成長率・年齢別人口構成</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en-US" altLang="ja-JP" sz="1050" dirty="0">
                          <a:solidFill>
                            <a:schemeClr val="tx1"/>
                          </a:solidFill>
                        </a:rPr>
                        <a:t>GDP</a:t>
                      </a:r>
                      <a:r>
                        <a:rPr kumimoji="1" lang="ja-JP" altLang="en-US" sz="1050" dirty="0" err="1">
                          <a:solidFill>
                            <a:schemeClr val="tx1"/>
                          </a:solidFill>
                        </a:rPr>
                        <a:t>、</a:t>
                      </a:r>
                      <a:r>
                        <a:rPr kumimoji="1" lang="en-US" altLang="ja-JP" sz="1050" dirty="0">
                          <a:solidFill>
                            <a:schemeClr val="tx1"/>
                          </a:solidFill>
                        </a:rPr>
                        <a:t>GDP</a:t>
                      </a:r>
                      <a:r>
                        <a:rPr kumimoji="1" lang="ja-JP" altLang="en-US" sz="1050" dirty="0">
                          <a:solidFill>
                            <a:schemeClr val="tx1"/>
                          </a:solidFill>
                        </a:rPr>
                        <a:t>成長率、一人当たり</a:t>
                      </a:r>
                      <a:r>
                        <a:rPr kumimoji="1" lang="en-US" altLang="ja-JP" sz="1050" dirty="0">
                          <a:solidFill>
                            <a:schemeClr val="tx1"/>
                          </a:solidFill>
                        </a:rPr>
                        <a:t>GDP</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健康水準・医療水準を示す主な指標</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死亡要因</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597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医療費支出額（医療サービスの市場規模）、医療機器の市場</a:t>
                      </a:r>
                      <a:br>
                        <a:rPr kumimoji="1" lang="ja-JP" altLang="en-US" sz="1050" dirty="0">
                          <a:solidFill>
                            <a:schemeClr val="tx1"/>
                          </a:solidFill>
                        </a:rPr>
                      </a:br>
                      <a:r>
                        <a:rPr kumimoji="1" lang="ja-JP" altLang="en-US" sz="1050" dirty="0">
                          <a:solidFill>
                            <a:schemeClr val="tx1"/>
                          </a:solidFill>
                        </a:rPr>
                        <a:t>規模、医薬品の市場規模</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zh-CN" altLang="en-US" sz="1050" dirty="0">
                          <a:solidFill>
                            <a:schemeClr val="tx1"/>
                          </a:solidFill>
                        </a:rPr>
                        <a:t>医療機関数、病床数</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zh-CN" altLang="en-US" sz="1050" dirty="0">
                          <a:solidFill>
                            <a:schemeClr val="tx1"/>
                          </a:solidFill>
                        </a:rPr>
                        <a:t>医師数、看護師数、歯科医数、薬剤師数</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endParaRPr kumimoji="1" lang="ja-JP" altLang="en-US" sz="105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7805">
                <a:tc gridSpan="3">
                  <a:txBody>
                    <a:bodyPr/>
                    <a:lstStyle/>
                    <a:p>
                      <a:pPr marL="0" lvl="0" algn="l" defTabSz="914400" rtl="0" eaLnBrk="1" latinLnBrk="0" hangingPunct="1">
                        <a:lnSpc>
                          <a:spcPct val="85000"/>
                        </a:lnSpc>
                      </a:pP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一般概況</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基本情報</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dirty="0">
                          <a:solidFill>
                            <a:schemeClr val="tx1"/>
                          </a:solidFill>
                          <a:latin typeface="+mn-lt"/>
                          <a:ea typeface="+mj-ea"/>
                        </a:rPr>
                        <a:t>経済</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dirty="0">
                          <a:solidFill>
                            <a:schemeClr val="tx1"/>
                          </a:solidFill>
                          <a:latin typeface="+mn-lt"/>
                          <a:ea typeface="+mj-ea"/>
                        </a:rPr>
                        <a:t>人口動態、および人口成長率・年齢別人口構成</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3</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都市化率、上位</a:t>
                      </a:r>
                      <a:r>
                        <a:rPr kumimoji="1" lang="en-US" altLang="ja-JP" sz="1050" dirty="0">
                          <a:solidFill>
                            <a:schemeClr val="tx1"/>
                          </a:solidFill>
                          <a:latin typeface="+mn-lt"/>
                          <a:ea typeface="+mj-ea"/>
                        </a:rPr>
                        <a:t>5</a:t>
                      </a:r>
                      <a:r>
                        <a:rPr kumimoji="1" lang="ja-JP" altLang="en-US" sz="1050" dirty="0">
                          <a:solidFill>
                            <a:schemeClr val="tx1"/>
                          </a:solidFill>
                          <a:latin typeface="+mn-lt"/>
                          <a:ea typeface="+mj-ea"/>
                        </a:rPr>
                        <a:t>都市の人口</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4</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dirty="0">
                          <a:solidFill>
                            <a:schemeClr val="tx1"/>
                          </a:solidFill>
                          <a:latin typeface="+mn-lt"/>
                          <a:ea typeface="+mj-ea"/>
                        </a:rPr>
                        <a:t>GDP</a:t>
                      </a:r>
                      <a:r>
                        <a:rPr kumimoji="1" lang="ja-JP" altLang="en-US" sz="1050" dirty="0" err="1">
                          <a:solidFill>
                            <a:schemeClr val="tx1"/>
                          </a:solidFill>
                          <a:latin typeface="+mn-lt"/>
                          <a:ea typeface="+mj-ea"/>
                        </a:rPr>
                        <a:t>、</a:t>
                      </a:r>
                      <a:r>
                        <a:rPr kumimoji="1" lang="en-US" altLang="ja-JP" sz="1050" dirty="0">
                          <a:solidFill>
                            <a:schemeClr val="tx1"/>
                          </a:solidFill>
                          <a:latin typeface="+mn-lt"/>
                          <a:ea typeface="+mj-ea"/>
                        </a:rPr>
                        <a:t>GDP</a:t>
                      </a:r>
                      <a:r>
                        <a:rPr kumimoji="1" lang="ja-JP" altLang="en-US" sz="1050" dirty="0">
                          <a:solidFill>
                            <a:schemeClr val="tx1"/>
                          </a:solidFill>
                          <a:latin typeface="+mn-lt"/>
                          <a:ea typeface="+mj-ea"/>
                        </a:rPr>
                        <a:t>成長率、一人当たり</a:t>
                      </a:r>
                      <a:r>
                        <a:rPr kumimoji="1" lang="en-US" altLang="ja-JP" sz="1050" dirty="0">
                          <a:solidFill>
                            <a:schemeClr val="tx1"/>
                          </a:solidFill>
                          <a:latin typeface="+mn-lt"/>
                          <a:ea typeface="+mj-ea"/>
                        </a:rPr>
                        <a:t>GDP</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5</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mn-lt"/>
                          <a:ea typeface="+mj-ea"/>
                        </a:rPr>
                        <a:t>インフレ率・為替レート</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規制</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ea typeface="+mj-ea"/>
                        </a:rPr>
                        <a:t>外国投資法</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7</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会社法</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8</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zh-TW" altLang="en-US" sz="1050" dirty="0">
                          <a:solidFill>
                            <a:schemeClr val="tx1"/>
                          </a:solidFill>
                          <a:latin typeface="+mn-lt"/>
                          <a:ea typeface="+mj-ea"/>
                        </a:rPr>
                        <a:t>外貨持出規制</a:t>
                      </a: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1</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外国人就労規制（サウダイゼーション）</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生活</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インフラ事情</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3</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4213866353"/>
              </p:ext>
            </p:extLst>
          </p:nvPr>
        </p:nvGraphicFramePr>
        <p:xfrm>
          <a:off x="5205600" y="980728"/>
          <a:ext cx="4500000" cy="5458167"/>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6325">
                <a:tc gridSpan="3">
                  <a:txBody>
                    <a:bodyPr/>
                    <a:lstStyle/>
                    <a:p>
                      <a:pPr lvl="0">
                        <a:lnSpc>
                          <a:spcPct val="85000"/>
                        </a:lnSpc>
                      </a:pPr>
                      <a:r>
                        <a:rPr kumimoji="1" lang="ja-JP" altLang="en-US" sz="1200" b="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8</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819067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635774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医療費支払いプロセス</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診療価格</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従事者</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18000" marB="10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9</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96608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保険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民間保険会社</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196138"/>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保健に関する制度・行政体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8848">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医療施設開設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の認可に関する規制、手続き</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8</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薬価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臨床試験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ライセンス取得プロセス・教育水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師の育成政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4</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91077">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療情報・個人情報保護、データサーバーの置き場に関する法規制、ガイドライン</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9413600"/>
                  </a:ext>
                </a:extLst>
              </a:tr>
              <a:tr h="191077">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療情報・個人情報保護に関する法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0829915"/>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rPr>
                        <a:t>医療現場で使用される言語に関する情報</a:t>
                      </a:r>
                      <a:endParaRPr kumimoji="1" lang="en-US"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7518746"/>
                  </a:ext>
                </a:extLst>
              </a:tr>
            </a:tbl>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cxnSp>
        <p:nvCxnSpPr>
          <p:cNvPr id="8" name="Straight Connector 7">
            <a:extLst>
              <a:ext uri="{FF2B5EF4-FFF2-40B4-BE49-F238E27FC236}">
                <a16:creationId xmlns:a16="http://schemas.microsoft.com/office/drawing/2014/main" id="{6F3AAFED-E206-42AD-BAD3-C82AF2A50B68}"/>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57607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会社法（</a:t>
            </a:r>
            <a:r>
              <a:rPr lang="en-US" altLang="ja-JP" dirty="0"/>
              <a:t>2/3</a:t>
            </a:r>
            <a:r>
              <a:rPr lang="ja-JP" altLang="en-US" dirty="0"/>
              <a:t>）</a:t>
            </a:r>
          </a:p>
        </p:txBody>
      </p:sp>
      <p:sp>
        <p:nvSpPr>
          <p:cNvPr id="101" name="テキスト ボックス 100"/>
          <p:cNvSpPr txBox="1"/>
          <p:nvPr/>
        </p:nvSpPr>
        <p:spPr>
          <a:xfrm>
            <a:off x="200472" y="6597352"/>
            <a:ext cx="884287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JETRO HP</a:t>
            </a:r>
            <a:endParaRPr lang="ja-JP" altLang="ja-JP" sz="800" dirty="0">
              <a:solidFill>
                <a:srgbClr val="000000"/>
              </a:solidFill>
            </a:endParaRPr>
          </a:p>
        </p:txBody>
      </p:sp>
      <p:graphicFrame>
        <p:nvGraphicFramePr>
          <p:cNvPr id="108" name="表 107"/>
          <p:cNvGraphicFramePr>
            <a:graphicFrameLocks noGrp="1"/>
          </p:cNvGraphicFramePr>
          <p:nvPr>
            <p:extLst>
              <p:ext uri="{D42A27DB-BD31-4B8C-83A1-F6EECF244321}">
                <p14:modId xmlns:p14="http://schemas.microsoft.com/office/powerpoint/2010/main" val="1119013856"/>
              </p:ext>
            </p:extLst>
          </p:nvPr>
        </p:nvGraphicFramePr>
        <p:xfrm>
          <a:off x="200472" y="1340768"/>
          <a:ext cx="9505056" cy="5185155"/>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0000"/>
                    </a:ext>
                  </a:extLst>
                </a:gridCol>
                <a:gridCol w="8352928">
                  <a:extLst>
                    <a:ext uri="{9D8B030D-6E8A-4147-A177-3AD203B41FA5}">
                      <a16:colId xmlns:a16="http://schemas.microsoft.com/office/drawing/2014/main" val="20001"/>
                    </a:ext>
                  </a:extLst>
                </a:gridCol>
              </a:tblGrid>
              <a:tr h="174424">
                <a:tc>
                  <a:txBody>
                    <a:bodyPr/>
                    <a:lstStyle/>
                    <a:p>
                      <a:pPr marL="0" algn="ctr" defTabSz="955675" rtl="0" eaLnBrk="1" fontAlgn="ctr" latinLnBrk="0" hangingPunct="1">
                        <a:buClr>
                          <a:schemeClr val="bg2"/>
                        </a:buClr>
                        <a:buSzPct val="100000"/>
                      </a:pPr>
                      <a:r>
                        <a:rPr kumimoji="1" lang="ja-JP" altLang="en-US" sz="1100" b="0" kern="1200" dirty="0">
                          <a:solidFill>
                            <a:schemeClr val="lt1"/>
                          </a:solidFill>
                          <a:latin typeface="HGP創英角ｺﾞｼｯｸUB" pitchFamily="50" charset="-128"/>
                          <a:ea typeface="HGP創英角ｺﾞｼｯｸUB" pitchFamily="50" charset="-128"/>
                          <a:cs typeface="+mn-cs"/>
                        </a:rPr>
                        <a:t>会社形態</a:t>
                      </a:r>
                    </a:p>
                  </a:txBody>
                  <a:tcPr marT="0" marB="0"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100" b="0" dirty="0">
                          <a:latin typeface="HGP創英角ｺﾞｼｯｸUB" pitchFamily="50" charset="-128"/>
                          <a:ea typeface="HGP創英角ｺﾞｼｯｸUB" pitchFamily="50" charset="-128"/>
                        </a:rPr>
                        <a:t>要点</a:t>
                      </a:r>
                      <a:endParaRPr lang="zh-TW" altLang="en-US" sz="1100" b="0" dirty="0">
                        <a:latin typeface="HGP創英角ｺﾞｼｯｸUB" pitchFamily="50" charset="-128"/>
                        <a:ea typeface="HGP創英角ｺﾞｼｯｸUB" pitchFamily="50" charset="-128"/>
                      </a:endParaRPr>
                    </a:p>
                  </a:txBody>
                  <a:tcPr marT="0" marB="0"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324038">
                <a:tc>
                  <a:txBody>
                    <a:bodyPr/>
                    <a:lstStyle/>
                    <a:p>
                      <a:pPr algn="ctr" fontAlgn="ctr"/>
                      <a:r>
                        <a:rPr kumimoji="1" lang="ja-JP" altLang="en-US" sz="1200" b="1" dirty="0"/>
                        <a:t>有限会社</a:t>
                      </a:r>
                      <a:br>
                        <a:rPr kumimoji="1" lang="en-US" altLang="ja-JP" sz="1200" b="1" dirty="0"/>
                      </a:br>
                      <a:r>
                        <a:rPr kumimoji="1" lang="ja-JP" altLang="en-US" sz="1200" b="1" dirty="0"/>
                        <a:t>（</a:t>
                      </a:r>
                      <a:r>
                        <a:rPr kumimoji="1" lang="en-US" altLang="ja-JP" sz="1200" b="1" dirty="0"/>
                        <a:t>LCC</a:t>
                      </a:r>
                      <a:r>
                        <a:rPr kumimoji="1" lang="ja-JP" altLang="en-US" sz="1200" b="1" dirty="0"/>
                        <a:t>）</a:t>
                      </a:r>
                    </a:p>
                  </a:txBody>
                  <a:tcPr marT="0" marB="0"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人以上の出資者により設立が可能</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法定準備金が資本金の</a:t>
                      </a:r>
                      <a:r>
                        <a:rPr kumimoji="1" lang="en-US" altLang="ja-JP" sz="1050" kern="1200" dirty="0">
                          <a:solidFill>
                            <a:schemeClr val="tx1"/>
                          </a:solidFill>
                          <a:latin typeface="+mn-lt"/>
                          <a:ea typeface="+mn-ea"/>
                          <a:cs typeface="+mn-cs"/>
                        </a:rPr>
                        <a:t>30</a:t>
                      </a:r>
                      <a:r>
                        <a:rPr kumimoji="1" lang="ja-JP" altLang="en-US" sz="1050" kern="1200" dirty="0">
                          <a:solidFill>
                            <a:schemeClr val="tx1"/>
                          </a:solidFill>
                          <a:latin typeface="+mn-lt"/>
                          <a:ea typeface="+mn-ea"/>
                          <a:cs typeface="+mn-cs"/>
                        </a:rPr>
                        <a:t>％に達した場合は毎年の留保を中断することができる</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損失が資本金の</a:t>
                      </a:r>
                      <a:r>
                        <a:rPr kumimoji="1" lang="en-US" altLang="ja-JP" sz="1050" kern="1200" dirty="0">
                          <a:solidFill>
                            <a:schemeClr val="tx1"/>
                          </a:solidFill>
                          <a:latin typeface="+mn-lt"/>
                          <a:ea typeface="+mn-ea"/>
                          <a:cs typeface="+mn-cs"/>
                        </a:rPr>
                        <a:t>50</a:t>
                      </a:r>
                      <a:r>
                        <a:rPr kumimoji="1" lang="ja-JP" altLang="en-US" sz="1050" kern="1200" dirty="0">
                          <a:solidFill>
                            <a:schemeClr val="tx1"/>
                          </a:solidFill>
                          <a:latin typeface="+mn-lt"/>
                          <a:ea typeface="+mn-ea"/>
                          <a:cs typeface="+mn-cs"/>
                        </a:rPr>
                        <a:t>％を超えた際、経営責任者が会社の存続または解散を検討する臨時出資者総会の招集を、同損失確定後</a:t>
                      </a:r>
                      <a:r>
                        <a:rPr kumimoji="1" lang="en-US" altLang="ja-JP" sz="1050" kern="1200" dirty="0">
                          <a:solidFill>
                            <a:schemeClr val="tx1"/>
                          </a:solidFill>
                          <a:latin typeface="+mn-lt"/>
                          <a:ea typeface="+mn-ea"/>
                          <a:cs typeface="+mn-cs"/>
                        </a:rPr>
                        <a:t>90</a:t>
                      </a:r>
                      <a:r>
                        <a:rPr kumimoji="1" lang="ja-JP" altLang="en-US" sz="1050" kern="1200" dirty="0">
                          <a:solidFill>
                            <a:schemeClr val="tx1"/>
                          </a:solidFill>
                          <a:latin typeface="+mn-lt"/>
                          <a:ea typeface="+mn-ea"/>
                          <a:cs typeface="+mn-cs"/>
                        </a:rPr>
                        <a:t>日以内に行わなかった場合、法的に解散させられる</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出資者が</a:t>
                      </a:r>
                      <a:r>
                        <a:rPr kumimoji="1" lang="en-US" altLang="ja-JP" sz="1050" kern="1200" dirty="0">
                          <a:solidFill>
                            <a:schemeClr val="tx1"/>
                          </a:solidFill>
                          <a:latin typeface="+mn-lt"/>
                          <a:ea typeface="+mn-ea"/>
                          <a:cs typeface="+mn-cs"/>
                        </a:rPr>
                        <a:t>50</a:t>
                      </a:r>
                      <a:r>
                        <a:rPr kumimoji="1" lang="ja-JP" altLang="en-US" sz="1050" kern="1200" dirty="0">
                          <a:solidFill>
                            <a:schemeClr val="tx1"/>
                          </a:solidFill>
                          <a:latin typeface="+mn-lt"/>
                          <a:ea typeface="+mn-ea"/>
                          <a:cs typeface="+mn-cs"/>
                        </a:rPr>
                        <a:t>人を超えた際、</a:t>
                      </a: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年以内に株式会社に移行しなくてはならない。一定の条件を除き、期限内に株式会社へ移行されない場合は法的に解散させられる</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会社設立や定款の変更については、商工業省のウェブサイトへの掲載をもって、従来の官報などへの掲載に代えることができる</a:t>
                      </a: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727360">
                <a:tc>
                  <a:txBody>
                    <a:bodyPr/>
                    <a:lstStyle/>
                    <a:p>
                      <a:pPr algn="ctr" fontAlgn="ctr"/>
                      <a:r>
                        <a:rPr kumimoji="1" lang="zh-CN" altLang="en-US" sz="1200" b="1" dirty="0"/>
                        <a:t>株式会社</a:t>
                      </a:r>
                      <a:br>
                        <a:rPr kumimoji="1" lang="en-US" altLang="zh-CN" sz="1200" b="1" dirty="0"/>
                      </a:br>
                      <a:r>
                        <a:rPr kumimoji="1" lang="zh-CN" altLang="en-US" sz="1200" b="1" dirty="0"/>
                        <a:t>（</a:t>
                      </a:r>
                      <a:r>
                        <a:rPr kumimoji="1" lang="en-US" altLang="zh-CN" sz="1200" b="1" dirty="0"/>
                        <a:t>JSC</a:t>
                      </a:r>
                      <a:r>
                        <a:rPr kumimoji="1" lang="zh-CN" altLang="en-US" sz="1200" b="1" dirty="0"/>
                        <a:t>）</a:t>
                      </a:r>
                      <a:endParaRPr kumimoji="1" lang="ja-JP" altLang="en-US" sz="1200" b="1" dirty="0"/>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非公開型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JSC</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では、出資者</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で設立が可能（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ただし、政府ならびに政府</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保有の公的法人など、および資本金</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以上の企業について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の出資者による設立が認め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最低資本金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とす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法定準備金が資本金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3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に達した場合は毎年の留保を中断することができ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取締役会（</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Board of Directors</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の人数は最低</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3</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最大</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とする（旧会社法で規定されていた取締役に対する一定株式の保有条項については撤廃）</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株主総会（</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Stakeholders General Assembly Meeting</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へは近代的な技術を介した通信手段（テレビ会議を想定）による招集、出席が認め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スクーク（イスラム債）、優先株式、その他の債券の発行、自社株式を購入すること、同株式を抵当に入れることが認め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企業運営を監視するための監査委員会の設立が義務化さ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会長職と他の役員職の兼任は認められない</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損失が資本金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7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を超えた際に、経営責任者が会社の存続または解散を検討する臨時株主総会の招集を、同損失確定後</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9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日以内に行わなかった場合、法的に解散させ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株式当たりの価値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リヤルとす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リヤル）</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同一の外部監査役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会計年度連続で任命することができる。再任命はその後</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年間の間隔を空けることで認められる</a:t>
                      </a: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80562">
                <a:tc>
                  <a:txBody>
                    <a:bodyPr/>
                    <a:lstStyle/>
                    <a:p>
                      <a:pPr algn="ctr" fontAlgn="ctr"/>
                      <a:r>
                        <a:rPr kumimoji="1" lang="ja-JP" altLang="en-US" sz="1200" b="1" dirty="0"/>
                        <a:t>外国企業の</a:t>
                      </a:r>
                      <a:br>
                        <a:rPr kumimoji="1" lang="en-US" altLang="ja-JP" sz="1200" b="1" dirty="0"/>
                      </a:br>
                      <a:r>
                        <a:rPr kumimoji="1" lang="ja-JP" altLang="en-US" sz="1200" b="1" dirty="0"/>
                        <a:t>支店</a:t>
                      </a:r>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商工業省に対し、会計基準を満たし、かつ認可外部監査機関の監査を受けた財務諸表（</a:t>
                      </a:r>
                      <a:r>
                        <a:rPr kumimoji="1" lang="en-US" altLang="ja-JP" sz="1050" b="0" i="0" u="none" strike="noStrike" kern="1200" cap="none" spc="0" normalizeH="0" baseline="0" dirty="0">
                          <a:ln>
                            <a:noFill/>
                          </a:ln>
                          <a:solidFill>
                            <a:srgbClr val="000000"/>
                          </a:solidFill>
                          <a:effectLst/>
                          <a:uLnTx/>
                          <a:uFillTx/>
                          <a:latin typeface="+mn-lt"/>
                          <a:ea typeface="+mn-ea"/>
                          <a:cs typeface="+mn-cs"/>
                        </a:rPr>
                        <a:t>Financial Statement</a:t>
                      </a:r>
                      <a:r>
                        <a:rPr kumimoji="1" lang="ja-JP" altLang="en-US" sz="1050" b="0" i="0" u="none" strike="noStrike" kern="1200" cap="none" spc="0" normalizeH="0" baseline="0" dirty="0">
                          <a:ln>
                            <a:noFill/>
                          </a:ln>
                          <a:solidFill>
                            <a:srgbClr val="000000"/>
                          </a:solidFill>
                          <a:effectLst/>
                          <a:uLnTx/>
                          <a:uFillTx/>
                          <a:latin typeface="+mn-lt"/>
                          <a:ea typeface="+mn-ea"/>
                          <a:cs typeface="+mn-cs"/>
                        </a:rPr>
                        <a:t>）を会計年度終了後</a:t>
                      </a:r>
                      <a:r>
                        <a:rPr kumimoji="1" lang="en-US" altLang="ja-JP" sz="1050" b="0" i="0" u="none" strike="noStrike" kern="1200" cap="none" spc="0" normalizeH="0" baseline="0" dirty="0">
                          <a:ln>
                            <a:noFill/>
                          </a:ln>
                          <a:solidFill>
                            <a:srgbClr val="000000"/>
                          </a:solidFill>
                          <a:effectLst/>
                          <a:uLnTx/>
                          <a:uFillTx/>
                          <a:latin typeface="+mn-lt"/>
                          <a:ea typeface="+mn-ea"/>
                          <a:cs typeface="+mn-cs"/>
                        </a:rPr>
                        <a:t>6</a:t>
                      </a:r>
                      <a:r>
                        <a:rPr kumimoji="1" lang="ja-JP" altLang="en-US" sz="1050" b="0" i="0" u="none" strike="noStrike" kern="1200" cap="none" spc="0" normalizeH="0" baseline="0" dirty="0">
                          <a:ln>
                            <a:noFill/>
                          </a:ln>
                          <a:solidFill>
                            <a:srgbClr val="000000"/>
                          </a:solidFill>
                          <a:effectLst/>
                          <a:uLnTx/>
                          <a:uFillTx/>
                          <a:latin typeface="+mn-lt"/>
                          <a:ea typeface="+mn-ea"/>
                          <a:cs typeface="+mn-cs"/>
                        </a:rPr>
                        <a:t>ヵ月以内に提出しなくてはならない</a:t>
                      </a: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78771">
                <a:tc>
                  <a:txBody>
                    <a:bodyPr/>
                    <a:lstStyle/>
                    <a:p>
                      <a:pPr algn="ctr" fontAlgn="ctr"/>
                      <a:r>
                        <a:rPr kumimoji="1" lang="ja-JP" altLang="en-US" sz="1200" b="1" dirty="0"/>
                        <a:t>簡易株式会社</a:t>
                      </a:r>
                      <a:br>
                        <a:rPr kumimoji="1" lang="en-US" altLang="ja-JP" sz="1200" b="1" dirty="0"/>
                      </a:br>
                      <a:r>
                        <a:rPr kumimoji="1" lang="ja-JP" altLang="en-US" sz="1200" b="1" dirty="0"/>
                        <a:t>（</a:t>
                      </a:r>
                      <a:r>
                        <a:rPr kumimoji="1" lang="en-US" altLang="ja-JP" sz="1200" b="1" dirty="0"/>
                        <a:t>SJSC</a:t>
                      </a:r>
                      <a:r>
                        <a:rPr kumimoji="1" lang="ja-JP" altLang="en-US" sz="1200" b="1" dirty="0"/>
                        <a:t>）</a:t>
                      </a:r>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最低</a:t>
                      </a:r>
                      <a:r>
                        <a:rPr kumimoji="1" lang="en-US" altLang="ja-JP" sz="1050" b="0" i="0" u="none" strike="noStrike" kern="1200" cap="none" spc="0" normalizeH="0" baseline="0" dirty="0">
                          <a:ln>
                            <a:noFill/>
                          </a:ln>
                          <a:solidFill>
                            <a:srgbClr val="000000"/>
                          </a:solidFill>
                          <a:effectLst/>
                          <a:uLnTx/>
                          <a:uFillTx/>
                          <a:latin typeface="+mn-lt"/>
                          <a:ea typeface="+mn-ea"/>
                          <a:cs typeface="+mn-cs"/>
                        </a:rPr>
                        <a:t>1</a:t>
                      </a:r>
                      <a:r>
                        <a:rPr kumimoji="1" lang="ja-JP" altLang="en-US" sz="1050" b="0" i="0" u="none" strike="noStrike" kern="1200" cap="none" spc="0" normalizeH="0" baseline="0" dirty="0">
                          <a:ln>
                            <a:noFill/>
                          </a:ln>
                          <a:solidFill>
                            <a:srgbClr val="000000"/>
                          </a:solidFill>
                          <a:effectLst/>
                          <a:uLnTx/>
                          <a:uFillTx/>
                          <a:latin typeface="+mn-lt"/>
                          <a:ea typeface="+mn-ea"/>
                          <a:cs typeface="+mn-cs"/>
                        </a:rPr>
                        <a:t>人での法人設立が可能</a:t>
                      </a:r>
                      <a:endParaRPr kumimoji="1" lang="en-US" altLang="ja-JP" sz="105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複数の種類株式の発行が可能</a:t>
                      </a:r>
                      <a:endParaRPr kumimoji="1" lang="en-US" altLang="ja-JP" sz="105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統治に関して、</a:t>
                      </a:r>
                      <a:r>
                        <a:rPr kumimoji="1" lang="en-US" altLang="ja-JP" sz="1050" b="0" i="0" u="none" strike="noStrike" kern="1200" cap="none" spc="0" normalizeH="0" baseline="0" dirty="0">
                          <a:ln>
                            <a:noFill/>
                          </a:ln>
                          <a:solidFill>
                            <a:srgbClr val="000000"/>
                          </a:solidFill>
                          <a:effectLst/>
                          <a:uLnTx/>
                          <a:uFillTx/>
                          <a:latin typeface="+mn-lt"/>
                          <a:ea typeface="+mn-ea"/>
                          <a:cs typeface="+mn-cs"/>
                        </a:rPr>
                        <a:t>1</a:t>
                      </a:r>
                      <a:r>
                        <a:rPr kumimoji="1" lang="ja-JP" altLang="en-US" sz="1050" b="0" i="0" u="none" strike="noStrike" kern="1200" cap="none" spc="0" normalizeH="0" baseline="0" dirty="0">
                          <a:ln>
                            <a:noFill/>
                          </a:ln>
                          <a:solidFill>
                            <a:srgbClr val="000000"/>
                          </a:solidFill>
                          <a:effectLst/>
                          <a:uLnTx/>
                          <a:uFillTx/>
                          <a:latin typeface="+mn-lt"/>
                          <a:ea typeface="+mn-ea"/>
                          <a:cs typeface="+mn-cs"/>
                        </a:rPr>
                        <a:t>人や複数人、または取締役会によるものなどの選択肢を有する</a:t>
                      </a:r>
                      <a:endParaRPr kumimoji="1" lang="en-US" altLang="ja-JP" sz="1050" b="0" i="0" u="none" strike="noStrike" kern="1200" cap="none" spc="0" normalizeH="0" baseline="0" dirty="0">
                        <a:ln>
                          <a:noFill/>
                        </a:ln>
                        <a:solidFill>
                          <a:srgbClr val="000000"/>
                        </a:solidFill>
                        <a:effectLst/>
                        <a:uLnTx/>
                        <a:uFillTx/>
                        <a:latin typeface="+mn-lt"/>
                        <a:ea typeface="+mn-ea"/>
                        <a:cs typeface="+mn-cs"/>
                      </a:endParaRP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7381146"/>
                  </a:ext>
                </a:extLst>
              </a:tr>
            </a:tbl>
          </a:graphicData>
        </a:graphic>
      </p:graphicFrame>
      <p:sp>
        <p:nvSpPr>
          <p:cNvPr id="111" name="Rectangle 6"/>
          <p:cNvSpPr>
            <a:spLocks noChangeArrowheads="1"/>
          </p:cNvSpPr>
          <p:nvPr/>
        </p:nvSpPr>
        <p:spPr bwMode="auto">
          <a:xfrm>
            <a:off x="200472" y="1052736"/>
            <a:ext cx="928903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会社法における会社形態別の要点</a:t>
            </a:r>
            <a:endParaRPr lang="zh-TW" altLang="en-US" sz="1400" dirty="0">
              <a:solidFill>
                <a:srgbClr val="000000"/>
              </a:solidFill>
              <a:latin typeface="Arial Black" pitchFamily="34" charset="0"/>
              <a:ea typeface="HGP創英角ｺﾞｼｯｸUB" pitchFamily="50" charset="-128"/>
            </a:endParaRPr>
          </a:p>
        </p:txBody>
      </p:sp>
      <p:sp>
        <p:nvSpPr>
          <p:cNvPr id="12" name="正方形/長方形 10"/>
          <p:cNvSpPr/>
          <p:nvPr/>
        </p:nvSpPr>
        <p:spPr>
          <a:xfrm>
            <a:off x="7113240" y="6597352"/>
            <a:ext cx="2592286" cy="215444"/>
          </a:xfrm>
          <a:prstGeom prst="rect">
            <a:avLst/>
          </a:prstGeom>
        </p:spPr>
        <p:txBody>
          <a:bodyPr wrap="square">
            <a:spAutoFit/>
          </a:bodyPr>
          <a:lstStyle/>
          <a:p>
            <a:r>
              <a:rPr lang="en-US" altLang="ja-JP" sz="800" dirty="0"/>
              <a:t>1</a:t>
            </a:r>
            <a:r>
              <a:rPr lang="ja-JP" altLang="en-US" sz="800" dirty="0"/>
              <a:t>リヤル ＝　</a:t>
            </a:r>
            <a:r>
              <a:rPr lang="en-US" altLang="ja-JP" sz="800" dirty="0"/>
              <a:t>40.22</a:t>
            </a:r>
            <a:r>
              <a:rPr lang="ja-JP" altLang="en-US" sz="800" dirty="0"/>
              <a:t>円　（</a:t>
            </a:r>
            <a:r>
              <a:rPr lang="en-US" altLang="ja-JP" sz="800" dirty="0"/>
              <a:t>2024</a:t>
            </a:r>
            <a:r>
              <a:rPr lang="ja-JP" altLang="en-US" sz="800" dirty="0"/>
              <a:t>年</a:t>
            </a:r>
            <a:r>
              <a:rPr lang="en-US" altLang="ja-JP" sz="800" dirty="0"/>
              <a:t>3</a:t>
            </a:r>
            <a:r>
              <a:rPr lang="ja-JP" altLang="en-US" sz="800" dirty="0"/>
              <a:t>月</a:t>
            </a:r>
            <a:r>
              <a:rPr lang="en-US" altLang="ja-JP" sz="800" dirty="0"/>
              <a:t>21</a:t>
            </a:r>
            <a:r>
              <a:rPr lang="ja-JP" altLang="en-US" sz="800" dirty="0"/>
              <a:t>日時点 仲値）</a:t>
            </a:r>
          </a:p>
        </p:txBody>
      </p:sp>
    </p:spTree>
    <p:extLst>
      <p:ext uri="{BB962C8B-B14F-4D97-AF65-F5344CB8AC3E}">
        <p14:creationId xmlns:p14="http://schemas.microsoft.com/office/powerpoint/2010/main" val="2857715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A8E9A4-82F6-47E2-9E14-0E852E3EC6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8" name="Object 7" hidden="1">
                        <a:extLst>
                          <a:ext uri="{FF2B5EF4-FFF2-40B4-BE49-F238E27FC236}">
                            <a16:creationId xmlns:a16="http://schemas.microsoft.com/office/drawing/2014/main" id="{2AA8E9A4-82F6-47E2-9E14-0E852E3EC6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zh-CN" altLang="en-US" dirty="0"/>
              <a:t>会社法（</a:t>
            </a:r>
            <a:r>
              <a:rPr lang="en-US" altLang="ja-JP" dirty="0"/>
              <a:t>3/3</a:t>
            </a:r>
            <a:r>
              <a:rPr lang="ja-JP" altLang="en-US" dirty="0"/>
              <a:t> </a:t>
            </a:r>
            <a:r>
              <a:rPr lang="zh-CN" altLang="en-US" dirty="0"/>
              <a:t>税制）</a:t>
            </a:r>
          </a:p>
        </p:txBody>
      </p:sp>
      <p:sp>
        <p:nvSpPr>
          <p:cNvPr id="7" name="片側の 2 つの角を丸めた四角形 6"/>
          <p:cNvSpPr/>
          <p:nvPr/>
        </p:nvSpPr>
        <p:spPr>
          <a:xfrm>
            <a:off x="344488" y="2204864"/>
            <a:ext cx="4464496" cy="2232000"/>
          </a:xfrm>
          <a:prstGeom prst="round2SameRect">
            <a:avLst>
              <a:gd name="adj1" fmla="val 0"/>
              <a:gd name="adj2" fmla="val 9158"/>
            </a:avLst>
          </a:prstGeom>
          <a:solidFill>
            <a:srgbClr val="DDE6F3"/>
          </a:solidFill>
        </p:spPr>
        <p:txBody>
          <a:bodyPr wrap="square"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30" name="片側の 2 つの角を丸めた四角形 29"/>
          <p:cNvSpPr/>
          <p:nvPr/>
        </p:nvSpPr>
        <p:spPr>
          <a:xfrm>
            <a:off x="5097016" y="2204864"/>
            <a:ext cx="4464496" cy="2232000"/>
          </a:xfrm>
          <a:prstGeom prst="round2SameRect">
            <a:avLst>
              <a:gd name="adj1" fmla="val 0"/>
              <a:gd name="adj2" fmla="val 9158"/>
            </a:avLst>
          </a:prstGeom>
          <a:solidFill>
            <a:srgbClr val="DDE6F3"/>
          </a:solidFill>
        </p:spPr>
        <p:txBody>
          <a:bodyPr wrap="square" lIns="144000" rIns="0"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39" name="テキスト ボックス 3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外国企業（外国資本）に係る法人税は、</a:t>
            </a:r>
            <a:r>
              <a:rPr lang="en-US" altLang="ja-JP" sz="1400" dirty="0">
                <a:solidFill>
                  <a:srgbClr val="000000"/>
                </a:solidFill>
                <a:cs typeface="Arial" panose="020B0604020202020204" pitchFamily="34" charset="0"/>
              </a:rPr>
              <a:t>20%</a:t>
            </a:r>
            <a:r>
              <a:rPr lang="ja-JP" altLang="en-US" sz="1400" dirty="0">
                <a:solidFill>
                  <a:srgbClr val="000000"/>
                </a:solidFill>
                <a:cs typeface="Arial" panose="020B0604020202020204" pitchFamily="34" charset="0"/>
              </a:rPr>
              <a:t>である。欠損は次年度以降に繰り越すことができ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個人所得税はないが、</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の付加価値税（</a:t>
            </a:r>
            <a:r>
              <a:rPr lang="en-US" altLang="ja-JP" sz="1400" dirty="0">
                <a:solidFill>
                  <a:srgbClr val="000000"/>
                </a:solidFill>
                <a:cs typeface="Arial" panose="020B0604020202020204" pitchFamily="34" charset="0"/>
              </a:rPr>
              <a:t>VAT</a:t>
            </a:r>
            <a:r>
              <a:rPr lang="ja-JP" altLang="en-US" sz="1400" dirty="0">
                <a:solidFill>
                  <a:srgbClr val="000000"/>
                </a:solidFill>
                <a:cs typeface="Arial" panose="020B0604020202020204" pitchFamily="34" charset="0"/>
              </a:rPr>
              <a:t>）が</a:t>
            </a:r>
            <a:r>
              <a:rPr lang="en-US" altLang="ja-JP" sz="1400" dirty="0">
                <a:solidFill>
                  <a:srgbClr val="000000"/>
                </a:solidFill>
                <a:cs typeface="Arial" panose="020B0604020202020204" pitchFamily="34" charset="0"/>
              </a:rPr>
              <a:t>2018</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1</a:t>
            </a:r>
            <a:r>
              <a:rPr lang="ja-JP" altLang="en-US" sz="1400" dirty="0">
                <a:solidFill>
                  <a:srgbClr val="000000"/>
                </a:solidFill>
                <a:cs typeface="Arial" panose="020B0604020202020204" pitchFamily="34" charset="0"/>
              </a:rPr>
              <a:t>月</a:t>
            </a:r>
            <a:r>
              <a:rPr lang="en-US" altLang="ja-JP" sz="1400" dirty="0">
                <a:solidFill>
                  <a:srgbClr val="000000"/>
                </a:solidFill>
                <a:cs typeface="Arial" panose="020B0604020202020204" pitchFamily="34" charset="0"/>
              </a:rPr>
              <a:t>1</a:t>
            </a:r>
            <a:r>
              <a:rPr lang="ja-JP" altLang="en-US" sz="1400" dirty="0">
                <a:solidFill>
                  <a:srgbClr val="000000"/>
                </a:solidFill>
                <a:cs typeface="Arial" panose="020B0604020202020204" pitchFamily="34" charset="0"/>
              </a:rPr>
              <a:t>日から導入され、</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7</a:t>
            </a:r>
            <a:r>
              <a:rPr lang="ja-JP" altLang="en-US" sz="1400" dirty="0">
                <a:solidFill>
                  <a:srgbClr val="000000"/>
                </a:solidFill>
                <a:cs typeface="Arial" panose="020B0604020202020204" pitchFamily="34" charset="0"/>
              </a:rPr>
              <a:t>月より</a:t>
            </a:r>
            <a:r>
              <a:rPr lang="en-US" altLang="ja-JP" sz="1400" dirty="0">
                <a:solidFill>
                  <a:srgbClr val="000000"/>
                </a:solidFill>
                <a:cs typeface="Arial" panose="020B0604020202020204" pitchFamily="34" charset="0"/>
              </a:rPr>
              <a:t>15</a:t>
            </a:r>
            <a:r>
              <a:rPr lang="ja-JP" altLang="en-US" sz="1400" dirty="0">
                <a:solidFill>
                  <a:srgbClr val="000000"/>
                </a:solidFill>
                <a:cs typeface="Arial" panose="020B0604020202020204" pitchFamily="34" charset="0"/>
              </a:rPr>
              <a:t>％に引き上げられた。</a:t>
            </a:r>
            <a:endParaRPr lang="en-US" altLang="ja-JP" sz="1400" dirty="0">
              <a:solidFill>
                <a:srgbClr val="000000"/>
              </a:solidFill>
              <a:cs typeface="Arial" panose="020B0604020202020204" pitchFamily="34" charset="0"/>
            </a:endParaRPr>
          </a:p>
        </p:txBody>
      </p:sp>
      <p:sp>
        <p:nvSpPr>
          <p:cNvPr id="40" name="テキスト ボックス 3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en-US" altLang="ja-JP" sz="800" dirty="0">
                <a:solidFill>
                  <a:srgbClr val="000000"/>
                </a:solidFill>
              </a:rPr>
              <a:t>JETRO</a:t>
            </a:r>
            <a:r>
              <a:rPr lang="ja-JP" altLang="en-US" sz="800" dirty="0">
                <a:solidFill>
                  <a:srgbClr val="000000"/>
                </a:solidFill>
              </a:rPr>
              <a:t> </a:t>
            </a:r>
            <a:r>
              <a:rPr kumimoji="0" lang="en-US" altLang="ja-JP" sz="800" dirty="0" bmk="">
                <a:solidFill>
                  <a:srgbClr val="000000"/>
                </a:solidFill>
              </a:rPr>
              <a:t>HP</a:t>
            </a:r>
            <a:endParaRPr lang="ja-JP" altLang="ja-JP" sz="800" dirty="0">
              <a:solidFill>
                <a:srgbClr val="000000"/>
              </a:solidFill>
            </a:endParaRPr>
          </a:p>
        </p:txBody>
      </p:sp>
      <p:sp>
        <p:nvSpPr>
          <p:cNvPr id="4" name="正方形/長方形 3"/>
          <p:cNvSpPr/>
          <p:nvPr/>
        </p:nvSpPr>
        <p:spPr>
          <a:xfrm>
            <a:off x="344488" y="1844824"/>
            <a:ext cx="360040" cy="360040"/>
          </a:xfrm>
          <a:prstGeom prst="rect">
            <a:avLst/>
          </a:prstGeom>
          <a:solidFill>
            <a:srgbClr val="002060"/>
          </a:solidFill>
        </p:spPr>
        <p:txBody>
          <a:bodyPr wrap="square" rtlCol="0" anchor="ctr">
            <a:noAutofit/>
          </a:bodyPr>
          <a:lstStyle/>
          <a:p>
            <a:pPr algn="ctr" fontAlgn="ctr"/>
            <a:r>
              <a:rPr lang="en-US" altLang="ja-JP" dirty="0">
                <a:solidFill>
                  <a:srgbClr val="FFFFFF"/>
                </a:solidFill>
                <a:latin typeface="Arial Black" panose="020B0A04020102020204" pitchFamily="34" charset="0"/>
                <a:cs typeface="Arial" panose="020B0604020202020204" pitchFamily="34" charset="0"/>
              </a:rPr>
              <a:t>1</a:t>
            </a:r>
            <a:endParaRPr lang="ja-JP" altLang="en-US" dirty="0">
              <a:solidFill>
                <a:srgbClr val="FFFFFF"/>
              </a:solidFill>
              <a:latin typeface="Arial Black" panose="020B0A04020102020204" pitchFamily="34" charset="0"/>
              <a:cs typeface="Arial" panose="020B0604020202020204" pitchFamily="34" charset="0"/>
            </a:endParaRPr>
          </a:p>
        </p:txBody>
      </p:sp>
      <p:sp>
        <p:nvSpPr>
          <p:cNvPr id="35" name="正方形/長方形 34"/>
          <p:cNvSpPr/>
          <p:nvPr/>
        </p:nvSpPr>
        <p:spPr>
          <a:xfrm>
            <a:off x="5097016" y="1844824"/>
            <a:ext cx="360040" cy="360040"/>
          </a:xfrm>
          <a:prstGeom prst="rect">
            <a:avLst/>
          </a:prstGeom>
          <a:solidFill>
            <a:srgbClr val="002060"/>
          </a:solidFill>
        </p:spPr>
        <p:txBody>
          <a:bodyPr wrap="square" rtlCol="0" anchor="ctr">
            <a:noAutofit/>
          </a:bodyPr>
          <a:lstStyle/>
          <a:p>
            <a:pPr algn="ctr" fontAlgn="ctr"/>
            <a:r>
              <a:rPr lang="en-US" altLang="ja-JP" dirty="0">
                <a:solidFill>
                  <a:srgbClr val="FFFFFF"/>
                </a:solidFill>
                <a:latin typeface="Arial Black" panose="020B0A04020102020204" pitchFamily="34" charset="0"/>
                <a:cs typeface="Arial" panose="020B0604020202020204" pitchFamily="34" charset="0"/>
              </a:rPr>
              <a:t>2</a:t>
            </a:r>
            <a:endParaRPr lang="ja-JP" altLang="en-US" dirty="0">
              <a:solidFill>
                <a:srgbClr val="FFFFFF"/>
              </a:solidFill>
              <a:latin typeface="Arial Black" panose="020B0A04020102020204" pitchFamily="34" charset="0"/>
              <a:cs typeface="Arial" panose="020B0604020202020204" pitchFamily="34" charset="0"/>
            </a:endParaRPr>
          </a:p>
        </p:txBody>
      </p:sp>
      <p:sp>
        <p:nvSpPr>
          <p:cNvPr id="6" name="1 つの角を丸めた四角形 5"/>
          <p:cNvSpPr/>
          <p:nvPr/>
        </p:nvSpPr>
        <p:spPr>
          <a:xfrm>
            <a:off x="5458316" y="184482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ザカート（喜捨税）</a:t>
            </a:r>
            <a:endParaRPr lang="ja-JP" altLang="ja-JP" sz="1400" dirty="0">
              <a:solidFill>
                <a:srgbClr val="FFFFFF"/>
              </a:solidFill>
              <a:latin typeface="HGP創英角ｺﾞｼｯｸUB" panose="020B0900000000000000" pitchFamily="50" charset="-128"/>
              <a:ea typeface="HGP創英角ｺﾞｼｯｸUB" panose="020B0900000000000000" pitchFamily="50" charset="-128"/>
            </a:endParaRPr>
          </a:p>
        </p:txBody>
      </p:sp>
      <p:sp>
        <p:nvSpPr>
          <p:cNvPr id="9" name="正方形/長方形 8"/>
          <p:cNvSpPr/>
          <p:nvPr/>
        </p:nvSpPr>
        <p:spPr>
          <a:xfrm>
            <a:off x="5241032" y="2276872"/>
            <a:ext cx="4174370" cy="1677382"/>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サウジアラビアを含む</a:t>
            </a:r>
            <a:r>
              <a:rPr lang="en-US" altLang="ja-JP" sz="1400" b="1" dirty="0">
                <a:solidFill>
                  <a:srgbClr val="000000"/>
                </a:solidFill>
                <a:cs typeface="Arial" panose="020B0604020202020204" pitchFamily="34" charset="0"/>
              </a:rPr>
              <a:t>GCC</a:t>
            </a:r>
            <a:r>
              <a:rPr lang="ja-JP" altLang="en-US" sz="1400" b="1" dirty="0">
                <a:solidFill>
                  <a:srgbClr val="000000"/>
                </a:solidFill>
                <a:cs typeface="Arial" panose="020B0604020202020204" pitchFamily="34" charset="0"/>
              </a:rPr>
              <a:t>諸国の企業（地場企業）に対しては、ザカートと呼ばれる喜捨税が課せられる。</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ザカートは一般的には</a:t>
            </a:r>
            <a:r>
              <a:rPr lang="en-US" altLang="ja-JP" sz="1400" b="1" dirty="0">
                <a:solidFill>
                  <a:srgbClr val="000000"/>
                </a:solidFill>
                <a:cs typeface="Arial" panose="020B0604020202020204" pitchFamily="34" charset="0"/>
              </a:rPr>
              <a:t>2.5</a:t>
            </a:r>
            <a:r>
              <a:rPr lang="ja-JP" altLang="en-US" sz="1400" b="1" dirty="0">
                <a:solidFill>
                  <a:srgbClr val="000000"/>
                </a:solidFill>
                <a:cs typeface="Arial" panose="020B0604020202020204" pitchFamily="34" charset="0"/>
              </a:rPr>
              <a:t>％程度の税率といわれているが、その計算式は複雑であり、当該年の利益だけではなく、自己資本や剰余金・準備金など、その他の要素も考慮して算出される。</a:t>
            </a:r>
          </a:p>
        </p:txBody>
      </p:sp>
      <p:sp>
        <p:nvSpPr>
          <p:cNvPr id="15" name="1 つの角を丸めた四角形 14"/>
          <p:cNvSpPr/>
          <p:nvPr/>
        </p:nvSpPr>
        <p:spPr>
          <a:xfrm>
            <a:off x="704528" y="184482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法人所得税（外国企業）</a:t>
            </a:r>
          </a:p>
        </p:txBody>
      </p:sp>
      <p:sp>
        <p:nvSpPr>
          <p:cNvPr id="17" name="正方形/長方形 16"/>
          <p:cNvSpPr/>
          <p:nvPr/>
        </p:nvSpPr>
        <p:spPr>
          <a:xfrm>
            <a:off x="488504" y="2276872"/>
            <a:ext cx="4176464" cy="2185214"/>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外国企業に係る法人所得税は、</a:t>
            </a:r>
            <a:r>
              <a:rPr lang="en-US" altLang="ja-JP" sz="1400" b="1" dirty="0">
                <a:solidFill>
                  <a:srgbClr val="000000"/>
                </a:solidFill>
                <a:cs typeface="Arial" panose="020B0604020202020204" pitchFamily="34" charset="0"/>
              </a:rPr>
              <a:t>20%</a:t>
            </a:r>
            <a:r>
              <a:rPr lang="ja-JP" altLang="en-US" sz="1400" b="1" dirty="0">
                <a:solidFill>
                  <a:srgbClr val="000000"/>
                </a:solidFill>
                <a:cs typeface="Arial" panose="020B0604020202020204" pitchFamily="34" charset="0"/>
              </a:rPr>
              <a:t>である。</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課税対象所得は、事業活動の実施により生じる収入、報酬、利益であり、キャピタル・ゲインを含む臨時収入もこれに含まれる。 </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外国企業と地場企業で合弁企業を設立した場合には、利益の合計のうち、外国企業の持ち分に対して</a:t>
            </a:r>
            <a:r>
              <a:rPr lang="en-US" altLang="ja-JP" sz="1400" b="1" dirty="0">
                <a:solidFill>
                  <a:srgbClr val="000000"/>
                </a:solidFill>
                <a:cs typeface="Arial" panose="020B0604020202020204" pitchFamily="34" charset="0"/>
              </a:rPr>
              <a:t>20</a:t>
            </a:r>
            <a:r>
              <a:rPr lang="ja-JP" altLang="en-US" sz="1400" b="1" dirty="0">
                <a:solidFill>
                  <a:srgbClr val="000000"/>
                </a:solidFill>
                <a:cs typeface="Arial" panose="020B0604020202020204" pitchFamily="34" charset="0"/>
              </a:rPr>
              <a:t>％の法人所得税、地場企業の持ち分に対してザカートが課せられ、合計額が該当の合弁企業の法人所得税となる。</a:t>
            </a:r>
          </a:p>
        </p:txBody>
      </p:sp>
      <p:sp>
        <p:nvSpPr>
          <p:cNvPr id="51" name="円/楕円 50"/>
          <p:cNvSpPr/>
          <p:nvPr/>
        </p:nvSpPr>
        <p:spPr>
          <a:xfrm>
            <a:off x="0" y="4471526"/>
            <a:ext cx="2057128" cy="690160"/>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endPar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2" name="正方形/長方形 51"/>
          <p:cNvSpPr/>
          <p:nvPr/>
        </p:nvSpPr>
        <p:spPr>
          <a:xfrm>
            <a:off x="200472" y="4437112"/>
            <a:ext cx="2088232" cy="758989"/>
          </a:xfrm>
          <a:prstGeom prst="rect">
            <a:avLst/>
          </a:prstGeom>
        </p:spPr>
        <p:txBody>
          <a:bodyPr anchor="ctr" anchorCtr="0">
            <a:noAutofit/>
          </a:bodyPr>
          <a:lstStyle/>
          <a:p>
            <a:r>
              <a:rPr lang="zh-CN" altLang="en-US" sz="1600" dirty="0">
                <a:solidFill>
                  <a:srgbClr val="000000"/>
                </a:solidFill>
                <a:latin typeface="HGP創英角ｺﾞｼｯｸUB" panose="020B0900000000000000" pitchFamily="50" charset="-128"/>
                <a:ea typeface="HGP創英角ｺﾞｼｯｸUB" panose="020B0900000000000000" pitchFamily="50" charset="-128"/>
              </a:rPr>
              <a:t>二国間租税条約</a:t>
            </a:r>
            <a:endParaRPr lang="ja-JP" altLang="en-US" sz="1600"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53" name="テキスト ボックス 52"/>
          <p:cNvSpPr txBox="1"/>
          <p:nvPr/>
        </p:nvSpPr>
        <p:spPr>
          <a:xfrm>
            <a:off x="272478" y="4941168"/>
            <a:ext cx="9421175" cy="1656184"/>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200" dirty="0">
                <a:solidFill>
                  <a:srgbClr val="000000"/>
                </a:solidFill>
                <a:cs typeface="Arial" panose="020B0604020202020204" pitchFamily="34" charset="0"/>
              </a:rPr>
              <a:t>日本とは、</a:t>
            </a:r>
            <a:r>
              <a:rPr lang="en-US" altLang="ja-JP" sz="1200" dirty="0">
                <a:solidFill>
                  <a:srgbClr val="000000"/>
                </a:solidFill>
                <a:cs typeface="Arial" panose="020B0604020202020204" pitchFamily="34" charset="0"/>
              </a:rPr>
              <a:t>2011</a:t>
            </a:r>
            <a:r>
              <a:rPr lang="ja-JP" altLang="en-US" sz="1200" dirty="0">
                <a:solidFill>
                  <a:srgbClr val="000000"/>
                </a:solidFill>
                <a:cs typeface="Arial" panose="020B0604020202020204" pitchFamily="34" charset="0"/>
              </a:rPr>
              <a:t>年</a:t>
            </a:r>
            <a:r>
              <a:rPr lang="en-US" altLang="ja-JP" sz="1200" dirty="0">
                <a:solidFill>
                  <a:srgbClr val="000000"/>
                </a:solidFill>
                <a:cs typeface="Arial" panose="020B0604020202020204" pitchFamily="34" charset="0"/>
              </a:rPr>
              <a:t>9</a:t>
            </a:r>
            <a:r>
              <a:rPr lang="ja-JP" altLang="en-US" sz="1200" dirty="0">
                <a:solidFill>
                  <a:srgbClr val="000000"/>
                </a:solidFill>
                <a:cs typeface="Arial" panose="020B0604020202020204" pitchFamily="34" charset="0"/>
              </a:rPr>
              <a:t>月に、二国間二重課税防止条約が発効し、</a:t>
            </a:r>
            <a:r>
              <a:rPr lang="en-US" altLang="ja-JP" sz="1200" dirty="0">
                <a:solidFill>
                  <a:srgbClr val="000000"/>
                </a:solidFill>
                <a:cs typeface="Arial" panose="020B0604020202020204" pitchFamily="34" charset="0"/>
              </a:rPr>
              <a:t>2012</a:t>
            </a:r>
            <a:r>
              <a:rPr lang="ja-JP" altLang="en-US" sz="1200" dirty="0">
                <a:solidFill>
                  <a:srgbClr val="000000"/>
                </a:solidFill>
                <a:cs typeface="Arial" panose="020B0604020202020204" pitchFamily="34" charset="0"/>
              </a:rPr>
              <a:t>年</a:t>
            </a:r>
            <a:r>
              <a:rPr lang="en-US" altLang="ja-JP" sz="1200" dirty="0">
                <a:solidFill>
                  <a:srgbClr val="000000"/>
                </a:solidFill>
                <a:cs typeface="Arial" panose="020B0604020202020204" pitchFamily="34" charset="0"/>
              </a:rPr>
              <a:t>1</a:t>
            </a:r>
            <a:r>
              <a:rPr lang="ja-JP" altLang="en-US" sz="1200" dirty="0">
                <a:solidFill>
                  <a:srgbClr val="000000"/>
                </a:solidFill>
                <a:cs typeface="Arial" panose="020B0604020202020204" pitchFamily="34" charset="0"/>
              </a:rPr>
              <a:t>月以降の二重課税分については、ザカート・所得税局に対して還付申請が行えることとなった。</a:t>
            </a:r>
            <a:endParaRPr lang="en-US" altLang="ja-JP" sz="1200" dirty="0">
              <a:solidFill>
                <a:srgbClr val="000000"/>
              </a:solidFill>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200" dirty="0">
                <a:solidFill>
                  <a:srgbClr val="000000"/>
                </a:solidFill>
                <a:cs typeface="Arial" panose="020B0604020202020204" pitchFamily="34" charset="0"/>
              </a:rPr>
              <a:t>ザカート・所得税局によれば、日本企業がサウジアラビアにおける二重課税額の還付を要求する場合には、請求権者（日本企業）は、以下の必要書類等を添付し、ザカート・所得税局に対して、過払い額の返還請求状を提出することができる。</a:t>
            </a:r>
            <a:endParaRPr lang="en-US" altLang="ja-JP" sz="120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a:t>
            </a:r>
            <a:r>
              <a:rPr lang="en-US" altLang="ja-JP" sz="1050" dirty="0">
                <a:solidFill>
                  <a:srgbClr val="000000"/>
                </a:solidFill>
                <a:cs typeface="Arial" panose="020B0604020202020204" pitchFamily="34" charset="0"/>
              </a:rPr>
              <a:t> </a:t>
            </a:r>
            <a:r>
              <a:rPr lang="ja-JP" altLang="en-US" sz="1050" dirty="0">
                <a:solidFill>
                  <a:srgbClr val="000000"/>
                </a:solidFill>
                <a:cs typeface="Arial" panose="020B0604020202020204" pitchFamily="34" charset="0"/>
              </a:rPr>
              <a:t>支払いの受取人（非居住者、日本の税務当局など該当する団体）からの過払い税の返還を要求するレター</a:t>
            </a:r>
            <a:endParaRPr lang="en-US" altLang="ja-JP" sz="105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受益者（在サウジアラビア日系企業）が当該国の居住者であること、および支払いが当該国の税制に基づくことを証明する管轄税当局の発行する証明書</a:t>
            </a:r>
            <a:endParaRPr lang="en-US" altLang="ja-JP" sz="105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源泉徴収税が支払われたことを示す書式のコピーや銀行発行のレシート</a:t>
            </a:r>
            <a:endParaRPr lang="en-US" altLang="ja-JP" sz="1050" dirty="0">
              <a:solidFill>
                <a:srgbClr val="000000"/>
              </a:solidFill>
              <a:cs typeface="Arial" panose="020B0604020202020204" pitchFamily="34" charset="0"/>
            </a:endParaRPr>
          </a:p>
        </p:txBody>
      </p:sp>
    </p:spTree>
    <p:extLst>
      <p:ext uri="{BB962C8B-B14F-4D97-AF65-F5344CB8AC3E}">
        <p14:creationId xmlns:p14="http://schemas.microsoft.com/office/powerpoint/2010/main" val="3222184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6" name="オブジェクト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角丸四角形 1"/>
          <p:cNvSpPr/>
          <p:nvPr/>
        </p:nvSpPr>
        <p:spPr>
          <a:xfrm>
            <a:off x="6681192" y="2790345"/>
            <a:ext cx="2350386" cy="2728864"/>
          </a:xfrm>
          <a:prstGeom prst="roundRect">
            <a:avLst/>
          </a:prstGeom>
          <a:solidFill>
            <a:srgbClr val="82CEBA"/>
          </a:solidFill>
          <a:ln>
            <a:noFill/>
          </a:ln>
        </p:spPr>
        <p:style>
          <a:lnRef idx="1">
            <a:schemeClr val="accent4"/>
          </a:lnRef>
          <a:fillRef idx="3">
            <a:schemeClr val="accent4"/>
          </a:fillRef>
          <a:effectRef idx="2">
            <a:schemeClr val="accent4"/>
          </a:effectRef>
          <a:fontRef idx="minor">
            <a:schemeClr val="lt1"/>
          </a:fontRef>
        </p:style>
        <p:txBody>
          <a:bodyPr wrap="square" rtlCol="0" anchor="ctr">
            <a:noAutofit/>
          </a:bodyPr>
          <a:lstStyle/>
          <a:p>
            <a:pPr algn="ctr"/>
            <a:r>
              <a:rPr lang="ja-JP" altLang="en-US" b="1" dirty="0">
                <a:solidFill>
                  <a:schemeClr val="tx1"/>
                </a:solidFill>
                <a:cs typeface="Arial" panose="020B0604020202020204" pitchFamily="34" charset="0"/>
              </a:rPr>
              <a:t>サウジアラビア</a:t>
            </a:r>
            <a:endParaRPr lang="en-US" altLang="ja-JP" b="1" dirty="0">
              <a:solidFill>
                <a:schemeClr val="tx1"/>
              </a:solidFill>
              <a:cs typeface="Arial" panose="020B0604020202020204" pitchFamily="34" charset="0"/>
            </a:endParaRPr>
          </a:p>
          <a:p>
            <a:pPr algn="ctr"/>
            <a:endParaRPr lang="ja-JP" altLang="en-US" b="1" dirty="0">
              <a:solidFill>
                <a:schemeClr val="tx1"/>
              </a:solidFill>
              <a:cs typeface="Arial" panose="020B0604020202020204" pitchFamily="34" charset="0"/>
            </a:endParaRPr>
          </a:p>
        </p:txBody>
      </p:sp>
      <p:sp>
        <p:nvSpPr>
          <p:cNvPr id="39" name="角丸四角形 38"/>
          <p:cNvSpPr/>
          <p:nvPr/>
        </p:nvSpPr>
        <p:spPr>
          <a:xfrm>
            <a:off x="560512" y="220486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600" b="1" dirty="0">
                <a:solidFill>
                  <a:srgbClr val="000000"/>
                </a:solidFill>
                <a:latin typeface="ＭＳ Ｐゴシック" panose="020B0600070205080204" pitchFamily="50" charset="-128"/>
                <a:cs typeface="Arial" panose="020B0604020202020204" pitchFamily="34" charset="0"/>
              </a:rPr>
              <a:t>入国時</a:t>
            </a:r>
            <a:br>
              <a:rPr lang="en-US" altLang="ja-JP" sz="1600" b="1" dirty="0">
                <a:solidFill>
                  <a:srgbClr val="000000"/>
                </a:solidFill>
                <a:latin typeface="ＭＳ Ｐゴシック" panose="020B0600070205080204" pitchFamily="50" charset="-128"/>
                <a:cs typeface="Arial" panose="020B0604020202020204" pitchFamily="34" charset="0"/>
              </a:rPr>
            </a:br>
            <a:r>
              <a:rPr lang="ja-JP" altLang="en-US" sz="1600" b="1" dirty="0">
                <a:solidFill>
                  <a:srgbClr val="000000"/>
                </a:solidFill>
                <a:latin typeface="ＭＳ Ｐゴシック" panose="020B0600070205080204" pitchFamily="50" charset="-128"/>
                <a:cs typeface="Arial" panose="020B0604020202020204" pitchFamily="34" charset="0"/>
              </a:rPr>
              <a:t>（持ち込み）</a:t>
            </a:r>
          </a:p>
        </p:txBody>
      </p:sp>
      <p:sp>
        <p:nvSpPr>
          <p:cNvPr id="40" name="角丸四角形 39"/>
          <p:cNvSpPr/>
          <p:nvPr/>
        </p:nvSpPr>
        <p:spPr>
          <a:xfrm>
            <a:off x="560512" y="407707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lang="ja-JP" altLang="en-US" sz="1600" b="1" dirty="0">
                <a:solidFill>
                  <a:srgbClr val="000000"/>
                </a:solidFill>
                <a:latin typeface="ＭＳ Ｐゴシック" panose="020B0600070205080204" pitchFamily="50" charset="-128"/>
                <a:cs typeface="Arial" panose="020B0604020202020204" pitchFamily="34" charset="0"/>
              </a:rPr>
              <a:t>出国時</a:t>
            </a:r>
            <a:br>
              <a:rPr lang="en-US" altLang="ja-JP" sz="1600" b="1" dirty="0">
                <a:solidFill>
                  <a:srgbClr val="000000"/>
                </a:solidFill>
                <a:latin typeface="ＭＳ Ｐゴシック" panose="020B0600070205080204" pitchFamily="50" charset="-128"/>
                <a:cs typeface="Arial" panose="020B0604020202020204" pitchFamily="34" charset="0"/>
              </a:rPr>
            </a:br>
            <a:r>
              <a:rPr lang="ja-JP" altLang="en-US" sz="1600" b="1" dirty="0">
                <a:solidFill>
                  <a:srgbClr val="000000"/>
                </a:solidFill>
                <a:latin typeface="ＭＳ Ｐゴシック" panose="020B0600070205080204" pitchFamily="50" charset="-128"/>
                <a:cs typeface="Arial" panose="020B0604020202020204" pitchFamily="34" charset="0"/>
              </a:rPr>
              <a:t>（持ち出し）</a:t>
            </a:r>
          </a:p>
        </p:txBody>
      </p:sp>
      <p:sp>
        <p:nvSpPr>
          <p:cNvPr id="35" name="円/楕円 34"/>
          <p:cNvSpPr/>
          <p:nvPr/>
        </p:nvSpPr>
        <p:spPr>
          <a:xfrm>
            <a:off x="848544" y="5589240"/>
            <a:ext cx="8424936"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貨持出規制</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60,000</a:t>
            </a:r>
            <a:r>
              <a:rPr lang="ja-JP" altLang="en-US" sz="1400" dirty="0">
                <a:solidFill>
                  <a:srgbClr val="000000"/>
                </a:solidFill>
                <a:cs typeface="Arial" panose="020B0604020202020204" pitchFamily="34" charset="0"/>
              </a:rPr>
              <a:t>リヤル（</a:t>
            </a:r>
            <a:r>
              <a:rPr lang="en-US" altLang="ja-JP" sz="1400" dirty="0">
                <a:solidFill>
                  <a:srgbClr val="000000"/>
                </a:solidFill>
                <a:cs typeface="Arial" panose="020B0604020202020204" pitchFamily="34" charset="0"/>
              </a:rPr>
              <a:t>16,000US$</a:t>
            </a:r>
            <a:r>
              <a:rPr lang="ja-JP" altLang="en-US" sz="1400" dirty="0">
                <a:solidFill>
                  <a:srgbClr val="000000"/>
                </a:solidFill>
                <a:cs typeface="Arial" panose="020B0604020202020204" pitchFamily="34" charset="0"/>
              </a:rPr>
              <a:t>）相当以上の現金・貴金属を所持する場合には、税関で申告が必要である。</a:t>
            </a:r>
            <a:endParaRPr lang="en-US" altLang="ja-JP" sz="1400" dirty="0">
              <a:solidFill>
                <a:srgbClr val="000000"/>
              </a:solidFill>
              <a:cs typeface="Arial" panose="020B0604020202020204" pitchFamily="34" charset="0"/>
            </a:endParaRPr>
          </a:p>
        </p:txBody>
      </p:sp>
      <p:sp>
        <p:nvSpPr>
          <p:cNvPr id="8" name="Freeform 7"/>
          <p:cNvSpPr>
            <a:spLocks/>
          </p:cNvSpPr>
          <p:nvPr/>
        </p:nvSpPr>
        <p:spPr bwMode="auto">
          <a:xfrm>
            <a:off x="1784648" y="4365104"/>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9" name="Freeform 6"/>
          <p:cNvSpPr>
            <a:spLocks/>
          </p:cNvSpPr>
          <p:nvPr/>
        </p:nvSpPr>
        <p:spPr bwMode="auto">
          <a:xfrm>
            <a:off x="2072680" y="299695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grpSp>
        <p:nvGrpSpPr>
          <p:cNvPr id="10" name="グループ化 9"/>
          <p:cNvGrpSpPr/>
          <p:nvPr/>
        </p:nvGrpSpPr>
        <p:grpSpPr>
          <a:xfrm>
            <a:off x="2216696" y="2204864"/>
            <a:ext cx="2447328" cy="1821260"/>
            <a:chOff x="2144122" y="2575129"/>
            <a:chExt cx="2447328" cy="1821260"/>
          </a:xfrm>
        </p:grpSpPr>
        <p:sp>
          <p:nvSpPr>
            <p:cNvPr id="1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12" name="テキスト ボックス 11"/>
            <p:cNvSpPr txBox="1"/>
            <p:nvPr/>
          </p:nvSpPr>
          <p:spPr>
            <a:xfrm>
              <a:off x="2235907" y="3356992"/>
              <a:ext cx="2263761" cy="646331"/>
            </a:xfrm>
            <a:prstGeom prst="rect">
              <a:avLst/>
            </a:prstGeom>
            <a:noFill/>
          </p:spPr>
          <p:txBody>
            <a:bodyPr wrap="none" rtlCol="0">
              <a:spAutoFit/>
            </a:bodyPr>
            <a:lstStyle/>
            <a:p>
              <a:pPr algn="ctr"/>
              <a:r>
                <a:rPr lang="en-US" altLang="ja-JP" sz="2400" b="1" spc="-100" dirty="0">
                  <a:solidFill>
                    <a:srgbClr val="000000"/>
                  </a:solidFill>
                  <a:latin typeface="Arial Black" panose="020B0A04020102020204" pitchFamily="34" charset="0"/>
                  <a:cs typeface="Arial" panose="020B0604020202020204" pitchFamily="34" charset="0"/>
                </a:rPr>
                <a:t>16,00</a:t>
              </a:r>
              <a:r>
                <a:rPr lang="en-US" altLang="ja-JP" sz="2400" b="1" dirty="0">
                  <a:solidFill>
                    <a:srgbClr val="000000"/>
                  </a:solidFill>
                  <a:latin typeface="Arial Black" panose="020B0A04020102020204" pitchFamily="34" charset="0"/>
                  <a:cs typeface="Arial" panose="020B0604020202020204" pitchFamily="34" charset="0"/>
                </a:rPr>
                <a:t>0</a:t>
              </a:r>
              <a:r>
                <a:rPr lang="en-US" altLang="ja-JP" sz="1400" b="1" dirty="0">
                  <a:solidFill>
                    <a:srgbClr val="000000"/>
                  </a:solidFill>
                  <a:latin typeface="Arial Black" panose="020B0A04020102020204" pitchFamily="34" charset="0"/>
                  <a:cs typeface="Arial" panose="020B0604020202020204" pitchFamily="34" charset="0"/>
                </a:rPr>
                <a:t>US$</a:t>
              </a:r>
              <a:r>
                <a:rPr lang="ja-JP" altLang="en-US" sz="1200" b="1" dirty="0">
                  <a:solidFill>
                    <a:srgbClr val="000000"/>
                  </a:solidFill>
                  <a:cs typeface="Arial" panose="020B0604020202020204" pitchFamily="34" charset="0"/>
                </a:rPr>
                <a:t>相当以上</a:t>
              </a:r>
              <a:br>
                <a:rPr lang="en-US" altLang="ja-JP" sz="1200" b="1" dirty="0">
                  <a:solidFill>
                    <a:srgbClr val="000000"/>
                  </a:solidFill>
                  <a:cs typeface="Arial" panose="020B0604020202020204" pitchFamily="34" charset="0"/>
                </a:rPr>
              </a:br>
              <a:r>
                <a:rPr lang="ja-JP" altLang="en-US" sz="1200" b="1" dirty="0">
                  <a:solidFill>
                    <a:srgbClr val="000000"/>
                  </a:solidFill>
                  <a:cs typeface="Arial" panose="020B0604020202020204" pitchFamily="34" charset="0"/>
                </a:rPr>
                <a:t>現金・貴金属</a:t>
              </a:r>
              <a:endParaRPr lang="en-US" altLang="ja-JP" sz="1200" b="1" dirty="0">
                <a:solidFill>
                  <a:srgbClr val="000000"/>
                </a:solidFill>
                <a:cs typeface="Arial" panose="020B0604020202020204" pitchFamily="34" charset="0"/>
              </a:endParaRPr>
            </a:p>
          </p:txBody>
        </p:sp>
        <p:sp>
          <p:nvSpPr>
            <p:cNvPr id="13" name="正方形/長方形 12"/>
            <p:cNvSpPr/>
            <p:nvPr/>
          </p:nvSpPr>
          <p:spPr>
            <a:xfrm>
              <a:off x="2316858" y="3079185"/>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solidFill>
                    <a:srgbClr val="000000"/>
                  </a:solidFill>
                  <a:latin typeface="ＭＳ Ｐゴシック" panose="020B0600070205080204" pitchFamily="50" charset="-128"/>
                  <a:cs typeface="Arial" panose="020B0604020202020204" pitchFamily="34" charset="0"/>
                </a:rPr>
                <a:t>空港で税関申告が必要なケース</a:t>
              </a:r>
              <a:endParaRPr lang="en-US" altLang="ja-JP" sz="1200" b="1" spc="-100" dirty="0">
                <a:solidFill>
                  <a:srgbClr val="000000"/>
                </a:solidFill>
                <a:latin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4880992" y="3933056"/>
            <a:ext cx="2447328" cy="1821260"/>
            <a:chOff x="2144122" y="2575129"/>
            <a:chExt cx="2447328" cy="1821260"/>
          </a:xfrm>
        </p:grpSpPr>
        <p:sp>
          <p:nvSpPr>
            <p:cNvPr id="1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18" name="テキスト ボックス 17"/>
            <p:cNvSpPr txBox="1"/>
            <p:nvPr/>
          </p:nvSpPr>
          <p:spPr>
            <a:xfrm>
              <a:off x="2235908" y="3356992"/>
              <a:ext cx="2263761" cy="646331"/>
            </a:xfrm>
            <a:prstGeom prst="rect">
              <a:avLst/>
            </a:prstGeom>
            <a:noFill/>
          </p:spPr>
          <p:txBody>
            <a:bodyPr wrap="none" rtlCol="0">
              <a:spAutoFit/>
            </a:bodyPr>
            <a:lstStyle/>
            <a:p>
              <a:pPr algn="ctr"/>
              <a:r>
                <a:rPr lang="en-US" altLang="ja-JP" sz="2400" b="1" spc="-100" dirty="0">
                  <a:solidFill>
                    <a:srgbClr val="000000"/>
                  </a:solidFill>
                  <a:latin typeface="Arial Black" panose="020B0A04020102020204" pitchFamily="34" charset="0"/>
                  <a:cs typeface="Arial" panose="020B0604020202020204" pitchFamily="34" charset="0"/>
                </a:rPr>
                <a:t>16,00</a:t>
              </a:r>
              <a:r>
                <a:rPr lang="en-US" altLang="ja-JP" sz="2400" b="1" dirty="0">
                  <a:solidFill>
                    <a:srgbClr val="000000"/>
                  </a:solidFill>
                  <a:latin typeface="Arial Black" panose="020B0A04020102020204" pitchFamily="34" charset="0"/>
                  <a:cs typeface="Arial" panose="020B0604020202020204" pitchFamily="34" charset="0"/>
                </a:rPr>
                <a:t>0</a:t>
              </a:r>
              <a:r>
                <a:rPr lang="en-US" altLang="ja-JP" sz="1400" b="1" dirty="0">
                  <a:solidFill>
                    <a:srgbClr val="000000"/>
                  </a:solidFill>
                  <a:latin typeface="Arial Black" panose="020B0A04020102020204" pitchFamily="34" charset="0"/>
                  <a:cs typeface="Arial" panose="020B0604020202020204" pitchFamily="34" charset="0"/>
                </a:rPr>
                <a:t>US$</a:t>
              </a:r>
              <a:r>
                <a:rPr lang="ja-JP" altLang="en-US" sz="1200" b="1" dirty="0">
                  <a:solidFill>
                    <a:srgbClr val="000000"/>
                  </a:solidFill>
                  <a:cs typeface="Arial" panose="020B0604020202020204" pitchFamily="34" charset="0"/>
                </a:rPr>
                <a:t>相当以上</a:t>
              </a:r>
              <a:br>
                <a:rPr lang="en-US" altLang="ja-JP" sz="1200" b="1" dirty="0">
                  <a:solidFill>
                    <a:srgbClr val="000000"/>
                  </a:solidFill>
                  <a:cs typeface="Arial" panose="020B0604020202020204" pitchFamily="34" charset="0"/>
                </a:rPr>
              </a:br>
              <a:r>
                <a:rPr lang="ja-JP" altLang="en-US" sz="1200" b="1" dirty="0">
                  <a:solidFill>
                    <a:srgbClr val="000000"/>
                  </a:solidFill>
                  <a:cs typeface="Arial" panose="020B0604020202020204" pitchFamily="34" charset="0"/>
                </a:rPr>
                <a:t>現金・貴金属</a:t>
              </a:r>
              <a:endParaRPr lang="en-US" altLang="ja-JP" sz="1200" b="1" dirty="0">
                <a:solidFill>
                  <a:srgbClr val="000000"/>
                </a:solidFill>
                <a:cs typeface="Arial" panose="020B0604020202020204" pitchFamily="34" charset="0"/>
              </a:endParaRPr>
            </a:p>
          </p:txBody>
        </p:sp>
        <p:sp>
          <p:nvSpPr>
            <p:cNvPr id="19" name="正方形/長方形 18"/>
            <p:cNvSpPr/>
            <p:nvPr/>
          </p:nvSpPr>
          <p:spPr>
            <a:xfrm>
              <a:off x="2316858" y="3079185"/>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solidFill>
                    <a:srgbClr val="000000"/>
                  </a:solidFill>
                  <a:latin typeface="ＭＳ Ｐゴシック" panose="020B0600070205080204" pitchFamily="50" charset="-128"/>
                  <a:cs typeface="Arial" panose="020B0604020202020204" pitchFamily="34" charset="0"/>
                </a:rPr>
                <a:t>空港で税関申告が必要なケース</a:t>
              </a:r>
              <a:endParaRPr lang="en-US" altLang="ja-JP" sz="1200" b="1" spc="-100" dirty="0">
                <a:solidFill>
                  <a:srgbClr val="000000"/>
                </a:solidFill>
                <a:latin typeface="ＭＳ Ｐゴシック" panose="020B0600070205080204" pitchFamily="50" charset="-128"/>
                <a:cs typeface="Arial" panose="020B0604020202020204" pitchFamily="34" charset="0"/>
              </a:endParaRPr>
            </a:p>
          </p:txBody>
        </p:sp>
      </p:grpSp>
      <p:sp>
        <p:nvSpPr>
          <p:cNvPr id="5" name="正方形/長方形 4"/>
          <p:cNvSpPr/>
          <p:nvPr/>
        </p:nvSpPr>
        <p:spPr>
          <a:xfrm>
            <a:off x="776536" y="5733256"/>
            <a:ext cx="8568952" cy="758989"/>
          </a:xfrm>
          <a:prstGeom prst="rect">
            <a:avLst/>
          </a:prstGeom>
        </p:spPr>
        <p:txBody>
          <a:bodyPr anchor="ctr" anchorCtr="0">
            <a:noAutofit/>
          </a:bodyPr>
          <a:lstStyle/>
          <a:p>
            <a:pPr 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出入国時に申告しない場合は、係官による検査が行われたり、</a:t>
            </a:r>
            <a:endParaRPr lang="en-US" altLang="ja-JP" sz="1600" dirty="0">
              <a:solidFill>
                <a:srgbClr val="000000"/>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現金・貴金属を当局が一時保管する場合がある</a:t>
            </a:r>
          </a:p>
        </p:txBody>
      </p:sp>
      <p:grpSp>
        <p:nvGrpSpPr>
          <p:cNvPr id="36" name="グループ化 7"/>
          <p:cNvGrpSpPr/>
          <p:nvPr/>
        </p:nvGrpSpPr>
        <p:grpSpPr>
          <a:xfrm>
            <a:off x="200471" y="1788006"/>
            <a:ext cx="9505058" cy="288032"/>
            <a:chOff x="4803500" y="2113806"/>
            <a:chExt cx="6189609" cy="288032"/>
          </a:xfrm>
        </p:grpSpPr>
        <p:cxnSp>
          <p:nvCxnSpPr>
            <p:cNvPr id="37" name="直線コネクタ 3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が必要なケース</a:t>
              </a:r>
            </a:p>
          </p:txBody>
        </p:sp>
      </p:grpSp>
      <p:sp>
        <p:nvSpPr>
          <p:cNvPr id="41" name="テキスト ボックス 4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外務省</a:t>
            </a:r>
            <a:r>
              <a:rPr lang="en-US" altLang="ja-JP" sz="800" dirty="0">
                <a:solidFill>
                  <a:srgbClr val="000000"/>
                </a:solidFill>
              </a:rPr>
              <a:t>HP</a:t>
            </a:r>
          </a:p>
        </p:txBody>
      </p:sp>
    </p:spTree>
    <p:extLst>
      <p:ext uri="{BB962C8B-B14F-4D97-AF65-F5344CB8AC3E}">
        <p14:creationId xmlns:p14="http://schemas.microsoft.com/office/powerpoint/2010/main" val="3975908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0EA13A-96AA-4BAE-A4CA-D188E6D602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5" name="Object 4" hidden="1">
                        <a:extLst>
                          <a:ext uri="{FF2B5EF4-FFF2-40B4-BE49-F238E27FC236}">
                            <a16:creationId xmlns:a16="http://schemas.microsoft.com/office/drawing/2014/main" id="{1E0EA13A-96AA-4BAE-A4CA-D188E6D602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人就労規制（サウダイゼーション）</a:t>
            </a:r>
            <a:endParaRPr lang="zh-CN" altLang="en-US" dirty="0"/>
          </a:p>
        </p:txBody>
      </p:sp>
      <p:sp>
        <p:nvSpPr>
          <p:cNvPr id="39" name="テキスト ボックス 38"/>
          <p:cNvSpPr txBox="1"/>
          <p:nvPr/>
        </p:nvSpPr>
        <p:spPr>
          <a:xfrm>
            <a:off x="200472" y="1124744"/>
            <a:ext cx="9505056" cy="214212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サウダイゼーションと呼ばれる、ある特定の職業をサウジアラビア人に限定し、または外国人労働力のサウジアラビア人労働力への段階的な置換をすることによって、サウジアラビア人の雇用拡大を図ることを目標とした政策がと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02</a:t>
            </a:r>
            <a:r>
              <a:rPr lang="ja-JP" altLang="en-US" sz="1400" dirty="0">
                <a:solidFill>
                  <a:srgbClr val="000000"/>
                </a:solidFill>
                <a:cs typeface="Arial" panose="020B0604020202020204" pitchFamily="34" charset="0"/>
              </a:rPr>
              <a:t>年に、各民間セクターの企業におけるサウジアラビア人比率を最低</a:t>
            </a:r>
            <a:r>
              <a:rPr lang="en-US" altLang="ja-JP" sz="1400" dirty="0">
                <a:solidFill>
                  <a:srgbClr val="000000"/>
                </a:solidFill>
                <a:cs typeface="Arial" panose="020B0604020202020204" pitchFamily="34" charset="0"/>
              </a:rPr>
              <a:t>30%</a:t>
            </a:r>
            <a:r>
              <a:rPr lang="ja-JP" altLang="en-US" sz="1400" dirty="0">
                <a:solidFill>
                  <a:srgbClr val="000000"/>
                </a:solidFill>
                <a:cs typeface="Arial" panose="020B0604020202020204" pitchFamily="34" charset="0"/>
              </a:rPr>
              <a:t>と定める決定が交付されたが、サウジアラビア人労働力が十分ではないことを理由に、最低比率が見直され、</a:t>
            </a:r>
            <a:r>
              <a:rPr lang="en-US" altLang="ja-JP" sz="1400" dirty="0">
                <a:solidFill>
                  <a:srgbClr val="000000"/>
                </a:solidFill>
                <a:cs typeface="Arial" panose="020B0604020202020204" pitchFamily="34" charset="0"/>
              </a:rPr>
              <a:t>2011</a:t>
            </a:r>
            <a:r>
              <a:rPr lang="ja-JP" altLang="en-US" sz="1400" dirty="0">
                <a:solidFill>
                  <a:srgbClr val="000000"/>
                </a:solidFill>
                <a:cs typeface="Arial" panose="020B0604020202020204" pitchFamily="34" charset="0"/>
              </a:rPr>
              <a:t>年に新たにニタカット（割り当て）プログラムが導入され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ニタカットプログラムでは、達成度の高い順に、プラチナ、緑（高、中、低）、赤の</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段階に格付けされ、プラチナと緑にはインセンティブが、赤には厳しいペナルティが課せられる。</a:t>
            </a:r>
            <a:endParaRPr lang="en-US" altLang="ja-JP" sz="1400" dirty="0">
              <a:solidFill>
                <a:srgbClr val="000000"/>
              </a:solidFill>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センティブとペナルティは、外国人労働者の労働許可証の更新や新規ビザ申請の可否、労働ビザに登録された外国人労働者の職種変更の可否等の形で与えられる。</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9"/>
          <p:cNvSpPr txBox="1"/>
          <p:nvPr/>
        </p:nvSpPr>
        <p:spPr>
          <a:xfrm>
            <a:off x="200472" y="6525434"/>
            <a:ext cx="928903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en-US" altLang="ja-JP" sz="800" dirty="0">
                <a:solidFill>
                  <a:srgbClr val="000000"/>
                </a:solidFill>
                <a:cs typeface="Arial" panose="020B0604020202020204" pitchFamily="34" charset="0"/>
              </a:rPr>
              <a:t>JETRO HP</a:t>
            </a:r>
            <a:r>
              <a:rPr lang="ja-JP" altLang="en-US" sz="800" dirty="0">
                <a:solidFill>
                  <a:srgbClr val="000000"/>
                </a:solidFill>
                <a:cs typeface="Arial" panose="020B0604020202020204" pitchFamily="34" charset="0"/>
              </a:rPr>
              <a:t>、</a:t>
            </a:r>
            <a:r>
              <a:rPr lang="en-US" altLang="ja-JP" sz="800" dirty="0">
                <a:solidFill>
                  <a:srgbClr val="000000"/>
                </a:solidFill>
              </a:rPr>
              <a:t>JETRO</a:t>
            </a:r>
            <a:r>
              <a:rPr lang="ja-JP" altLang="en-US" sz="800" dirty="0">
                <a:solidFill>
                  <a:srgbClr val="000000"/>
                </a:solidFill>
              </a:rPr>
              <a:t>資料「サウダイゼーション・ガイドブック（第</a:t>
            </a:r>
            <a:r>
              <a:rPr lang="en-US" altLang="ja-JP" sz="800" dirty="0">
                <a:solidFill>
                  <a:srgbClr val="000000"/>
                </a:solidFill>
              </a:rPr>
              <a:t>5</a:t>
            </a:r>
            <a:r>
              <a:rPr lang="ja-JP" altLang="en-US" sz="800" dirty="0">
                <a:solidFill>
                  <a:srgbClr val="000000"/>
                </a:solidFill>
              </a:rPr>
              <a:t>版）」、ベーカー＆マッケンジー法律事務所「中東・アフリカニュースレター</a:t>
            </a:r>
            <a:r>
              <a:rPr lang="en-US" altLang="ja-JP" sz="800" dirty="0">
                <a:solidFill>
                  <a:srgbClr val="000000"/>
                </a:solidFill>
              </a:rPr>
              <a:t>vol.4</a:t>
            </a:r>
            <a:r>
              <a:rPr lang="ja-JP" altLang="en-US" sz="800" dirty="0">
                <a:solidFill>
                  <a:srgbClr val="000000"/>
                </a:solidFill>
              </a:rPr>
              <a:t>」、</a:t>
            </a:r>
            <a:br>
              <a:rPr lang="en-US" altLang="ja-JP" sz="800" dirty="0">
                <a:solidFill>
                  <a:srgbClr val="000000"/>
                </a:solidFill>
              </a:rPr>
            </a:br>
            <a:r>
              <a:rPr lang="ja-JP" altLang="en-US" sz="800" dirty="0">
                <a:solidFill>
                  <a:srgbClr val="000000"/>
                </a:solidFill>
              </a:rPr>
              <a:t>　　　　　中東協力センター「</a:t>
            </a:r>
            <a:r>
              <a:rPr lang="en-US" altLang="ja-JP" sz="800" dirty="0">
                <a:solidFill>
                  <a:srgbClr val="000000"/>
                </a:solidFill>
              </a:rPr>
              <a:t>GCC </a:t>
            </a:r>
            <a:r>
              <a:rPr lang="ja-JP" altLang="en-US" sz="800" dirty="0">
                <a:solidFill>
                  <a:srgbClr val="000000"/>
                </a:solidFill>
              </a:rPr>
              <a:t>主要産油国に於ける雇用創出力のある非製造業に関する調査」（</a:t>
            </a:r>
            <a:r>
              <a:rPr lang="en-US" altLang="ja-JP" sz="800" dirty="0">
                <a:solidFill>
                  <a:srgbClr val="000000"/>
                </a:solidFill>
              </a:rPr>
              <a:t>2014</a:t>
            </a:r>
            <a:r>
              <a:rPr lang="ja-JP" altLang="en-US" sz="800" dirty="0">
                <a:solidFill>
                  <a:srgbClr val="000000"/>
                </a:solidFill>
              </a:rPr>
              <a:t>）</a:t>
            </a:r>
            <a:endParaRPr lang="ja-JP" altLang="ja-JP" sz="800" dirty="0">
              <a:solidFill>
                <a:srgbClr val="000000"/>
              </a:solidFill>
            </a:endParaRPr>
          </a:p>
        </p:txBody>
      </p:sp>
      <p:graphicFrame>
        <p:nvGraphicFramePr>
          <p:cNvPr id="18" name="表 17"/>
          <p:cNvGraphicFramePr>
            <a:graphicFrameLocks noGrp="1"/>
          </p:cNvGraphicFramePr>
          <p:nvPr>
            <p:extLst>
              <p:ext uri="{D42A27DB-BD31-4B8C-83A1-F6EECF244321}">
                <p14:modId xmlns:p14="http://schemas.microsoft.com/office/powerpoint/2010/main" val="3042734381"/>
              </p:ext>
            </p:extLst>
          </p:nvPr>
        </p:nvGraphicFramePr>
        <p:xfrm>
          <a:off x="1164418" y="3846981"/>
          <a:ext cx="7577164" cy="2298070"/>
        </p:xfrm>
        <a:graphic>
          <a:graphicData uri="http://schemas.openxmlformats.org/drawingml/2006/table">
            <a:tbl>
              <a:tblPr firstRow="1" bandRow="1">
                <a:tableStyleId>{5C22544A-7EE6-4342-B048-85BDC9FD1C3A}</a:tableStyleId>
              </a:tblPr>
              <a:tblGrid>
                <a:gridCol w="1867323">
                  <a:extLst>
                    <a:ext uri="{9D8B030D-6E8A-4147-A177-3AD203B41FA5}">
                      <a16:colId xmlns:a16="http://schemas.microsoft.com/office/drawing/2014/main" val="20000"/>
                    </a:ext>
                  </a:extLst>
                </a:gridCol>
                <a:gridCol w="1352209">
                  <a:extLst>
                    <a:ext uri="{9D8B030D-6E8A-4147-A177-3AD203B41FA5}">
                      <a16:colId xmlns:a16="http://schemas.microsoft.com/office/drawing/2014/main" val="20001"/>
                    </a:ext>
                  </a:extLst>
                </a:gridCol>
                <a:gridCol w="1452544">
                  <a:extLst>
                    <a:ext uri="{9D8B030D-6E8A-4147-A177-3AD203B41FA5}">
                      <a16:colId xmlns:a16="http://schemas.microsoft.com/office/drawing/2014/main" val="20002"/>
                    </a:ext>
                  </a:extLst>
                </a:gridCol>
                <a:gridCol w="1452544">
                  <a:extLst>
                    <a:ext uri="{9D8B030D-6E8A-4147-A177-3AD203B41FA5}">
                      <a16:colId xmlns:a16="http://schemas.microsoft.com/office/drawing/2014/main" val="20003"/>
                    </a:ext>
                  </a:extLst>
                </a:gridCol>
                <a:gridCol w="1452544">
                  <a:extLst>
                    <a:ext uri="{9D8B030D-6E8A-4147-A177-3AD203B41FA5}">
                      <a16:colId xmlns:a16="http://schemas.microsoft.com/office/drawing/2014/main" val="20004"/>
                    </a:ext>
                  </a:extLst>
                </a:gridCol>
              </a:tblGrid>
              <a:tr h="2007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業種／企業規模</a:t>
                      </a:r>
                      <a:endPar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6</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5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49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50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2,99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3,00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以上</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6108">
                <a:tc row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ケアサービス</a:t>
                      </a:r>
                      <a:endParaRPr kumimoji="1"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クリニック）</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0~13</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1"/>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4~21</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2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3"/>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2~28</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3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4"/>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9~36</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3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3~3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4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5"/>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37~</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196108">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造業</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0~11</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21</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27</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5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7"/>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2~16</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3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3~5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9"/>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7~20</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3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6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10"/>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1~24</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34</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9~44</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6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11"/>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5~</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grpSp>
        <p:nvGrpSpPr>
          <p:cNvPr id="19" name="グループ化 7"/>
          <p:cNvGrpSpPr/>
          <p:nvPr/>
        </p:nvGrpSpPr>
        <p:grpSpPr>
          <a:xfrm>
            <a:off x="1069452" y="3526028"/>
            <a:ext cx="7767096" cy="288032"/>
            <a:chOff x="4803500" y="2113806"/>
            <a:chExt cx="6189609" cy="288032"/>
          </a:xfrm>
        </p:grpSpPr>
        <p:cxnSp>
          <p:nvCxnSpPr>
            <p:cNvPr id="20" name="直線コネクタ 19"/>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ニタカットプログラムにおける企業規模別のサウジアラビア人従業員比率による格付け</a:t>
              </a:r>
              <a:r>
                <a:rPr lang="en-US" altLang="ja-JP" sz="1400" baseline="30000" dirty="0">
                  <a:solidFill>
                    <a:srgbClr val="000000"/>
                  </a:solidFill>
                  <a:latin typeface="Arial Black" pitchFamily="34" charset="0"/>
                  <a:ea typeface="HGP創英角ｺﾞｼｯｸUB" pitchFamily="50" charset="-128"/>
                </a:rPr>
                <a:t>※</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13" name="テキスト ボックス 12"/>
          <p:cNvSpPr txBox="1"/>
          <p:nvPr/>
        </p:nvSpPr>
        <p:spPr>
          <a:xfrm>
            <a:off x="1148778" y="6170122"/>
            <a:ext cx="610745"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単位は％。</a:t>
            </a:r>
            <a:endParaRPr lang="ja-JP" altLang="en-US"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530157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65E2FB-2BC3-4864-A498-F1187B6DAA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10" name="Object 9" hidden="1">
                        <a:extLst>
                          <a:ext uri="{FF2B5EF4-FFF2-40B4-BE49-F238E27FC236}">
                            <a16:creationId xmlns:a16="http://schemas.microsoft.com/office/drawing/2014/main" id="{E565E2FB-2BC3-4864-A498-F1187B6DAA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生活</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インフラ事情</a:t>
            </a:r>
          </a:p>
        </p:txBody>
      </p:sp>
      <p:sp>
        <p:nvSpPr>
          <p:cNvPr id="111" name="テキスト ボックス 1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は、賃金、地価、電気代といった、事業実施に必要となるインフラ類のコストが安価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p:cNvGraphicFramePr>
            <a:graphicFrameLocks noGrp="1"/>
          </p:cNvGraphicFramePr>
          <p:nvPr/>
        </p:nvGraphicFramePr>
        <p:xfrm>
          <a:off x="1398032" y="2854104"/>
          <a:ext cx="7109937" cy="2735136"/>
        </p:xfrm>
        <a:graphic>
          <a:graphicData uri="http://schemas.openxmlformats.org/drawingml/2006/table">
            <a:tbl>
              <a:tblPr firstRow="1" bandRow="1">
                <a:tableStyleId>{2D5ABB26-0587-4C30-8999-92F81FD0307C}</a:tableStyleId>
              </a:tblPr>
              <a:tblGrid>
                <a:gridCol w="682943">
                  <a:extLst>
                    <a:ext uri="{9D8B030D-6E8A-4147-A177-3AD203B41FA5}">
                      <a16:colId xmlns:a16="http://schemas.microsoft.com/office/drawing/2014/main" val="20000"/>
                    </a:ext>
                  </a:extLst>
                </a:gridCol>
                <a:gridCol w="6426994">
                  <a:extLst>
                    <a:ext uri="{9D8B030D-6E8A-4147-A177-3AD203B41FA5}">
                      <a16:colId xmlns:a16="http://schemas.microsoft.com/office/drawing/2014/main" val="20001"/>
                    </a:ext>
                  </a:extLst>
                </a:gridCol>
              </a:tblGrid>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賃金</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JETRO</a:t>
                      </a:r>
                      <a:r>
                        <a:rPr kumimoji="1" lang="ja-JP" altLang="en-US" sz="1200" dirty="0"/>
                        <a:t>調査によれば、月額で、リヤドではワーカー</a:t>
                      </a:r>
                      <a:r>
                        <a:rPr kumimoji="1" lang="en-US" altLang="ja-JP" sz="1200" dirty="0"/>
                        <a:t>494US</a:t>
                      </a:r>
                      <a:r>
                        <a:rPr kumimoji="1" lang="ja-JP" altLang="en-US" sz="1200" dirty="0"/>
                        <a:t>＄、エンジニア</a:t>
                      </a:r>
                      <a:r>
                        <a:rPr kumimoji="1" lang="en-US" altLang="ja-JP" sz="1200" dirty="0"/>
                        <a:t>1,222 US</a:t>
                      </a:r>
                      <a:r>
                        <a:rPr kumimoji="1" lang="ja-JP" altLang="en-US" sz="1200" dirty="0"/>
                        <a:t>＄、中間管理職</a:t>
                      </a:r>
                      <a:r>
                        <a:rPr kumimoji="1" lang="en-US" altLang="ja-JP" sz="1200" dirty="0"/>
                        <a:t>3,200US</a:t>
                      </a:r>
                      <a:r>
                        <a:rPr kumimoji="1" lang="ja-JP" altLang="en-US" sz="1200" dirty="0"/>
                        <a:t>＄となっている。（バンコクではそれぞれ</a:t>
                      </a:r>
                      <a:r>
                        <a:rPr kumimoji="1" lang="en-US" altLang="ja-JP" sz="1200" dirty="0"/>
                        <a:t>286 US</a:t>
                      </a:r>
                      <a:r>
                        <a:rPr kumimoji="1" lang="ja-JP" altLang="en-US" sz="1200" dirty="0"/>
                        <a:t>＄、</a:t>
                      </a:r>
                      <a:r>
                        <a:rPr kumimoji="1" lang="en-US" altLang="ja-JP" sz="1200" dirty="0"/>
                        <a:t>641 US</a:t>
                      </a:r>
                      <a:r>
                        <a:rPr kumimoji="1" lang="ja-JP" altLang="en-US" sz="1200" dirty="0"/>
                        <a:t>＄、</a:t>
                      </a:r>
                      <a:r>
                        <a:rPr kumimoji="1" lang="en-US" altLang="ja-JP" sz="1200" dirty="0"/>
                        <a:t>1,565 US</a:t>
                      </a:r>
                      <a:r>
                        <a:rPr kumimoji="1" lang="ja-JP" altLang="en-US" sz="1200" dirty="0"/>
                        <a:t>＄）このほか、残業・通勤・住宅手当等が支給される</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公務員の最低賃金は</a:t>
                      </a:r>
                      <a:r>
                        <a:rPr kumimoji="1" lang="en-US" altLang="ja-JP" sz="1200" dirty="0"/>
                        <a:t>802 US</a:t>
                      </a:r>
                      <a:r>
                        <a:rPr kumimoji="1" lang="ja-JP" altLang="en-US" sz="1200" dirty="0"/>
                        <a:t>＄だが、これが民間企業にも適用される方向にあ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756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価</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の土地を賃貸する場合、月額で</a:t>
                      </a:r>
                      <a:r>
                        <a:rPr kumimoji="1" lang="en-US" altLang="ja-JP" sz="1200" kern="1200" dirty="0">
                          <a:solidFill>
                            <a:schemeClr val="tx1"/>
                          </a:solidFill>
                          <a:latin typeface="+mn-lt"/>
                          <a:ea typeface="+mn-ea"/>
                          <a:cs typeface="+mn-cs"/>
                        </a:rPr>
                        <a:t>0.02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1US</a:t>
                      </a:r>
                      <a:r>
                        <a:rPr kumimoji="1" lang="ja-JP" altLang="en-US" sz="1200" kern="1200" dirty="0">
                          <a:solidFill>
                            <a:schemeClr val="tx1"/>
                          </a:solidFill>
                          <a:latin typeface="+mn-lt"/>
                          <a:ea typeface="+mn-ea"/>
                          <a:cs typeface="+mn-cs"/>
                        </a:rPr>
                        <a:t>＄程度</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バンコクでは</a:t>
                      </a:r>
                      <a:r>
                        <a:rPr kumimoji="1" lang="en-US" altLang="ja-JP" sz="1200" kern="1200" dirty="0">
                          <a:solidFill>
                            <a:schemeClr val="tx1"/>
                          </a:solidFill>
                          <a:latin typeface="+mn-lt"/>
                          <a:ea typeface="+mn-ea"/>
                          <a:cs typeface="+mn-cs"/>
                        </a:rPr>
                        <a:t>6.95 US</a:t>
                      </a:r>
                      <a:r>
                        <a:rPr kumimoji="1" lang="ja-JP" altLang="en-US" sz="1200" kern="1200" dirty="0">
                          <a:solidFill>
                            <a:schemeClr val="tx1"/>
                          </a:solidFill>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電気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では、電気の業務用月額基本料が</a:t>
                      </a:r>
                      <a:r>
                        <a:rPr kumimoji="1" lang="en-US" altLang="ja-JP" sz="1200" kern="1200" dirty="0">
                          <a:solidFill>
                            <a:schemeClr val="tx1"/>
                          </a:solidFill>
                          <a:latin typeface="+mn-lt"/>
                          <a:ea typeface="+mn-ea"/>
                          <a:cs typeface="+mn-cs"/>
                        </a:rPr>
                        <a:t>8.02 US</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1kWh </a:t>
                      </a:r>
                      <a:r>
                        <a:rPr kumimoji="1" lang="ja-JP" altLang="en-US" sz="1200" kern="1200" dirty="0">
                          <a:solidFill>
                            <a:schemeClr val="tx1"/>
                          </a:solidFill>
                          <a:latin typeface="+mn-lt"/>
                          <a:ea typeface="+mn-ea"/>
                          <a:cs typeface="+mn-cs"/>
                        </a:rPr>
                        <a:t>当たり従量料金が</a:t>
                      </a:r>
                      <a:r>
                        <a:rPr kumimoji="1" lang="en-US" altLang="ja-JP" sz="1200" kern="1200" dirty="0">
                          <a:solidFill>
                            <a:schemeClr val="tx1"/>
                          </a:solidFill>
                          <a:latin typeface="+mn-lt"/>
                          <a:ea typeface="+mn-ea"/>
                          <a:cs typeface="+mn-cs"/>
                        </a:rPr>
                        <a:t>0.03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07 US</a:t>
                      </a:r>
                      <a:r>
                        <a:rPr kumimoji="1" lang="ja-JP" altLang="en-US" sz="1200" kern="1200" dirty="0">
                          <a:solidFill>
                            <a:schemeClr val="tx1"/>
                          </a:solidFill>
                          <a:latin typeface="+mn-lt"/>
                          <a:ea typeface="+mn-ea"/>
                          <a:cs typeface="+mn-cs"/>
                        </a:rPr>
                        <a:t>＄程度と安価</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9384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水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業務用の場合、</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当たり</a:t>
                      </a:r>
                      <a:r>
                        <a:rPr kumimoji="1" lang="en-US" altLang="ja-JP" sz="1200" kern="1200" dirty="0">
                          <a:solidFill>
                            <a:schemeClr val="tx1"/>
                          </a:solidFill>
                          <a:latin typeface="+mn-lt"/>
                          <a:ea typeface="+mn-ea"/>
                          <a:cs typeface="+mn-cs"/>
                        </a:rPr>
                        <a:t>1.6 US</a:t>
                      </a:r>
                      <a:r>
                        <a:rPr kumimoji="1" lang="ja-JP" altLang="en-US" sz="1200" kern="1200" dirty="0">
                          <a:solidFill>
                            <a:schemeClr val="tx1"/>
                          </a:solidFill>
                          <a:latin typeface="+mn-lt"/>
                          <a:ea typeface="+mn-ea"/>
                          <a:cs typeface="+mn-cs"/>
                        </a:rPr>
                        <a:t>＄程度だが、基本料金はない。</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バンコクでは、</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当たり</a:t>
                      </a:r>
                      <a:r>
                        <a:rPr kumimoji="1" lang="en-US" altLang="ja-JP" sz="1200" kern="1200" dirty="0">
                          <a:solidFill>
                            <a:schemeClr val="tx1"/>
                          </a:solidFill>
                          <a:latin typeface="+mn-lt"/>
                          <a:ea typeface="+mn-ea"/>
                          <a:cs typeface="+mn-cs"/>
                        </a:rPr>
                        <a:t>0.3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5 US</a:t>
                      </a:r>
                      <a:r>
                        <a:rPr kumimoji="1" lang="ja-JP" altLang="en-US" sz="1200" kern="1200" dirty="0">
                          <a:solidFill>
                            <a:schemeClr val="tx1"/>
                          </a:solidFill>
                          <a:latin typeface="+mn-lt"/>
                          <a:ea typeface="+mn-ea"/>
                          <a:cs typeface="+mn-cs"/>
                        </a:rPr>
                        <a:t>＄程度）</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でも、水はローリーによる供給が一般的</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6" name="グループ化 7"/>
          <p:cNvGrpSpPr/>
          <p:nvPr/>
        </p:nvGrpSpPr>
        <p:grpSpPr>
          <a:xfrm>
            <a:off x="1398032" y="2492896"/>
            <a:ext cx="7109936" cy="288032"/>
            <a:chOff x="4803500" y="2113806"/>
            <a:chExt cx="6189609" cy="288032"/>
          </a:xfrm>
        </p:grpSpPr>
        <p:cxnSp>
          <p:nvCxnSpPr>
            <p:cNvPr id="7" name="直線コネクタ 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投資コストの比較</a:t>
              </a:r>
              <a:r>
                <a:rPr lang="en-US" altLang="ja-JP" sz="1400" baseline="300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リヤドとバンコク）</a:t>
              </a:r>
            </a:p>
          </p:txBody>
        </p:sp>
      </p:grpSp>
      <p:sp>
        <p:nvSpPr>
          <p:cNvPr id="9" name="テキスト ボックス 8"/>
          <p:cNvSpPr txBox="1"/>
          <p:nvPr/>
        </p:nvSpPr>
        <p:spPr>
          <a:xfrm>
            <a:off x="200472" y="6525344"/>
            <a:ext cx="820891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ja-JP" altLang="en-US" sz="800" dirty="0">
                <a:solidFill>
                  <a:srgbClr val="000000"/>
                </a:solidFill>
              </a:rPr>
              <a:t>中東協力センター「サウジアラビアへのいざない」</a:t>
            </a:r>
            <a:endParaRPr lang="ja-JP" altLang="ja-JP" sz="800" dirty="0">
              <a:solidFill>
                <a:srgbClr val="000000"/>
              </a:solidFill>
            </a:endParaRPr>
          </a:p>
        </p:txBody>
      </p:sp>
    </p:spTree>
    <p:extLst>
      <p:ext uri="{BB962C8B-B14F-4D97-AF65-F5344CB8AC3E}">
        <p14:creationId xmlns:p14="http://schemas.microsoft.com/office/powerpoint/2010/main" val="21117810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6.4</a:t>
            </a:r>
            <a:r>
              <a:rPr lang="ja-JP" altLang="en-US" dirty="0"/>
              <a:t>歳、健康寿命は</a:t>
            </a:r>
            <a:r>
              <a:rPr lang="en-US" altLang="ja-JP" dirty="0"/>
              <a:t>65.6</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Global Health Observatory (GHO) data</a:t>
            </a:r>
            <a:r>
              <a:rPr kumimoji="0" lang="ja-JP" altLang="en-US" sz="800" dirty="0" bmk=""/>
              <a:t>」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862101341"/>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6.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6.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3.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7854064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784871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9" imgW="270" imgH="270" progId="TCLayout.ActiveDocument.1">
                  <p:embed/>
                </p:oleObj>
              </mc:Choice>
              <mc:Fallback>
                <p:oleObj name="think-cellスライド" r:id="rId169" imgW="270" imgH="270" progId="TCLayout.ActiveDocument.1">
                  <p:embed/>
                  <p:pic>
                    <p:nvPicPr>
                      <p:cNvPr id="8" name="オブジェクト 7" hidden="1"/>
                      <p:cNvPicPr>
                        <a:picLocks noChangeAspect="1" noChangeArrowheads="1"/>
                      </p:cNvPicPr>
                      <p:nvPr/>
                    </p:nvPicPr>
                    <p:blipFill>
                      <a:blip r:embed="rId1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91" name="Chart 490">
            <a:extLst>
              <a:ext uri="{FF2B5EF4-FFF2-40B4-BE49-F238E27FC236}">
                <a16:creationId xmlns:a16="http://schemas.microsoft.com/office/drawing/2014/main" id="{30AEE209-943D-4B82-8D06-8AF99633B3DD}"/>
              </a:ext>
            </a:extLst>
          </p:cNvPr>
          <p:cNvGraphicFramePr/>
          <p:nvPr>
            <p:custDataLst>
              <p:tags r:id="rId2"/>
            </p:custDataLst>
            <p:extLst>
              <p:ext uri="{D42A27DB-BD31-4B8C-83A1-F6EECF244321}">
                <p14:modId xmlns:p14="http://schemas.microsoft.com/office/powerpoint/2010/main" val="308275526"/>
              </p:ext>
            </p:extLst>
          </p:nvPr>
        </p:nvGraphicFramePr>
        <p:xfrm>
          <a:off x="673100" y="2011363"/>
          <a:ext cx="7402513" cy="654050"/>
        </p:xfrm>
        <a:graphic>
          <a:graphicData uri="http://schemas.openxmlformats.org/drawingml/2006/chart">
            <c:chart xmlns:c="http://schemas.openxmlformats.org/drawingml/2006/chart" xmlns:r="http://schemas.openxmlformats.org/officeDocument/2006/relationships" r:id="rId171"/>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graphicFrame>
        <p:nvGraphicFramePr>
          <p:cNvPr id="509" name="Chart 508">
            <a:extLst>
              <a:ext uri="{FF2B5EF4-FFF2-40B4-BE49-F238E27FC236}">
                <a16:creationId xmlns:a16="http://schemas.microsoft.com/office/drawing/2014/main" id="{B77C5A42-B288-DD9D-9031-946600C9E0EE}"/>
              </a:ext>
            </a:extLst>
          </p:cNvPr>
          <p:cNvGraphicFramePr/>
          <p:nvPr>
            <p:custDataLst>
              <p:tags r:id="rId4"/>
            </p:custDataLst>
            <p:extLst>
              <p:ext uri="{D42A27DB-BD31-4B8C-83A1-F6EECF244321}">
                <p14:modId xmlns:p14="http://schemas.microsoft.com/office/powerpoint/2010/main" val="1852967147"/>
              </p:ext>
            </p:extLst>
          </p:nvPr>
        </p:nvGraphicFramePr>
        <p:xfrm>
          <a:off x="404813" y="2090738"/>
          <a:ext cx="7769225" cy="1625600"/>
        </p:xfrm>
        <a:graphic>
          <a:graphicData uri="http://schemas.openxmlformats.org/drawingml/2006/chart">
            <c:chart xmlns:c="http://schemas.openxmlformats.org/drawingml/2006/chart" xmlns:r="http://schemas.openxmlformats.org/officeDocument/2006/relationships" r:id="rId172"/>
          </a:graphicData>
        </a:graphic>
      </p:graphicFrame>
      <p:sp>
        <p:nvSpPr>
          <p:cNvPr id="26" name="テキスト プレースホルダ 9"/>
          <p:cNvSpPr>
            <a:spLocks noGrp="1"/>
          </p:cNvSpPr>
          <p:nvPr>
            <p:custDataLst>
              <p:tags r:id="rId5"/>
            </p:custDataLst>
          </p:nvPr>
        </p:nvSpPr>
        <p:spPr bwMode="auto">
          <a:xfrm>
            <a:off x="1157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499E3-0581-4A96-9140-751ACA99F6CA}" type="datetime'''''''''''''''''''''''''''''''0''''''''''''''''''''''''''''1'">
              <a:rPr lang="ja-JP" altLang="en-US" sz="1000" smtClean="0"/>
              <a:pPr/>
              <a:t>01</a:t>
            </a:fld>
            <a:endParaRPr kumimoji="0" lang="ja-JP" altLang="en-US" sz="1000" dirty="0">
              <a:sym typeface="+mn-lt"/>
            </a:endParaRPr>
          </a:p>
        </p:txBody>
      </p:sp>
      <p:sp>
        <p:nvSpPr>
          <p:cNvPr id="27" name="テキスト プレースホルダ 9"/>
          <p:cNvSpPr>
            <a:spLocks noGrp="1"/>
          </p:cNvSpPr>
          <p:nvPr>
            <p:custDataLst>
              <p:tags r:id="rId6"/>
            </p:custDataLst>
          </p:nvPr>
        </p:nvSpPr>
        <p:spPr bwMode="auto">
          <a:xfrm>
            <a:off x="1462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DBEC32-5690-4350-B3F7-E77A25D6A650}" type="datetime'''''''''''''''02'''''''''''''''''''''''''''''''''''">
              <a:rPr lang="ja-JP" altLang="en-US" sz="1000" smtClean="0"/>
              <a:pPr/>
              <a:t>02</a:t>
            </a:fld>
            <a:endParaRPr kumimoji="0" lang="ja-JP" altLang="en-US" sz="1000" dirty="0">
              <a:sym typeface="+mn-lt"/>
            </a:endParaRPr>
          </a:p>
        </p:txBody>
      </p:sp>
      <p:sp>
        <p:nvSpPr>
          <p:cNvPr id="39" name="テキスト プレースホルダ 9"/>
          <p:cNvSpPr>
            <a:spLocks noGrp="1"/>
          </p:cNvSpPr>
          <p:nvPr>
            <p:custDataLst>
              <p:tags r:id="rId7"/>
            </p:custDataLst>
          </p:nvPr>
        </p:nvSpPr>
        <p:spPr bwMode="auto">
          <a:xfrm>
            <a:off x="1766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10CF32-EA60-4383-BB10-9C7656BD1091}" type="datetime'0''3'''''''''''">
              <a:rPr lang="ja-JP" altLang="en-US" sz="1000" smtClean="0"/>
              <a:pPr/>
              <a:t>03</a:t>
            </a:fld>
            <a:endParaRPr kumimoji="0" lang="ja-JP" altLang="en-US" sz="1000" dirty="0">
              <a:sym typeface="+mn-lt"/>
            </a:endParaRPr>
          </a:p>
        </p:txBody>
      </p:sp>
      <p:sp>
        <p:nvSpPr>
          <p:cNvPr id="40" name="テキスト プレースホルダ 9"/>
          <p:cNvSpPr>
            <a:spLocks noGrp="1"/>
          </p:cNvSpPr>
          <p:nvPr>
            <p:custDataLst>
              <p:tags r:id="rId8"/>
            </p:custDataLst>
          </p:nvPr>
        </p:nvSpPr>
        <p:spPr bwMode="auto">
          <a:xfrm>
            <a:off x="20716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FFB758-D301-4A20-93B2-23F3CF0F5BE5}" type="datetime'''''''''''''''0''''''''''''''''''4'''''''''''">
              <a:rPr lang="ja-JP" altLang="en-US" sz="1000" smtClean="0"/>
              <a:pPr/>
              <a:t>04</a:t>
            </a:fld>
            <a:endParaRPr kumimoji="0" lang="ja-JP" altLang="en-US" sz="1000" dirty="0">
              <a:sym typeface="+mn-lt"/>
            </a:endParaRPr>
          </a:p>
        </p:txBody>
      </p:sp>
      <p:sp>
        <p:nvSpPr>
          <p:cNvPr id="41" name="テキスト プレースホルダ 9"/>
          <p:cNvSpPr>
            <a:spLocks noGrp="1"/>
          </p:cNvSpPr>
          <p:nvPr>
            <p:custDataLst>
              <p:tags r:id="rId9"/>
            </p:custDataLst>
          </p:nvPr>
        </p:nvSpPr>
        <p:spPr bwMode="auto">
          <a:xfrm>
            <a:off x="23764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B991AD-2285-43B2-97BB-A3B3553CF12F}" type="datetime'''''''''''''''''0''5'''''">
              <a:rPr lang="ja-JP" altLang="en-US" sz="1000" smtClean="0"/>
              <a:pPr/>
              <a:t>05</a:t>
            </a:fld>
            <a:endParaRPr kumimoji="0" lang="ja-JP" altLang="en-US" sz="1000" dirty="0">
              <a:sym typeface="+mn-lt"/>
            </a:endParaRPr>
          </a:p>
        </p:txBody>
      </p:sp>
      <p:sp>
        <p:nvSpPr>
          <p:cNvPr id="42" name="テキスト プレースホルダ 9"/>
          <p:cNvSpPr>
            <a:spLocks noGrp="1"/>
          </p:cNvSpPr>
          <p:nvPr>
            <p:custDataLst>
              <p:tags r:id="rId10"/>
            </p:custDataLst>
          </p:nvPr>
        </p:nvSpPr>
        <p:spPr bwMode="auto">
          <a:xfrm>
            <a:off x="2681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A65F1D-5699-43A2-AFFF-DF1DDA145EAC}" type="datetime'''''''''''''''''''''''''0''''''''''''''6'''">
              <a:rPr lang="ja-JP" altLang="en-US" sz="1000" smtClean="0"/>
              <a:pPr/>
              <a:t>06</a:t>
            </a:fld>
            <a:endParaRPr kumimoji="0" lang="ja-JP" altLang="en-US" sz="1000" dirty="0">
              <a:sym typeface="+mn-lt"/>
            </a:endParaRPr>
          </a:p>
        </p:txBody>
      </p:sp>
      <p:sp>
        <p:nvSpPr>
          <p:cNvPr id="43" name="テキスト プレースホルダ 9"/>
          <p:cNvSpPr>
            <a:spLocks noGrp="1"/>
          </p:cNvSpPr>
          <p:nvPr>
            <p:custDataLst>
              <p:tags r:id="rId11"/>
            </p:custDataLst>
          </p:nvPr>
        </p:nvSpPr>
        <p:spPr bwMode="auto">
          <a:xfrm>
            <a:off x="2986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E49E7B-9202-4FD1-97FA-484AFC32BE21}" type="datetime'''''''''''0''7'''''''''''''''''''''''''''''''''''">
              <a:rPr lang="ja-JP" altLang="en-US" sz="1000" smtClean="0"/>
              <a:pPr/>
              <a:t>07</a:t>
            </a:fld>
            <a:endParaRPr kumimoji="0" lang="ja-JP" altLang="en-US" sz="1000" dirty="0">
              <a:sym typeface="+mn-lt"/>
            </a:endParaRPr>
          </a:p>
        </p:txBody>
      </p:sp>
      <p:sp>
        <p:nvSpPr>
          <p:cNvPr id="44" name="テキスト プレースホルダ 9"/>
          <p:cNvSpPr>
            <a:spLocks noGrp="1"/>
          </p:cNvSpPr>
          <p:nvPr>
            <p:custDataLst>
              <p:tags r:id="rId12"/>
            </p:custDataLst>
          </p:nvPr>
        </p:nvSpPr>
        <p:spPr bwMode="auto">
          <a:xfrm>
            <a:off x="3290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FFEA85-5762-40D1-BC82-5378D93DDA39}" type="datetime'''''0''''''''''''''''''''''''''''''''''8'''''''">
              <a:rPr lang="ja-JP" altLang="en-US" sz="1000" smtClean="0"/>
              <a:pPr/>
              <a:t>08</a:t>
            </a:fld>
            <a:endParaRPr kumimoji="0" lang="ja-JP" altLang="en-US" sz="1000" dirty="0">
              <a:sym typeface="+mn-lt"/>
            </a:endParaRPr>
          </a:p>
        </p:txBody>
      </p:sp>
      <p:sp>
        <p:nvSpPr>
          <p:cNvPr id="45" name="テキスト プレースホルダ 9"/>
          <p:cNvSpPr>
            <a:spLocks noGrp="1"/>
          </p:cNvSpPr>
          <p:nvPr>
            <p:custDataLst>
              <p:tags r:id="rId13"/>
            </p:custDataLst>
          </p:nvPr>
        </p:nvSpPr>
        <p:spPr bwMode="auto">
          <a:xfrm>
            <a:off x="35956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5A17C8-1713-455D-961A-6B989D029E04}" type="datetime'''''''''''''''''''''09'''''''''''''''">
              <a:rPr lang="ja-JP" altLang="en-US" sz="1000" smtClean="0"/>
              <a:pPr/>
              <a:t>09</a:t>
            </a:fld>
            <a:endParaRPr kumimoji="0" lang="ja-JP" altLang="en-US" sz="1000" dirty="0">
              <a:sym typeface="+mn-lt"/>
            </a:endParaRPr>
          </a:p>
        </p:txBody>
      </p:sp>
      <p:sp>
        <p:nvSpPr>
          <p:cNvPr id="46" name="テキスト プレースホルダ 9"/>
          <p:cNvSpPr>
            <a:spLocks noGrp="1"/>
          </p:cNvSpPr>
          <p:nvPr>
            <p:custDataLst>
              <p:tags r:id="rId14"/>
            </p:custDataLst>
          </p:nvPr>
        </p:nvSpPr>
        <p:spPr bwMode="auto">
          <a:xfrm>
            <a:off x="39004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2B0F70-C771-4F50-87FA-91E30FFBCD7A}" type="datetime'''''''''''''''1''0'''''''''''''''''''''''''''">
              <a:rPr lang="ja-JP" altLang="en-US" sz="1000" smtClean="0"/>
              <a:pPr/>
              <a:t>10</a:t>
            </a:fld>
            <a:endParaRPr kumimoji="0" lang="ja-JP" altLang="en-US" sz="1000" dirty="0">
              <a:sym typeface="+mn-lt"/>
            </a:endParaRPr>
          </a:p>
        </p:txBody>
      </p:sp>
      <p:sp>
        <p:nvSpPr>
          <p:cNvPr id="47" name="テキスト プレースホルダ 9"/>
          <p:cNvSpPr>
            <a:spLocks noGrp="1"/>
          </p:cNvSpPr>
          <p:nvPr>
            <p:custDataLst>
              <p:tags r:id="rId15"/>
            </p:custDataLst>
          </p:nvPr>
        </p:nvSpPr>
        <p:spPr bwMode="auto">
          <a:xfrm>
            <a:off x="4205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27F76E-09CA-412A-9557-8FFA3D72D3B9}" type="datetime'''''''1''''''''''''''''''''''''''''''''''1'''''''''">
              <a:rPr lang="ja-JP" altLang="en-US" sz="1000" smtClean="0"/>
              <a:pPr/>
              <a:t>11</a:t>
            </a:fld>
            <a:endParaRPr kumimoji="0" lang="ja-JP" altLang="en-US" sz="1000" dirty="0">
              <a:sym typeface="+mn-lt"/>
            </a:endParaRPr>
          </a:p>
        </p:txBody>
      </p:sp>
      <p:sp>
        <p:nvSpPr>
          <p:cNvPr id="48" name="テキスト プレースホルダ 9"/>
          <p:cNvSpPr>
            <a:spLocks noGrp="1"/>
          </p:cNvSpPr>
          <p:nvPr>
            <p:custDataLst>
              <p:tags r:id="rId16"/>
            </p:custDataLst>
          </p:nvPr>
        </p:nvSpPr>
        <p:spPr bwMode="auto">
          <a:xfrm>
            <a:off x="4510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F87A47-D962-4B19-B304-C9E570B27D26}" type="datetime'''''''''''1''''''''''''''''''''''''2'''''">
              <a:rPr lang="ja-JP" altLang="en-US" sz="1000" smtClean="0"/>
              <a:pPr/>
              <a:t>12</a:t>
            </a:fld>
            <a:endParaRPr kumimoji="0" lang="ja-JP" altLang="en-US" sz="1000" dirty="0">
              <a:sym typeface="+mn-lt"/>
            </a:endParaRPr>
          </a:p>
        </p:txBody>
      </p:sp>
      <p:sp>
        <p:nvSpPr>
          <p:cNvPr id="49" name="テキスト プレースホルダ 9"/>
          <p:cNvSpPr>
            <a:spLocks noGrp="1"/>
          </p:cNvSpPr>
          <p:nvPr>
            <p:custDataLst>
              <p:tags r:id="rId17"/>
            </p:custDataLst>
          </p:nvPr>
        </p:nvSpPr>
        <p:spPr bwMode="auto">
          <a:xfrm>
            <a:off x="4814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B2FF16-02B0-4CDB-A41D-42E2075A317A}" type="datetime'''''''''''''''''''''''''''''''''13'''''">
              <a:rPr lang="ja-JP" altLang="en-US" sz="1000" smtClean="0"/>
              <a:pPr/>
              <a:t>13</a:t>
            </a:fld>
            <a:endParaRPr kumimoji="0" lang="ja-JP" altLang="en-US" sz="1000" dirty="0">
              <a:sym typeface="+mn-lt"/>
            </a:endParaRPr>
          </a:p>
        </p:txBody>
      </p:sp>
      <p:sp>
        <p:nvSpPr>
          <p:cNvPr id="50" name="テキスト プレースホルダ 9"/>
          <p:cNvSpPr>
            <a:spLocks noGrp="1"/>
          </p:cNvSpPr>
          <p:nvPr>
            <p:custDataLst>
              <p:tags r:id="rId18"/>
            </p:custDataLst>
          </p:nvPr>
        </p:nvSpPr>
        <p:spPr bwMode="auto">
          <a:xfrm>
            <a:off x="51196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68CE54-F226-4632-8822-AC8352B04019}" type="datetime'''''''''''''''''''14'''''''''''''''''''''''''''''">
              <a:rPr lang="ja-JP" altLang="en-US" sz="1000" smtClean="0"/>
              <a:pPr/>
              <a:t>14</a:t>
            </a:fld>
            <a:endParaRPr kumimoji="0" lang="ja-JP" altLang="en-US" sz="1000" dirty="0">
              <a:sym typeface="+mn-lt"/>
            </a:endParaRPr>
          </a:p>
        </p:txBody>
      </p:sp>
      <p:sp>
        <p:nvSpPr>
          <p:cNvPr id="51" name="テキスト プレースホルダ 9"/>
          <p:cNvSpPr>
            <a:spLocks noGrp="1"/>
          </p:cNvSpPr>
          <p:nvPr>
            <p:custDataLst>
              <p:tags r:id="rId19"/>
            </p:custDataLst>
          </p:nvPr>
        </p:nvSpPr>
        <p:spPr bwMode="auto">
          <a:xfrm>
            <a:off x="54244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AB039A-B1F4-4DCC-A858-99D603EFAC61}" type="datetime'''''''''''''1''''''''''''''''''''''''''''5'''''''''''''''''''">
              <a:rPr lang="ja-JP" altLang="en-US" sz="1000" smtClean="0"/>
              <a:pPr/>
              <a:t>15</a:t>
            </a:fld>
            <a:endParaRPr kumimoji="0" lang="ja-JP" altLang="en-US" sz="1000" dirty="0">
              <a:sym typeface="+mn-lt"/>
            </a:endParaRPr>
          </a:p>
        </p:txBody>
      </p:sp>
      <p:sp>
        <p:nvSpPr>
          <p:cNvPr id="118" name="テキスト プレースホルダ 9">
            <a:extLst>
              <a:ext uri="{FF2B5EF4-FFF2-40B4-BE49-F238E27FC236}">
                <a16:creationId xmlns:a16="http://schemas.microsoft.com/office/drawing/2014/main" id="{DB97768F-4F29-4ED5-9FD0-C5A63497C0DC}"/>
              </a:ext>
            </a:extLst>
          </p:cNvPr>
          <p:cNvSpPr>
            <a:spLocks noGrp="1"/>
          </p:cNvSpPr>
          <p:nvPr>
            <p:custDataLst>
              <p:tags r:id="rId20"/>
            </p:custDataLst>
          </p:nvPr>
        </p:nvSpPr>
        <p:spPr bwMode="auto">
          <a:xfrm>
            <a:off x="5729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86F97E-0B44-44DF-A073-ACE8ECB37087}" type="datetime'''''''''''''''''''''1''''6'">
              <a:rPr kumimoji="0" lang="ja-JP" altLang="en-US" sz="1000" smtClean="0"/>
              <a:pPr/>
              <a:t>16</a:t>
            </a:fld>
            <a:endParaRPr kumimoji="0" lang="ja-JP" altLang="en-US" sz="1000" dirty="0">
              <a:sym typeface="+mn-lt"/>
            </a:endParaRPr>
          </a:p>
        </p:txBody>
      </p:sp>
      <p:sp>
        <p:nvSpPr>
          <p:cNvPr id="119" name="テキスト プレースホルダ 9">
            <a:extLst>
              <a:ext uri="{FF2B5EF4-FFF2-40B4-BE49-F238E27FC236}">
                <a16:creationId xmlns:a16="http://schemas.microsoft.com/office/drawing/2014/main" id="{BA79B813-A138-4206-8D3C-879603731FC8}"/>
              </a:ext>
            </a:extLst>
          </p:cNvPr>
          <p:cNvSpPr>
            <a:spLocks noGrp="1"/>
          </p:cNvSpPr>
          <p:nvPr>
            <p:custDataLst>
              <p:tags r:id="rId21"/>
            </p:custDataLst>
          </p:nvPr>
        </p:nvSpPr>
        <p:spPr bwMode="auto">
          <a:xfrm>
            <a:off x="6034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850C7A-6EC8-46E5-B8F1-B218050DFD24}" type="datetime'''''''''''''1''7'''''''">
              <a:rPr kumimoji="0" lang="ja-JP" altLang="en-US" sz="1000" smtClean="0"/>
              <a:pPr/>
              <a:t>17</a:t>
            </a:fld>
            <a:endParaRPr kumimoji="0" lang="ja-JP" altLang="en-US" sz="1000" dirty="0">
              <a:sym typeface="+mn-lt"/>
            </a:endParaRPr>
          </a:p>
        </p:txBody>
      </p:sp>
      <p:sp>
        <p:nvSpPr>
          <p:cNvPr id="120" name="テキスト プレースホルダ 9">
            <a:extLst>
              <a:ext uri="{FF2B5EF4-FFF2-40B4-BE49-F238E27FC236}">
                <a16:creationId xmlns:a16="http://schemas.microsoft.com/office/drawing/2014/main" id="{F91D23C0-5F97-461B-B404-9B1535BB155E}"/>
              </a:ext>
            </a:extLst>
          </p:cNvPr>
          <p:cNvSpPr>
            <a:spLocks noGrp="1"/>
          </p:cNvSpPr>
          <p:nvPr>
            <p:custDataLst>
              <p:tags r:id="rId22"/>
            </p:custDataLst>
          </p:nvPr>
        </p:nvSpPr>
        <p:spPr bwMode="auto">
          <a:xfrm>
            <a:off x="6338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509153-156E-4E89-A59F-FAFAB7DFA1C0}" type="datetime'''''''1''''''''''''''''''''''8'''''''''''''''''''''''''''">
              <a:rPr kumimoji="0" lang="ja-JP" altLang="en-US" sz="1000" smtClean="0"/>
              <a:pPr/>
              <a:t>18</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7C0626A1-E9EB-4C71-967F-7189B55BF4B6}"/>
              </a:ext>
            </a:extLst>
          </p:cNvPr>
          <p:cNvSpPr>
            <a:spLocks noGrp="1"/>
          </p:cNvSpPr>
          <p:nvPr>
            <p:custDataLst>
              <p:tags r:id="rId23"/>
            </p:custDataLst>
          </p:nvPr>
        </p:nvSpPr>
        <p:spPr bwMode="auto">
          <a:xfrm>
            <a:off x="66436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17FC21-54F6-4889-8DE7-58ECA0C44C9A}" type="datetime'''''1''''''''''''''''9'''''''''''">
              <a:rPr kumimoji="0" lang="ja-JP" altLang="en-US" sz="1000" smtClean="0"/>
              <a:pPr/>
              <a:t>19</a:t>
            </a:fld>
            <a:endParaRPr kumimoji="0" lang="ja-JP" altLang="en-US" sz="1000" dirty="0">
              <a:sym typeface="+mn-lt"/>
            </a:endParaRPr>
          </a:p>
        </p:txBody>
      </p:sp>
      <p:sp>
        <p:nvSpPr>
          <p:cNvPr id="102" name="テキスト プレースホルダ 9"/>
          <p:cNvSpPr>
            <a:spLocks noGrp="1"/>
          </p:cNvSpPr>
          <p:nvPr>
            <p:custDataLst>
              <p:tags r:id="rId24"/>
            </p:custDataLst>
          </p:nvPr>
        </p:nvSpPr>
        <p:spPr bwMode="gray">
          <a:xfrm>
            <a:off x="814388" y="3062288"/>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E4C457-A0CB-4B6D-A75A-76260E2CDB0B}" type="datetime'''''''20''.''''''''''''''''''''''''''''''''''5'''''''''''">
              <a:rPr lang="ja-JP" altLang="en-US" sz="800" smtClean="0"/>
              <a:pPr/>
              <a:t>20.5</a:t>
            </a:fld>
            <a:endParaRPr kumimoji="0" lang="ja-JP" altLang="en-US" sz="800" dirty="0">
              <a:sym typeface="+mn-lt"/>
            </a:endParaRPr>
          </a:p>
        </p:txBody>
      </p:sp>
      <p:sp>
        <p:nvSpPr>
          <p:cNvPr id="103" name="テキスト プレースホルダ 9"/>
          <p:cNvSpPr>
            <a:spLocks noGrp="1"/>
          </p:cNvSpPr>
          <p:nvPr>
            <p:custDataLst>
              <p:tags r:id="rId25"/>
            </p:custDataLst>
          </p:nvPr>
        </p:nvSpPr>
        <p:spPr bwMode="gray">
          <a:xfrm>
            <a:off x="1119188" y="304165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0BEAC7-3E01-4719-964F-970501BAB1F7}" type="datetime'''''''''2''''''''1.''''''''''''''''8'''''''''">
              <a:rPr lang="ja-JP" altLang="en-US" sz="800" smtClean="0"/>
              <a:pPr/>
              <a:t>21.8</a:t>
            </a:fld>
            <a:endParaRPr kumimoji="0" lang="ja-JP" altLang="en-US" sz="800" dirty="0">
              <a:sym typeface="+mn-lt"/>
            </a:endParaRPr>
          </a:p>
        </p:txBody>
      </p:sp>
      <p:sp>
        <p:nvSpPr>
          <p:cNvPr id="111" name="テキスト プレースホルダ 9"/>
          <p:cNvSpPr>
            <a:spLocks noGrp="1"/>
          </p:cNvSpPr>
          <p:nvPr>
            <p:custDataLst>
              <p:tags r:id="rId26"/>
            </p:custDataLst>
          </p:nvPr>
        </p:nvSpPr>
        <p:spPr bwMode="gray">
          <a:xfrm>
            <a:off x="1423988" y="306070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7256CC-15F8-44F1-9123-2DD50DCD6119}" type="datetime'''''2''''''0''''''''''''''''''''''''.''''''6'">
              <a:rPr lang="ja-JP" altLang="en-US" sz="800" smtClean="0"/>
              <a:pPr/>
              <a:t>20.6</a:t>
            </a:fld>
            <a:endParaRPr kumimoji="0" lang="ja-JP" altLang="en-US" sz="800" dirty="0">
              <a:sym typeface="+mn-lt"/>
            </a:endParaRPr>
          </a:p>
        </p:txBody>
      </p:sp>
      <p:sp>
        <p:nvSpPr>
          <p:cNvPr id="104" name="テキスト プレースホルダ 9"/>
          <p:cNvSpPr>
            <a:spLocks noGrp="1"/>
          </p:cNvSpPr>
          <p:nvPr>
            <p:custDataLst>
              <p:tags r:id="rId27"/>
            </p:custDataLst>
          </p:nvPr>
        </p:nvSpPr>
        <p:spPr bwMode="gray">
          <a:xfrm>
            <a:off x="1728788" y="305435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7FDFBD-303B-4174-ACCA-39DDC5153FC7}" type="datetime'2''''''''1''.''''''''''''''0'''''''''''''''''''''''''''">
              <a:rPr lang="ja-JP" altLang="en-US" sz="800" smtClean="0"/>
              <a:pPr/>
              <a:t>21.0</a:t>
            </a:fld>
            <a:endParaRPr kumimoji="0" lang="ja-JP" altLang="en-US" sz="800" dirty="0">
              <a:sym typeface="+mn-lt"/>
            </a:endParaRPr>
          </a:p>
        </p:txBody>
      </p:sp>
      <p:sp>
        <p:nvSpPr>
          <p:cNvPr id="105" name="テキスト プレースホルダ 9"/>
          <p:cNvSpPr>
            <a:spLocks noGrp="1"/>
          </p:cNvSpPr>
          <p:nvPr>
            <p:custDataLst>
              <p:tags r:id="rId28"/>
            </p:custDataLst>
          </p:nvPr>
        </p:nvSpPr>
        <p:spPr bwMode="gray">
          <a:xfrm>
            <a:off x="2033588" y="306070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D7E63B-74E8-4DA7-A5EF-3BF28587AFB8}" type="datetime'''''2''''''''''''''''''''''''0''''.''''5'''''''''''''''">
              <a:rPr lang="ja-JP" altLang="en-US" sz="800" smtClean="0"/>
              <a:pPr/>
              <a:t>20.5</a:t>
            </a:fld>
            <a:endParaRPr kumimoji="0" lang="ja-JP" altLang="en-US" sz="800" dirty="0">
              <a:sym typeface="+mn-lt"/>
            </a:endParaRPr>
          </a:p>
        </p:txBody>
      </p:sp>
      <p:sp>
        <p:nvSpPr>
          <p:cNvPr id="106" name="テキスト プレースホルダ 9"/>
          <p:cNvSpPr>
            <a:spLocks noGrp="1"/>
          </p:cNvSpPr>
          <p:nvPr>
            <p:custDataLst>
              <p:tags r:id="rId29"/>
            </p:custDataLst>
          </p:nvPr>
        </p:nvSpPr>
        <p:spPr bwMode="gray">
          <a:xfrm>
            <a:off x="2338388" y="30575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192E87-60CD-40BC-A17B-9025970C4D33}" type="datetime'''''''''''''''''''''2''''''''''''''0''''.''''''''7'''''''">
              <a:rPr lang="ja-JP" altLang="en-US" sz="800" smtClean="0"/>
              <a:pPr/>
              <a:t>20.7</a:t>
            </a:fld>
            <a:endParaRPr kumimoji="0" lang="ja-JP" altLang="en-US" sz="800" dirty="0">
              <a:sym typeface="+mn-lt"/>
            </a:endParaRPr>
          </a:p>
        </p:txBody>
      </p:sp>
      <p:sp>
        <p:nvSpPr>
          <p:cNvPr id="107" name="テキスト プレースホルダ 9"/>
          <p:cNvSpPr>
            <a:spLocks noGrp="1"/>
          </p:cNvSpPr>
          <p:nvPr>
            <p:custDataLst>
              <p:tags r:id="rId30"/>
            </p:custDataLst>
          </p:nvPr>
        </p:nvSpPr>
        <p:spPr bwMode="gray">
          <a:xfrm>
            <a:off x="2643188" y="3027363"/>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61E1F6-80D5-477E-9B58-8D24BB1681BF}" type="datetime'''''''''2''''''''''''''''''''''''''2''''''''''''.''''''''''7'">
              <a:rPr lang="ja-JP" altLang="en-US" sz="800" smtClean="0"/>
              <a:pPr/>
              <a:t>22.7</a:t>
            </a:fld>
            <a:endParaRPr kumimoji="0" lang="ja-JP" altLang="en-US" sz="800" dirty="0">
              <a:sym typeface="+mn-lt"/>
            </a:endParaRPr>
          </a:p>
        </p:txBody>
      </p:sp>
      <p:sp>
        <p:nvSpPr>
          <p:cNvPr id="108" name="テキスト プレースホルダ 9"/>
          <p:cNvSpPr>
            <a:spLocks noGrp="1"/>
          </p:cNvSpPr>
          <p:nvPr>
            <p:custDataLst>
              <p:tags r:id="rId31"/>
            </p:custDataLst>
          </p:nvPr>
        </p:nvSpPr>
        <p:spPr bwMode="gray">
          <a:xfrm>
            <a:off x="2947988" y="302577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281136-3E9D-43C1-9B5F-72CF988E78D5}" type="datetime'''''''''''''''''''''2''''2''''''''''''''.''''8'''">
              <a:rPr lang="ja-JP" altLang="en-US" sz="800" smtClean="0"/>
              <a:pPr/>
              <a:t>22.8</a:t>
            </a:fld>
            <a:endParaRPr kumimoji="0" lang="ja-JP" altLang="en-US" sz="800" dirty="0">
              <a:sym typeface="+mn-lt"/>
            </a:endParaRPr>
          </a:p>
        </p:txBody>
      </p:sp>
      <p:sp>
        <p:nvSpPr>
          <p:cNvPr id="109" name="テキスト プレースホルダ 9"/>
          <p:cNvSpPr>
            <a:spLocks noGrp="1"/>
          </p:cNvSpPr>
          <p:nvPr>
            <p:custDataLst>
              <p:tags r:id="rId32"/>
            </p:custDataLst>
          </p:nvPr>
        </p:nvSpPr>
        <p:spPr bwMode="gray">
          <a:xfrm>
            <a:off x="3252788" y="3065463"/>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BBBAB9-4096-42B9-B352-790B243C87DB}" type="datetime'''''20''''''''''.''''''''''''''2'''''''''''''''''''''">
              <a:rPr lang="ja-JP" altLang="en-US" sz="800" smtClean="0"/>
              <a:pPr/>
              <a:t>20.2</a:t>
            </a:fld>
            <a:endParaRPr kumimoji="0" lang="ja-JP" altLang="en-US" sz="800" dirty="0">
              <a:sym typeface="+mn-lt"/>
            </a:endParaRPr>
          </a:p>
        </p:txBody>
      </p:sp>
      <p:sp>
        <p:nvSpPr>
          <p:cNvPr id="110" name="テキスト プレースホルダ 9"/>
          <p:cNvSpPr>
            <a:spLocks noGrp="1"/>
          </p:cNvSpPr>
          <p:nvPr>
            <p:custDataLst>
              <p:tags r:id="rId33"/>
            </p:custDataLst>
          </p:nvPr>
        </p:nvSpPr>
        <p:spPr bwMode="gray">
          <a:xfrm>
            <a:off x="3557588" y="29305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AC44E5-3903-4C19-BD3D-248779574021}" type="datetime'''''''''2''''''''''''''''''8''''''''.9'''''''''''''''">
              <a:rPr lang="ja-JP" altLang="en-US" sz="800" smtClean="0"/>
              <a:pPr/>
              <a:t>28.9</a:t>
            </a:fld>
            <a:endParaRPr kumimoji="0" lang="ja-JP" altLang="en-US" sz="800" dirty="0">
              <a:sym typeface="+mn-lt"/>
            </a:endParaRPr>
          </a:p>
        </p:txBody>
      </p:sp>
      <p:sp>
        <p:nvSpPr>
          <p:cNvPr id="117" name="テキスト プレースホルダ 9"/>
          <p:cNvSpPr>
            <a:spLocks noGrp="1"/>
          </p:cNvSpPr>
          <p:nvPr>
            <p:custDataLst>
              <p:tags r:id="rId34"/>
            </p:custDataLst>
          </p:nvPr>
        </p:nvSpPr>
        <p:spPr bwMode="gray">
          <a:xfrm>
            <a:off x="3862388" y="297815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AC2CE2-B142-499B-9449-EE0E5AC4A6E5}" type="datetime'''''''25''''''''''''.''''''''''''''''''''''8'''''''''''''">
              <a:rPr lang="ja-JP" altLang="en-US" sz="800" smtClean="0"/>
              <a:pPr/>
              <a:t>25.8</a:t>
            </a:fld>
            <a:endParaRPr kumimoji="0" lang="ja-JP" altLang="en-US" sz="800" dirty="0">
              <a:sym typeface="+mn-lt"/>
            </a:endParaRPr>
          </a:p>
        </p:txBody>
      </p:sp>
      <p:sp>
        <p:nvSpPr>
          <p:cNvPr id="112" name="テキスト プレースホルダ 9"/>
          <p:cNvSpPr>
            <a:spLocks noGrp="1"/>
          </p:cNvSpPr>
          <p:nvPr>
            <p:custDataLst>
              <p:tags r:id="rId35"/>
            </p:custDataLst>
          </p:nvPr>
        </p:nvSpPr>
        <p:spPr bwMode="gray">
          <a:xfrm>
            <a:off x="4167188" y="29305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94B0C7-9E59-4394-8168-2FC32A7E9AA0}" type="datetime'''''''''''''''''''''28''''''''''''''''''''''''''''.''''9'">
              <a:rPr lang="ja-JP" altLang="en-US" sz="800" smtClean="0"/>
              <a:pPr/>
              <a:t>28.9</a:t>
            </a:fld>
            <a:endParaRPr kumimoji="0" lang="ja-JP" altLang="en-US" sz="800" dirty="0">
              <a:sym typeface="+mn-lt"/>
            </a:endParaRPr>
          </a:p>
        </p:txBody>
      </p:sp>
      <p:sp>
        <p:nvSpPr>
          <p:cNvPr id="113" name="テキスト プレースホルダ 9"/>
          <p:cNvSpPr>
            <a:spLocks noGrp="1"/>
          </p:cNvSpPr>
          <p:nvPr>
            <p:custDataLst>
              <p:tags r:id="rId36"/>
            </p:custDataLst>
          </p:nvPr>
        </p:nvSpPr>
        <p:spPr bwMode="gray">
          <a:xfrm>
            <a:off x="4471988" y="2865438"/>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5E5834-F6BA-4BFF-92ED-A9074E82F472}" type="datetime'''''''''''''''''3''''''''''''''''''''''3.''''''''''0'''">
              <a:rPr lang="ja-JP" altLang="en-US" sz="800" smtClean="0"/>
              <a:pPr/>
              <a:t>33.0</a:t>
            </a:fld>
            <a:endParaRPr kumimoji="0" lang="ja-JP" altLang="en-US" sz="800" dirty="0">
              <a:sym typeface="+mn-lt"/>
            </a:endParaRPr>
          </a:p>
        </p:txBody>
      </p:sp>
      <p:sp>
        <p:nvSpPr>
          <p:cNvPr id="114" name="テキスト プレースホルダ 9"/>
          <p:cNvSpPr>
            <a:spLocks noGrp="1"/>
          </p:cNvSpPr>
          <p:nvPr>
            <p:custDataLst>
              <p:tags r:id="rId37"/>
            </p:custDataLst>
          </p:nvPr>
        </p:nvSpPr>
        <p:spPr bwMode="gray">
          <a:xfrm>
            <a:off x="4776788" y="279400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FD4D67-FDFB-4051-9356-E680890C1759}" type="datetime'''''''''''''''''''''''''''''37''.''''''''''''5'''''''''''">
              <a:rPr lang="ja-JP" altLang="en-US" sz="800" smtClean="0"/>
              <a:pPr/>
              <a:t>37.5</a:t>
            </a:fld>
            <a:endParaRPr kumimoji="0" lang="ja-JP" altLang="en-US" sz="800" dirty="0">
              <a:sym typeface="+mn-lt"/>
            </a:endParaRPr>
          </a:p>
        </p:txBody>
      </p:sp>
      <p:sp>
        <p:nvSpPr>
          <p:cNvPr id="115" name="テキスト プレースホルダ 9"/>
          <p:cNvSpPr>
            <a:spLocks noGrp="1"/>
          </p:cNvSpPr>
          <p:nvPr>
            <p:custDataLst>
              <p:tags r:id="rId38"/>
            </p:custDataLst>
          </p:nvPr>
        </p:nvSpPr>
        <p:spPr bwMode="gray">
          <a:xfrm>
            <a:off x="5081588" y="267017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ACA392-E0AA-434D-A87C-A309A3A37917}" type="datetime'''''''''''''''4''5''''''.''''''''''''''''''''''5'''''''''">
              <a:rPr lang="ja-JP" altLang="en-US" sz="800" smtClean="0"/>
              <a:pPr/>
              <a:t>45.5</a:t>
            </a:fld>
            <a:endParaRPr kumimoji="0" lang="ja-JP" altLang="en-US" sz="800" dirty="0">
              <a:sym typeface="+mn-lt"/>
            </a:endParaRPr>
          </a:p>
        </p:txBody>
      </p:sp>
      <p:sp>
        <p:nvSpPr>
          <p:cNvPr id="116" name="テキスト プレースホルダ 9"/>
          <p:cNvSpPr>
            <a:spLocks noGrp="1"/>
          </p:cNvSpPr>
          <p:nvPr>
            <p:custDataLst>
              <p:tags r:id="rId39"/>
            </p:custDataLst>
          </p:nvPr>
        </p:nvSpPr>
        <p:spPr bwMode="gray">
          <a:xfrm>
            <a:off x="5386388" y="25368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D83B22-3665-4894-B6C5-06F8CC4D6747}" type="datetime'''''''''''''''''''''54''.''''''''''''''''''0'''''''''">
              <a:rPr lang="ja-JP" altLang="en-US" sz="800" smtClean="0"/>
              <a:pPr/>
              <a:t>54.0</a:t>
            </a:fld>
            <a:endParaRPr kumimoji="0" lang="ja-JP" altLang="en-US" sz="800" dirty="0">
              <a:sym typeface="+mn-lt"/>
            </a:endParaRPr>
          </a:p>
        </p:txBody>
      </p:sp>
      <p:sp>
        <p:nvSpPr>
          <p:cNvPr id="121" name="テキスト プレースホルダ 9">
            <a:extLst>
              <a:ext uri="{FF2B5EF4-FFF2-40B4-BE49-F238E27FC236}">
                <a16:creationId xmlns:a16="http://schemas.microsoft.com/office/drawing/2014/main" id="{237401B4-00CB-4F78-A739-837AAEFA6B5B}"/>
              </a:ext>
            </a:extLst>
          </p:cNvPr>
          <p:cNvSpPr>
            <a:spLocks noGrp="1"/>
          </p:cNvSpPr>
          <p:nvPr>
            <p:custDataLst>
              <p:tags r:id="rId40"/>
            </p:custDataLst>
          </p:nvPr>
        </p:nvSpPr>
        <p:spPr bwMode="gray">
          <a:xfrm>
            <a:off x="5691188" y="2465388"/>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E5A1D6-D6DB-4101-8BBB-FCC2D5C78500}" type="datetime'''''''''''''''''''5''8''''''''.''''6'''">
              <a:rPr lang="ja-JP" altLang="en-US" sz="800" smtClean="0"/>
              <a:pPr/>
              <a:t>58.6</a:t>
            </a:fld>
            <a:endParaRPr lang="ja-JP" altLang="en-US" sz="800" dirty="0">
              <a:sym typeface="+mn-lt"/>
            </a:endParaRPr>
          </a:p>
        </p:txBody>
      </p:sp>
      <p:sp>
        <p:nvSpPr>
          <p:cNvPr id="126" name="テキスト プレースホルダ 9">
            <a:extLst>
              <a:ext uri="{FF2B5EF4-FFF2-40B4-BE49-F238E27FC236}">
                <a16:creationId xmlns:a16="http://schemas.microsoft.com/office/drawing/2014/main" id="{A9E52862-DF4E-4E78-A3A0-257B53E0C92A}"/>
              </a:ext>
            </a:extLst>
          </p:cNvPr>
          <p:cNvSpPr>
            <a:spLocks noGrp="1"/>
          </p:cNvSpPr>
          <p:nvPr>
            <p:custDataLst>
              <p:tags r:id="rId41"/>
            </p:custDataLst>
          </p:nvPr>
        </p:nvSpPr>
        <p:spPr bwMode="gray">
          <a:xfrm>
            <a:off x="5995988" y="2487613"/>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F7FBF8-5934-4C41-87BE-3F56A65E4AB8}" type="datetime'''''''''''''''''''''''''''5''7''''''''''''.''''''''''''''1'">
              <a:rPr lang="ja-JP" altLang="en-US" sz="800" smtClean="0"/>
              <a:pPr/>
              <a:t>57.1</a:t>
            </a:fld>
            <a:endParaRPr lang="ja-JP" altLang="en-US" sz="800" dirty="0">
              <a:sym typeface="+mn-lt"/>
            </a:endParaRPr>
          </a:p>
        </p:txBody>
      </p:sp>
      <p:sp>
        <p:nvSpPr>
          <p:cNvPr id="129" name="テキスト プレースホルダ 9">
            <a:extLst>
              <a:ext uri="{FF2B5EF4-FFF2-40B4-BE49-F238E27FC236}">
                <a16:creationId xmlns:a16="http://schemas.microsoft.com/office/drawing/2014/main" id="{2B6613D4-8712-468A-B8BD-2FACF27C2002}"/>
              </a:ext>
            </a:extLst>
          </p:cNvPr>
          <p:cNvSpPr>
            <a:spLocks noGrp="1"/>
          </p:cNvSpPr>
          <p:nvPr>
            <p:custDataLst>
              <p:tags r:id="rId42"/>
            </p:custDataLst>
          </p:nvPr>
        </p:nvSpPr>
        <p:spPr bwMode="gray">
          <a:xfrm>
            <a:off x="6300788" y="256540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F40674-7D42-420E-8DA7-9D3EC27A5A2B}" type="datetime'''''''''''''''''''''''5''''''2''''''.2'''''''''''''''''''''''">
              <a:rPr lang="ja-JP" altLang="en-US" sz="800" smtClean="0"/>
              <a:pPr/>
              <a:t>52.2</a:t>
            </a:fld>
            <a:endParaRPr lang="ja-JP" altLang="en-US" sz="800" dirty="0">
              <a:sym typeface="+mn-lt"/>
            </a:endParaRPr>
          </a:p>
        </p:txBody>
      </p:sp>
      <p:sp>
        <p:nvSpPr>
          <p:cNvPr id="257" name="テキスト プレースホルダ 9">
            <a:extLst>
              <a:ext uri="{FF2B5EF4-FFF2-40B4-BE49-F238E27FC236}">
                <a16:creationId xmlns:a16="http://schemas.microsoft.com/office/drawing/2014/main" id="{083F3D84-CAF9-496E-8986-724B7020CA27}"/>
              </a:ext>
            </a:extLst>
          </p:cNvPr>
          <p:cNvSpPr>
            <a:spLocks noGrp="1"/>
          </p:cNvSpPr>
          <p:nvPr>
            <p:custDataLst>
              <p:tags r:id="rId43"/>
            </p:custDataLst>
          </p:nvPr>
        </p:nvSpPr>
        <p:spPr bwMode="gray">
          <a:xfrm>
            <a:off x="6605588" y="25368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57E70F-75AE-4823-A0A2-A36F31288ADB}" type="datetime'''''''''5''''''''''''''''''4''.''''0'''''''''''''''''">
              <a:rPr lang="ja-JP" altLang="en-US" sz="800" smtClean="0"/>
              <a:pPr/>
              <a:t>54.0</a:t>
            </a:fld>
            <a:endParaRPr lang="ja-JP" altLang="en-US" sz="800" dirty="0">
              <a:sym typeface="+mn-lt"/>
            </a:endParaRPr>
          </a:p>
        </p:txBody>
      </p:sp>
      <p:sp>
        <p:nvSpPr>
          <p:cNvPr id="5" name="テキスト プレースホルダ 9">
            <a:extLst>
              <a:ext uri="{FF2B5EF4-FFF2-40B4-BE49-F238E27FC236}">
                <a16:creationId xmlns:a16="http://schemas.microsoft.com/office/drawing/2014/main" id="{928BD7E9-87F8-11EE-E833-A42DF7648659}"/>
              </a:ext>
            </a:extLst>
          </p:cNvPr>
          <p:cNvSpPr>
            <a:spLocks noGrp="1"/>
          </p:cNvSpPr>
          <p:nvPr>
            <p:custDataLst>
              <p:tags r:id="rId44"/>
            </p:custDataLst>
          </p:nvPr>
        </p:nvSpPr>
        <p:spPr bwMode="auto">
          <a:xfrm>
            <a:off x="69484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587A15-8A6F-402F-8730-41EC4720F39C}" type="datetime'2''''''''''''''''''''''''''''''''''0'''''''''''''''''''''">
              <a:rPr kumimoji="0" lang="ja-JP" altLang="en-US" sz="1000" smtClean="0"/>
              <a:pPr/>
              <a:t>20</a:t>
            </a:fld>
            <a:endParaRPr kumimoji="0" lang="ja-JP" altLang="en-US" sz="1000" dirty="0">
              <a:sym typeface="+mn-lt"/>
            </a:endParaRPr>
          </a:p>
        </p:txBody>
      </p:sp>
      <p:sp>
        <p:nvSpPr>
          <p:cNvPr id="6" name="テキスト プレースホルダ 9">
            <a:extLst>
              <a:ext uri="{FF2B5EF4-FFF2-40B4-BE49-F238E27FC236}">
                <a16:creationId xmlns:a16="http://schemas.microsoft.com/office/drawing/2014/main" id="{C87EBDE4-0614-2499-91F7-BE5779B6DF51}"/>
              </a:ext>
            </a:extLst>
          </p:cNvPr>
          <p:cNvSpPr>
            <a:spLocks noGrp="1"/>
          </p:cNvSpPr>
          <p:nvPr>
            <p:custDataLst>
              <p:tags r:id="rId45"/>
            </p:custDataLst>
          </p:nvPr>
        </p:nvSpPr>
        <p:spPr bwMode="auto">
          <a:xfrm>
            <a:off x="7253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5A8090-ECCB-4177-839E-E75C71C03303}" type="datetime'''''''''''''''2''''''''''''''''''''''''''1'''''''''''''''">
              <a:rPr kumimoji="0" lang="ja-JP" altLang="en-US" sz="1000" smtClean="0"/>
              <a:pPr/>
              <a:t>21</a:t>
            </a:fld>
            <a:endParaRPr kumimoji="0" lang="ja-JP" altLang="en-US" sz="1000" dirty="0">
              <a:sym typeface="+mn-lt"/>
            </a:endParaRPr>
          </a:p>
        </p:txBody>
      </p:sp>
      <p:sp>
        <p:nvSpPr>
          <p:cNvPr id="9" name="テキスト プレースホルダ 9">
            <a:extLst>
              <a:ext uri="{FF2B5EF4-FFF2-40B4-BE49-F238E27FC236}">
                <a16:creationId xmlns:a16="http://schemas.microsoft.com/office/drawing/2014/main" id="{7395EF2B-74DF-6416-2351-757926BC4336}"/>
              </a:ext>
            </a:extLst>
          </p:cNvPr>
          <p:cNvSpPr>
            <a:spLocks noGrp="1"/>
          </p:cNvSpPr>
          <p:nvPr>
            <p:custDataLst>
              <p:tags r:id="rId46"/>
            </p:custDataLst>
          </p:nvPr>
        </p:nvSpPr>
        <p:spPr bwMode="auto">
          <a:xfrm>
            <a:off x="7558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6B42D2-9B3F-4604-ABBC-7D19304DFF02}" type="datetime'''''''''''''''''2''''''''''''''''''''''''2'''''''''">
              <a:rPr kumimoji="0" lang="ja-JP" altLang="en-US" sz="1000" smtClean="0"/>
              <a:pPr/>
              <a:t>22</a:t>
            </a:fld>
            <a:endParaRPr kumimoji="0" lang="ja-JP" altLang="en-US" sz="1000" dirty="0">
              <a:sym typeface="+mn-lt"/>
            </a:endParaRPr>
          </a:p>
        </p:txBody>
      </p:sp>
      <p:sp>
        <p:nvSpPr>
          <p:cNvPr id="10" name="テキスト プレースホルダ 9">
            <a:extLst>
              <a:ext uri="{FF2B5EF4-FFF2-40B4-BE49-F238E27FC236}">
                <a16:creationId xmlns:a16="http://schemas.microsoft.com/office/drawing/2014/main" id="{D261C66D-4BD5-2FC8-3BE1-1239A6B49A88}"/>
              </a:ext>
            </a:extLst>
          </p:cNvPr>
          <p:cNvSpPr>
            <a:spLocks noGrp="1"/>
          </p:cNvSpPr>
          <p:nvPr>
            <p:custDataLst>
              <p:tags r:id="rId47"/>
            </p:custDataLst>
          </p:nvPr>
        </p:nvSpPr>
        <p:spPr bwMode="auto">
          <a:xfrm>
            <a:off x="7862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6957C4-4AC3-43F7-9D36-F4EF1F62BCBC}" type="datetime'''''''''''''''''''''''''''''2''''''''3'''''''''''''''''">
              <a:rPr kumimoji="0" lang="ja-JP" altLang="en-US" sz="1000" smtClean="0"/>
              <a:pPr/>
              <a:t>23</a:t>
            </a:fld>
            <a:endParaRPr kumimoji="0" lang="ja-JP" altLang="en-US" sz="1000" dirty="0">
              <a:sym typeface="+mn-lt"/>
            </a:endParaRPr>
          </a:p>
        </p:txBody>
      </p:sp>
      <p:sp>
        <p:nvSpPr>
          <p:cNvPr id="11" name="テキスト プレースホルダ 9">
            <a:extLst>
              <a:ext uri="{FF2B5EF4-FFF2-40B4-BE49-F238E27FC236}">
                <a16:creationId xmlns:a16="http://schemas.microsoft.com/office/drawing/2014/main" id="{35248CC0-5906-C85B-A57C-F44D03ADB419}"/>
              </a:ext>
            </a:extLst>
          </p:cNvPr>
          <p:cNvSpPr>
            <a:spLocks noGrp="1"/>
          </p:cNvSpPr>
          <p:nvPr>
            <p:custDataLst>
              <p:tags r:id="rId48"/>
            </p:custDataLst>
          </p:nvPr>
        </p:nvSpPr>
        <p:spPr bwMode="gray">
          <a:xfrm>
            <a:off x="6910388" y="239077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E2387E-B823-4055-8D7F-9FDFFA3CFD84}" type="datetime'''''''''6''''''''''''''''3''''''''.''''''''''''''3'''''''">
              <a:rPr lang="ja-JP" altLang="en-US" sz="800" smtClean="0"/>
              <a:pPr/>
              <a:t>63.3</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0559EDE5-AD3B-484A-1BBE-6EA7E43A6B13}"/>
              </a:ext>
            </a:extLst>
          </p:cNvPr>
          <p:cNvSpPr>
            <a:spLocks noGrp="1"/>
          </p:cNvSpPr>
          <p:nvPr>
            <p:custDataLst>
              <p:tags r:id="rId49"/>
            </p:custDataLst>
          </p:nvPr>
        </p:nvSpPr>
        <p:spPr bwMode="gray">
          <a:xfrm>
            <a:off x="7215188" y="2452688"/>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CDA0C7-E7A9-424E-90EF-EEDEC4700FAE}" type="datetime'''''''''''5''9''''.''''''''4'''''''''''''''''''''''''''''">
              <a:rPr lang="ja-JP" altLang="en-US" sz="800" smtClean="0"/>
              <a:pPr/>
              <a:t>59.4</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A2CACA81-D0B2-85B7-1248-120162DECE35}"/>
              </a:ext>
            </a:extLst>
          </p:cNvPr>
          <p:cNvSpPr>
            <a:spLocks noGrp="1"/>
          </p:cNvSpPr>
          <p:nvPr>
            <p:custDataLst>
              <p:tags r:id="rId50"/>
            </p:custDataLst>
          </p:nvPr>
        </p:nvSpPr>
        <p:spPr bwMode="gray">
          <a:xfrm>
            <a:off x="7519988" y="2487613"/>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82D89F-299D-4C81-AC06-9080BCF1CC55}" type="datetime'''5''''''''''''''''''''''''''''''''''''''''''''''7''''''.''2'">
              <a:rPr lang="ja-JP" altLang="en-US" sz="800" smtClean="0"/>
              <a:pPr/>
              <a:t>57.2</a:t>
            </a:fld>
            <a:endParaRPr lang="ja-JP" altLang="en-US" sz="800" dirty="0">
              <a:sym typeface="+mn-lt"/>
            </a:endParaRPr>
          </a:p>
        </p:txBody>
      </p:sp>
      <p:sp>
        <p:nvSpPr>
          <p:cNvPr id="14" name="テキスト プレースホルダ 9">
            <a:extLst>
              <a:ext uri="{FF2B5EF4-FFF2-40B4-BE49-F238E27FC236}">
                <a16:creationId xmlns:a16="http://schemas.microsoft.com/office/drawing/2014/main" id="{DA8D940C-C162-5A15-F36F-E1A05C46EADA}"/>
              </a:ext>
            </a:extLst>
          </p:cNvPr>
          <p:cNvSpPr>
            <a:spLocks noGrp="1"/>
          </p:cNvSpPr>
          <p:nvPr>
            <p:custDataLst>
              <p:tags r:id="rId51"/>
            </p:custDataLst>
          </p:nvPr>
        </p:nvSpPr>
        <p:spPr bwMode="gray">
          <a:xfrm>
            <a:off x="7824788" y="243205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7D9C06-6F69-4A7F-91FF-3E1D7324C5A5}" type="datetime'''''''''6''''0''''''''''''''''''''''.''''''''''7'''''">
              <a:rPr lang="ja-JP" altLang="en-US" sz="800" smtClean="0"/>
              <a:pPr/>
              <a:t>60.7</a:t>
            </a:fld>
            <a:endParaRPr lang="ja-JP" altLang="en-US" sz="800" dirty="0">
              <a:sym typeface="+mn-lt"/>
            </a:endParaRPr>
          </a:p>
        </p:txBody>
      </p:sp>
      <p:sp>
        <p:nvSpPr>
          <p:cNvPr id="291" name="テキスト プレースホルダ 9">
            <a:extLst>
              <a:ext uri="{FF2B5EF4-FFF2-40B4-BE49-F238E27FC236}">
                <a16:creationId xmlns:a16="http://schemas.microsoft.com/office/drawing/2014/main" id="{F4F824D6-DB56-B1A6-6E65-9EC031C3E142}"/>
              </a:ext>
            </a:extLst>
          </p:cNvPr>
          <p:cNvSpPr>
            <a:spLocks noGrp="1"/>
          </p:cNvSpPr>
          <p:nvPr>
            <p:custDataLst>
              <p:tags r:id="rId52"/>
            </p:custDataLst>
          </p:nvPr>
        </p:nvSpPr>
        <p:spPr bwMode="gray">
          <a:xfrm>
            <a:off x="4167188" y="33178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B560B2-7239-403C-AD95-087A1D1F3D59}" type="datetime'''''''''''''''1''''''''''''''''9.''4'''''''''''''''''''''''''">
              <a:rPr lang="ja-JP" altLang="en-US" sz="800" smtClean="0">
                <a:effectLst/>
                <a:sym typeface="+mn-lt"/>
              </a:rPr>
              <a:pPr marL="0" lvl="0" indent="0" algn="ctr">
                <a:spcBef>
                  <a:spcPct val="0"/>
                </a:spcBef>
                <a:buNone/>
              </a:pPr>
              <a:t>19.4</a:t>
            </a:fld>
            <a:endParaRPr kumimoji="1" lang="ja-JP" altLang="en-US" sz="800" dirty="0">
              <a:sym typeface="+mn-lt"/>
            </a:endParaRPr>
          </a:p>
        </p:txBody>
      </p:sp>
      <p:sp>
        <p:nvSpPr>
          <p:cNvPr id="292" name="テキスト プレースホルダ 9">
            <a:extLst>
              <a:ext uri="{FF2B5EF4-FFF2-40B4-BE49-F238E27FC236}">
                <a16:creationId xmlns:a16="http://schemas.microsoft.com/office/drawing/2014/main" id="{7EA24D94-C645-A5DB-3ACB-3EC475122EB4}"/>
              </a:ext>
            </a:extLst>
          </p:cNvPr>
          <p:cNvSpPr>
            <a:spLocks noGrp="1"/>
          </p:cNvSpPr>
          <p:nvPr>
            <p:custDataLst>
              <p:tags r:id="rId53"/>
            </p:custDataLst>
          </p:nvPr>
        </p:nvSpPr>
        <p:spPr bwMode="gray">
          <a:xfrm>
            <a:off x="4471988" y="32924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861B80-0E81-41D1-96F3-8B13AEACDCA1}" type="datetime'''''''''''''''2''''''''''2''.''''''''''''''''''''''''5'''''">
              <a:rPr lang="ja-JP" altLang="en-US" sz="800" smtClean="0">
                <a:effectLst/>
                <a:sym typeface="+mn-lt"/>
              </a:rPr>
              <a:pPr marL="0" lvl="0" indent="0" algn="ctr">
                <a:spcBef>
                  <a:spcPct val="0"/>
                </a:spcBef>
                <a:buNone/>
              </a:pPr>
              <a:t>22.5</a:t>
            </a:fld>
            <a:endParaRPr kumimoji="1" lang="ja-JP" altLang="en-US" sz="800" dirty="0">
              <a:sym typeface="+mn-lt"/>
            </a:endParaRPr>
          </a:p>
        </p:txBody>
      </p:sp>
      <p:sp>
        <p:nvSpPr>
          <p:cNvPr id="293" name="テキスト プレースホルダ 9">
            <a:extLst>
              <a:ext uri="{FF2B5EF4-FFF2-40B4-BE49-F238E27FC236}">
                <a16:creationId xmlns:a16="http://schemas.microsoft.com/office/drawing/2014/main" id="{945D976E-FF1F-6723-56A7-804AC5CC9A84}"/>
              </a:ext>
            </a:extLst>
          </p:cNvPr>
          <p:cNvSpPr>
            <a:spLocks noGrp="1"/>
          </p:cNvSpPr>
          <p:nvPr>
            <p:custDataLst>
              <p:tags r:id="rId54"/>
            </p:custDataLst>
          </p:nvPr>
        </p:nvSpPr>
        <p:spPr bwMode="gray">
          <a:xfrm>
            <a:off x="4776788" y="32654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383AEE-27C2-46C4-9C97-A081DFCED7EE}" type="datetime'''''''''''''2''''''''''''6''.''1'''''''''">
              <a:rPr lang="ja-JP" altLang="en-US" sz="800" smtClean="0">
                <a:effectLst/>
                <a:sym typeface="+mn-lt"/>
              </a:rPr>
              <a:pPr marL="0" lvl="0" indent="0" algn="ctr">
                <a:spcBef>
                  <a:spcPct val="0"/>
                </a:spcBef>
                <a:buNone/>
              </a:pPr>
              <a:t>26.1</a:t>
            </a:fld>
            <a:endParaRPr kumimoji="1" lang="ja-JP" altLang="en-US" sz="800" dirty="0">
              <a:sym typeface="+mn-lt"/>
            </a:endParaRPr>
          </a:p>
        </p:txBody>
      </p:sp>
      <p:sp>
        <p:nvSpPr>
          <p:cNvPr id="294" name="テキスト プレースホルダ 9">
            <a:extLst>
              <a:ext uri="{FF2B5EF4-FFF2-40B4-BE49-F238E27FC236}">
                <a16:creationId xmlns:a16="http://schemas.microsoft.com/office/drawing/2014/main" id="{E5B2AD77-6DCA-7BB8-FDED-776A0CBAAD74}"/>
              </a:ext>
            </a:extLst>
          </p:cNvPr>
          <p:cNvSpPr>
            <a:spLocks noGrp="1"/>
          </p:cNvSpPr>
          <p:nvPr>
            <p:custDataLst>
              <p:tags r:id="rId55"/>
            </p:custDataLst>
          </p:nvPr>
        </p:nvSpPr>
        <p:spPr bwMode="gray">
          <a:xfrm>
            <a:off x="5081588" y="32162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DBC0A7-D7EC-4A7F-9CCF-EEA162BDC99E}" type="datetime'''''''''''''''''''''3''2.''''''''''''''''''''''4'''''''''''''">
              <a:rPr lang="ja-JP" altLang="en-US" sz="800" smtClean="0">
                <a:effectLst/>
                <a:sym typeface="+mn-lt"/>
              </a:rPr>
              <a:pPr marL="0" lvl="0" indent="0" algn="ctr">
                <a:spcBef>
                  <a:spcPct val="0"/>
                </a:spcBef>
                <a:buNone/>
              </a:pPr>
              <a:t>32.4</a:t>
            </a:fld>
            <a:endParaRPr kumimoji="1" lang="ja-JP" altLang="en-US" sz="800" dirty="0">
              <a:sym typeface="+mn-lt"/>
            </a:endParaRPr>
          </a:p>
        </p:txBody>
      </p:sp>
      <p:sp>
        <p:nvSpPr>
          <p:cNvPr id="297" name="テキスト プレースホルダ 9">
            <a:extLst>
              <a:ext uri="{FF2B5EF4-FFF2-40B4-BE49-F238E27FC236}">
                <a16:creationId xmlns:a16="http://schemas.microsoft.com/office/drawing/2014/main" id="{D6AB8F49-04F0-3AC4-4376-62FCDB056C9E}"/>
              </a:ext>
            </a:extLst>
          </p:cNvPr>
          <p:cNvSpPr>
            <a:spLocks noGrp="1"/>
          </p:cNvSpPr>
          <p:nvPr>
            <p:custDataLst>
              <p:tags r:id="rId56"/>
            </p:custDataLst>
          </p:nvPr>
        </p:nvSpPr>
        <p:spPr bwMode="gray">
          <a:xfrm>
            <a:off x="5386388" y="317976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DA0BFD-F64A-4860-B6AE-CB037655D5DC}" type="datetime'''''''''''''''3''''''''7.''''''''0'">
              <a:rPr lang="ja-JP" altLang="en-US" sz="800" smtClean="0">
                <a:effectLst/>
                <a:sym typeface="+mn-lt"/>
              </a:rPr>
              <a:pPr marL="0" lvl="0" indent="0" algn="ctr">
                <a:spcBef>
                  <a:spcPct val="0"/>
                </a:spcBef>
                <a:buNone/>
              </a:pPr>
              <a:t>37.0</a:t>
            </a:fld>
            <a:endParaRPr kumimoji="1" lang="ja-JP" altLang="en-US" sz="800" dirty="0">
              <a:sym typeface="+mn-lt"/>
            </a:endParaRPr>
          </a:p>
        </p:txBody>
      </p:sp>
      <p:sp>
        <p:nvSpPr>
          <p:cNvPr id="300" name="テキスト プレースホルダ 9">
            <a:extLst>
              <a:ext uri="{FF2B5EF4-FFF2-40B4-BE49-F238E27FC236}">
                <a16:creationId xmlns:a16="http://schemas.microsoft.com/office/drawing/2014/main" id="{C684CE06-B654-5F92-78E2-C825E359660D}"/>
              </a:ext>
            </a:extLst>
          </p:cNvPr>
          <p:cNvSpPr>
            <a:spLocks noGrp="1"/>
          </p:cNvSpPr>
          <p:nvPr>
            <p:custDataLst>
              <p:tags r:id="rId57"/>
            </p:custDataLst>
          </p:nvPr>
        </p:nvSpPr>
        <p:spPr bwMode="gray">
          <a:xfrm>
            <a:off x="5691188" y="31511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CA9E21-DC70-4377-9F9F-E5632A0B5EDE}" type="datetime'''''''''''4''0''.''''''8'''''''''''''''''''''''''''''''">
              <a:rPr lang="ja-JP" altLang="en-US" sz="800" smtClean="0">
                <a:effectLst/>
                <a:sym typeface="+mn-lt"/>
              </a:rPr>
              <a:pPr marL="0" lvl="0" indent="0" algn="ctr">
                <a:spcBef>
                  <a:spcPct val="0"/>
                </a:spcBef>
                <a:buNone/>
              </a:pPr>
              <a:t>40.8</a:t>
            </a:fld>
            <a:endParaRPr kumimoji="1" lang="ja-JP" altLang="en-US" sz="800" dirty="0">
              <a:sym typeface="+mn-lt"/>
            </a:endParaRPr>
          </a:p>
        </p:txBody>
      </p:sp>
      <p:sp>
        <p:nvSpPr>
          <p:cNvPr id="302" name="テキスト プレースホルダ 9">
            <a:extLst>
              <a:ext uri="{FF2B5EF4-FFF2-40B4-BE49-F238E27FC236}">
                <a16:creationId xmlns:a16="http://schemas.microsoft.com/office/drawing/2014/main" id="{554CCE2F-2A2A-FDA6-EB70-7CE10219F3DD}"/>
              </a:ext>
            </a:extLst>
          </p:cNvPr>
          <p:cNvSpPr>
            <a:spLocks noGrp="1"/>
          </p:cNvSpPr>
          <p:nvPr>
            <p:custDataLst>
              <p:tags r:id="rId58"/>
            </p:custDataLst>
          </p:nvPr>
        </p:nvSpPr>
        <p:spPr bwMode="gray">
          <a:xfrm>
            <a:off x="5995988" y="314801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8BD8F7-2A82-47F4-A982-063A162C558D}" type="datetime'''''''''''''''''4''''''1''''''.''''''0'''''''''''''''''">
              <a:rPr lang="ja-JP" altLang="en-US" sz="800" smtClean="0">
                <a:effectLst/>
                <a:sym typeface="+mn-lt"/>
              </a:rPr>
              <a:pPr marL="0" lvl="0" indent="0" algn="ctr">
                <a:spcBef>
                  <a:spcPct val="0"/>
                </a:spcBef>
                <a:buNone/>
              </a:pPr>
              <a:t>41.0</a:t>
            </a:fld>
            <a:endParaRPr kumimoji="1" lang="ja-JP" altLang="en-US" sz="800" dirty="0">
              <a:sym typeface="+mn-lt"/>
            </a:endParaRPr>
          </a:p>
        </p:txBody>
      </p:sp>
      <p:sp>
        <p:nvSpPr>
          <p:cNvPr id="304" name="テキスト プレースホルダ 9">
            <a:extLst>
              <a:ext uri="{FF2B5EF4-FFF2-40B4-BE49-F238E27FC236}">
                <a16:creationId xmlns:a16="http://schemas.microsoft.com/office/drawing/2014/main" id="{88492189-AA35-DD26-375D-2E30610881AB}"/>
              </a:ext>
            </a:extLst>
          </p:cNvPr>
          <p:cNvSpPr>
            <a:spLocks noGrp="1"/>
          </p:cNvSpPr>
          <p:nvPr>
            <p:custDataLst>
              <p:tags r:id="rId59"/>
            </p:custDataLst>
          </p:nvPr>
        </p:nvSpPr>
        <p:spPr bwMode="gray">
          <a:xfrm>
            <a:off x="6300788" y="31829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12537B-2915-42C3-9AA1-C32E6499D858}" type="datetime'3''''''''6''''''.''''''''''''''''7'">
              <a:rPr lang="ja-JP" altLang="en-US" sz="800" smtClean="0">
                <a:effectLst/>
                <a:sym typeface="+mn-lt"/>
              </a:rPr>
              <a:pPr marL="0" lvl="0" indent="0" algn="ctr">
                <a:spcBef>
                  <a:spcPct val="0"/>
                </a:spcBef>
                <a:buNone/>
              </a:pPr>
              <a:t>36.7</a:t>
            </a:fld>
            <a:endParaRPr kumimoji="1" lang="ja-JP" altLang="en-US" sz="800" dirty="0">
              <a:sym typeface="+mn-lt"/>
            </a:endParaRPr>
          </a:p>
        </p:txBody>
      </p:sp>
      <p:sp>
        <p:nvSpPr>
          <p:cNvPr id="306" name="テキスト プレースホルダ 9">
            <a:extLst>
              <a:ext uri="{FF2B5EF4-FFF2-40B4-BE49-F238E27FC236}">
                <a16:creationId xmlns:a16="http://schemas.microsoft.com/office/drawing/2014/main" id="{C4493963-8E84-992D-F921-752095A931DF}"/>
              </a:ext>
            </a:extLst>
          </p:cNvPr>
          <p:cNvSpPr>
            <a:spLocks noGrp="1"/>
          </p:cNvSpPr>
          <p:nvPr>
            <p:custDataLst>
              <p:tags r:id="rId60"/>
            </p:custDataLst>
          </p:nvPr>
        </p:nvSpPr>
        <p:spPr bwMode="gray">
          <a:xfrm>
            <a:off x="6605588" y="31575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41DD95-83E1-4F56-8F52-3C9F75A5903A}" type="datetime'''''''''''3''''9''''''''''''''''''''.''''''''9'''">
              <a:rPr lang="ja-JP" altLang="en-US" sz="800" smtClean="0">
                <a:effectLst/>
                <a:sym typeface="+mn-lt"/>
              </a:rPr>
              <a:pPr marL="0" lvl="0" indent="0" algn="ctr">
                <a:spcBef>
                  <a:spcPct val="0"/>
                </a:spcBef>
                <a:buNone/>
              </a:pPr>
              <a:t>39.9</a:t>
            </a:fld>
            <a:endParaRPr kumimoji="1" lang="ja-JP" altLang="en-US" sz="800" dirty="0">
              <a:sym typeface="+mn-lt"/>
            </a:endParaRPr>
          </a:p>
        </p:txBody>
      </p:sp>
      <p:sp>
        <p:nvSpPr>
          <p:cNvPr id="308" name="テキスト プレースホルダ 9">
            <a:extLst>
              <a:ext uri="{FF2B5EF4-FFF2-40B4-BE49-F238E27FC236}">
                <a16:creationId xmlns:a16="http://schemas.microsoft.com/office/drawing/2014/main" id="{D53F5906-831A-804C-ED01-25CC803C039B}"/>
              </a:ext>
            </a:extLst>
          </p:cNvPr>
          <p:cNvSpPr>
            <a:spLocks noGrp="1"/>
          </p:cNvSpPr>
          <p:nvPr>
            <p:custDataLst>
              <p:tags r:id="rId61"/>
            </p:custDataLst>
          </p:nvPr>
        </p:nvSpPr>
        <p:spPr bwMode="gray">
          <a:xfrm>
            <a:off x="6910388" y="30813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C93F53-A07C-425C-BC0F-87FCCA3BAC71}" type="datetime'''''''''''''''''''''''''''49''''''''''''.''''6'''''''''''''''">
              <a:rPr lang="ja-JP" altLang="en-US" sz="800" smtClean="0">
                <a:effectLst/>
                <a:sym typeface="+mn-lt"/>
              </a:rPr>
              <a:pPr marL="0" lvl="0" indent="0" algn="ctr">
                <a:spcBef>
                  <a:spcPct val="0"/>
                </a:spcBef>
                <a:buNone/>
              </a:pPr>
              <a:t>49.6</a:t>
            </a:fld>
            <a:endParaRPr kumimoji="1" lang="ja-JP" altLang="en-US" sz="800" dirty="0">
              <a:sym typeface="+mn-lt"/>
            </a:endParaRPr>
          </a:p>
        </p:txBody>
      </p:sp>
      <p:sp>
        <p:nvSpPr>
          <p:cNvPr id="309" name="テキスト プレースホルダ 9">
            <a:extLst>
              <a:ext uri="{FF2B5EF4-FFF2-40B4-BE49-F238E27FC236}">
                <a16:creationId xmlns:a16="http://schemas.microsoft.com/office/drawing/2014/main" id="{75BF4D8F-CE3A-98B6-B429-ABCCEF076939}"/>
              </a:ext>
            </a:extLst>
          </p:cNvPr>
          <p:cNvSpPr>
            <a:spLocks noGrp="1"/>
          </p:cNvSpPr>
          <p:nvPr>
            <p:custDataLst>
              <p:tags r:id="rId62"/>
            </p:custDataLst>
          </p:nvPr>
        </p:nvSpPr>
        <p:spPr bwMode="gray">
          <a:xfrm>
            <a:off x="7215188" y="31115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1D3592-2DFA-4788-9513-A84D7AABBFFA}" type="datetime'''''''''''''''''4''''5''''''''''''.''7'''''''''">
              <a:rPr lang="ja-JP" altLang="en-US" sz="800" smtClean="0">
                <a:effectLst/>
                <a:sym typeface="+mn-lt"/>
              </a:rPr>
              <a:pPr marL="0" lvl="0" indent="0" algn="ctr">
                <a:spcBef>
                  <a:spcPct val="0"/>
                </a:spcBef>
                <a:buNone/>
              </a:pPr>
              <a:t>45.7</a:t>
            </a:fld>
            <a:endParaRPr kumimoji="1" lang="ja-JP" altLang="en-US" sz="800" dirty="0">
              <a:sym typeface="+mn-lt"/>
            </a:endParaRPr>
          </a:p>
        </p:txBody>
      </p:sp>
      <p:sp>
        <p:nvSpPr>
          <p:cNvPr id="310" name="テキスト プレースホルダ 9">
            <a:extLst>
              <a:ext uri="{FF2B5EF4-FFF2-40B4-BE49-F238E27FC236}">
                <a16:creationId xmlns:a16="http://schemas.microsoft.com/office/drawing/2014/main" id="{E3EFBABF-EB41-2A04-9E9C-68F999180D4B}"/>
              </a:ext>
            </a:extLst>
          </p:cNvPr>
          <p:cNvSpPr>
            <a:spLocks noGrp="1"/>
          </p:cNvSpPr>
          <p:nvPr>
            <p:custDataLst>
              <p:tags r:id="rId63"/>
            </p:custDataLst>
          </p:nvPr>
        </p:nvSpPr>
        <p:spPr bwMode="gray">
          <a:xfrm>
            <a:off x="7519988" y="31242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B62A13-E123-462E-833A-E3F539929053}" type="datetime'''''''''''4''''''''''''''''''''4''''''''''''''.''''1'''">
              <a:rPr lang="ja-JP" altLang="en-US" sz="800" smtClean="0">
                <a:effectLst/>
                <a:sym typeface="+mn-lt"/>
              </a:rPr>
              <a:pPr marL="0" lvl="0" indent="0" algn="ctr">
                <a:spcBef>
                  <a:spcPct val="0"/>
                </a:spcBef>
                <a:buNone/>
              </a:pPr>
              <a:t>44.1</a:t>
            </a:fld>
            <a:endParaRPr kumimoji="1" lang="ja-JP" altLang="en-US" sz="800" dirty="0">
              <a:sym typeface="+mn-lt"/>
            </a:endParaRPr>
          </a:p>
        </p:txBody>
      </p:sp>
      <p:sp>
        <p:nvSpPr>
          <p:cNvPr id="311" name="テキスト プレースホルダ 9">
            <a:extLst>
              <a:ext uri="{FF2B5EF4-FFF2-40B4-BE49-F238E27FC236}">
                <a16:creationId xmlns:a16="http://schemas.microsoft.com/office/drawing/2014/main" id="{9F6F3DCB-97AC-40A9-9531-D4D1887E5120}"/>
              </a:ext>
            </a:extLst>
          </p:cNvPr>
          <p:cNvSpPr>
            <a:spLocks noGrp="1"/>
          </p:cNvSpPr>
          <p:nvPr>
            <p:custDataLst>
              <p:tags r:id="rId64"/>
            </p:custDataLst>
          </p:nvPr>
        </p:nvSpPr>
        <p:spPr bwMode="gray">
          <a:xfrm>
            <a:off x="7824788" y="31003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987640-4500-461D-A230-508812C3BBF6}" type="datetime'''''''''''''''''''''4''7''''''''.''''''''''''''2'''''''''''">
              <a:rPr lang="ja-JP" altLang="en-US" sz="800" smtClean="0">
                <a:effectLst/>
                <a:sym typeface="+mn-lt"/>
              </a:rPr>
              <a:pPr marL="0" lvl="0" indent="0" algn="ctr">
                <a:spcBef>
                  <a:spcPct val="0"/>
                </a:spcBef>
                <a:buNone/>
              </a:pPr>
              <a:t>47.2</a:t>
            </a:fld>
            <a:endParaRPr kumimoji="1" lang="ja-JP" altLang="en-US" sz="800" dirty="0">
              <a:sym typeface="+mn-lt"/>
            </a:endParaRPr>
          </a:p>
        </p:txBody>
      </p:sp>
      <p:sp>
        <p:nvSpPr>
          <p:cNvPr id="415" name="テキスト プレースホルダ 9">
            <a:extLst>
              <a:ext uri="{FF2B5EF4-FFF2-40B4-BE49-F238E27FC236}">
                <a16:creationId xmlns:a16="http://schemas.microsoft.com/office/drawing/2014/main" id="{76C50ED5-504E-6E01-C94F-4EF0873347B1}"/>
              </a:ext>
            </a:extLst>
          </p:cNvPr>
          <p:cNvSpPr>
            <a:spLocks noGrp="1"/>
          </p:cNvSpPr>
          <p:nvPr>
            <p:custDataLst>
              <p:tags r:id="rId65"/>
            </p:custDataLst>
          </p:nvPr>
        </p:nvSpPr>
        <p:spPr bwMode="gray">
          <a:xfrm>
            <a:off x="814388" y="33543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6927F6-F2E6-492C-A2F7-DC930E4C5292}" type="datetime'''''''''''''''1''''''''''''4''''.''''''''''''''8'''''''''''''">
              <a:rPr lang="ja-JP" altLang="en-US" sz="800" smtClean="0">
                <a:effectLst/>
                <a:sym typeface="+mn-lt"/>
              </a:rPr>
              <a:pPr marL="0" lvl="0" indent="0" algn="ctr">
                <a:spcBef>
                  <a:spcPct val="0"/>
                </a:spcBef>
                <a:buNone/>
              </a:pPr>
              <a:t>14.8</a:t>
            </a:fld>
            <a:endParaRPr kumimoji="1" lang="ja-JP" altLang="en-US" sz="800" dirty="0">
              <a:sym typeface="+mn-lt"/>
            </a:endParaRPr>
          </a:p>
        </p:txBody>
      </p:sp>
      <p:sp>
        <p:nvSpPr>
          <p:cNvPr id="417" name="テキスト プレースホルダ 9">
            <a:extLst>
              <a:ext uri="{FF2B5EF4-FFF2-40B4-BE49-F238E27FC236}">
                <a16:creationId xmlns:a16="http://schemas.microsoft.com/office/drawing/2014/main" id="{68FCFB26-AAB2-7A75-95D3-B4CF512BAA09}"/>
              </a:ext>
            </a:extLst>
          </p:cNvPr>
          <p:cNvSpPr>
            <a:spLocks noGrp="1"/>
          </p:cNvSpPr>
          <p:nvPr>
            <p:custDataLst>
              <p:tags r:id="rId66"/>
            </p:custDataLst>
          </p:nvPr>
        </p:nvSpPr>
        <p:spPr bwMode="gray">
          <a:xfrm>
            <a:off x="1119188" y="334645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0433C0-3DD3-4A51-863F-95101B9C73C3}" type="datetime'''1''5''''''''.''''''''''''''''''''''''''''''8'''''''''''''">
              <a:rPr lang="ja-JP" altLang="en-US" sz="800" smtClean="0">
                <a:effectLst/>
                <a:sym typeface="+mn-lt"/>
              </a:rPr>
              <a:pPr marL="0" lvl="0" indent="0" algn="ctr">
                <a:spcBef>
                  <a:spcPct val="0"/>
                </a:spcBef>
                <a:buNone/>
              </a:pPr>
              <a:t>15.8</a:t>
            </a:fld>
            <a:endParaRPr kumimoji="1" lang="ja-JP" altLang="en-US" sz="800" dirty="0">
              <a:sym typeface="+mn-lt"/>
            </a:endParaRPr>
          </a:p>
        </p:txBody>
      </p:sp>
      <p:sp>
        <p:nvSpPr>
          <p:cNvPr id="419" name="テキスト プレースホルダ 9">
            <a:extLst>
              <a:ext uri="{FF2B5EF4-FFF2-40B4-BE49-F238E27FC236}">
                <a16:creationId xmlns:a16="http://schemas.microsoft.com/office/drawing/2014/main" id="{ED3E2B39-28E1-CD43-174B-31E4158AD377}"/>
              </a:ext>
            </a:extLst>
          </p:cNvPr>
          <p:cNvSpPr>
            <a:spLocks noGrp="1"/>
          </p:cNvSpPr>
          <p:nvPr>
            <p:custDataLst>
              <p:tags r:id="rId67"/>
            </p:custDataLst>
          </p:nvPr>
        </p:nvSpPr>
        <p:spPr bwMode="gray">
          <a:xfrm>
            <a:off x="1423988" y="33528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E89CC3-20A5-4FE1-808F-B50902D1B228}" type="datetime'''''''''''''''''''''''''''''''1''''''''''''4.''''''9'''''''''">
              <a:rPr lang="ja-JP" altLang="en-US" sz="800" smtClean="0">
                <a:effectLst/>
                <a:sym typeface="+mn-lt"/>
              </a:rPr>
              <a:pPr marL="0" lvl="0" indent="0" algn="ctr">
                <a:spcBef>
                  <a:spcPct val="0"/>
                </a:spcBef>
                <a:buNone/>
              </a:pPr>
              <a:t>14.9</a:t>
            </a:fld>
            <a:endParaRPr kumimoji="1" lang="ja-JP" altLang="en-US" sz="800" dirty="0">
              <a:sym typeface="+mn-lt"/>
            </a:endParaRPr>
          </a:p>
        </p:txBody>
      </p:sp>
      <p:sp>
        <p:nvSpPr>
          <p:cNvPr id="421" name="テキスト プレースホルダ 9">
            <a:extLst>
              <a:ext uri="{FF2B5EF4-FFF2-40B4-BE49-F238E27FC236}">
                <a16:creationId xmlns:a16="http://schemas.microsoft.com/office/drawing/2014/main" id="{8D8B95CB-7FB6-DF01-AB52-C3D6A7531979}"/>
              </a:ext>
            </a:extLst>
          </p:cNvPr>
          <p:cNvSpPr>
            <a:spLocks noGrp="1"/>
          </p:cNvSpPr>
          <p:nvPr>
            <p:custDataLst>
              <p:tags r:id="rId68"/>
            </p:custDataLst>
          </p:nvPr>
        </p:nvSpPr>
        <p:spPr bwMode="gray">
          <a:xfrm>
            <a:off x="1728788" y="335121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F47358-246C-46F7-8DA4-12A13CA1621C}" type="datetime'''''''''''''1''''''''''''''5''''''''''''.''''''''''2'''''">
              <a:rPr lang="ja-JP" altLang="en-US" sz="800" smtClean="0">
                <a:effectLst/>
                <a:sym typeface="+mn-lt"/>
              </a:rPr>
              <a:pPr marL="0" lvl="0" indent="0" algn="ctr">
                <a:spcBef>
                  <a:spcPct val="0"/>
                </a:spcBef>
                <a:buNone/>
              </a:pPr>
              <a:t>15.2</a:t>
            </a:fld>
            <a:endParaRPr kumimoji="1" lang="ja-JP" altLang="en-US" sz="800" dirty="0">
              <a:sym typeface="+mn-lt"/>
            </a:endParaRPr>
          </a:p>
        </p:txBody>
      </p:sp>
      <p:sp>
        <p:nvSpPr>
          <p:cNvPr id="423" name="テキスト プレースホルダ 9">
            <a:extLst>
              <a:ext uri="{FF2B5EF4-FFF2-40B4-BE49-F238E27FC236}">
                <a16:creationId xmlns:a16="http://schemas.microsoft.com/office/drawing/2014/main" id="{13C51C2C-A35D-A4B2-7073-97FD30EFC56E}"/>
              </a:ext>
            </a:extLst>
          </p:cNvPr>
          <p:cNvSpPr>
            <a:spLocks noGrp="1"/>
          </p:cNvSpPr>
          <p:nvPr>
            <p:custDataLst>
              <p:tags r:id="rId69"/>
            </p:custDataLst>
          </p:nvPr>
        </p:nvSpPr>
        <p:spPr bwMode="gray">
          <a:xfrm>
            <a:off x="2033588" y="33543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4AFF0-1E92-4896-8CD4-1B22B9AD7716}" type="datetime'''''''''''''''14''.''7'''''''''''''''''''''''''''''''''''">
              <a:rPr lang="ja-JP" altLang="en-US" sz="800" smtClean="0">
                <a:effectLst/>
                <a:sym typeface="+mn-lt"/>
              </a:rPr>
              <a:pPr marL="0" lvl="0" indent="0" algn="ctr">
                <a:spcBef>
                  <a:spcPct val="0"/>
                </a:spcBef>
                <a:buNone/>
              </a:pPr>
              <a:t>14.7</a:t>
            </a:fld>
            <a:endParaRPr kumimoji="1" lang="ja-JP" altLang="en-US" sz="800" dirty="0">
              <a:sym typeface="+mn-lt"/>
            </a:endParaRPr>
          </a:p>
        </p:txBody>
      </p:sp>
      <p:sp>
        <p:nvSpPr>
          <p:cNvPr id="425" name="テキスト プレースホルダ 9">
            <a:extLst>
              <a:ext uri="{FF2B5EF4-FFF2-40B4-BE49-F238E27FC236}">
                <a16:creationId xmlns:a16="http://schemas.microsoft.com/office/drawing/2014/main" id="{81D22100-AF46-A9B1-4951-81B66157F065}"/>
              </a:ext>
            </a:extLst>
          </p:cNvPr>
          <p:cNvSpPr>
            <a:spLocks noGrp="1"/>
          </p:cNvSpPr>
          <p:nvPr>
            <p:custDataLst>
              <p:tags r:id="rId70"/>
            </p:custDataLst>
          </p:nvPr>
        </p:nvSpPr>
        <p:spPr bwMode="gray">
          <a:xfrm>
            <a:off x="2338388" y="33528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584B0E-81E0-4858-8D54-560736A2BDB3}" type="datetime'''1''''''''''''5''''''''''''''''''''''''.''0'''''''''''''''''">
              <a:rPr lang="ja-JP" altLang="en-US" sz="800" smtClean="0">
                <a:effectLst/>
                <a:sym typeface="+mn-lt"/>
              </a:rPr>
              <a:pPr marL="0" lvl="0" indent="0" algn="ctr">
                <a:spcBef>
                  <a:spcPct val="0"/>
                </a:spcBef>
                <a:buNone/>
              </a:pPr>
              <a:t>15.0</a:t>
            </a:fld>
            <a:endParaRPr kumimoji="1" lang="ja-JP" altLang="en-US" sz="800" dirty="0">
              <a:sym typeface="+mn-lt"/>
            </a:endParaRPr>
          </a:p>
        </p:txBody>
      </p:sp>
      <p:sp>
        <p:nvSpPr>
          <p:cNvPr id="427" name="テキスト プレースホルダ 9">
            <a:extLst>
              <a:ext uri="{FF2B5EF4-FFF2-40B4-BE49-F238E27FC236}">
                <a16:creationId xmlns:a16="http://schemas.microsoft.com/office/drawing/2014/main" id="{9072910D-1BEE-2540-768D-F8E2D14EB2C5}"/>
              </a:ext>
            </a:extLst>
          </p:cNvPr>
          <p:cNvSpPr>
            <a:spLocks noGrp="1"/>
          </p:cNvSpPr>
          <p:nvPr>
            <p:custDataLst>
              <p:tags r:id="rId71"/>
            </p:custDataLst>
          </p:nvPr>
        </p:nvSpPr>
        <p:spPr bwMode="gray">
          <a:xfrm>
            <a:off x="2643188" y="33401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61010C-CF4E-45D6-AC1C-A6678C625C4E}" type="datetime'1''''''''''6''''.''''''''''''''''''''6'''''''''''''''''">
              <a:rPr lang="ja-JP" altLang="en-US" sz="800" smtClean="0">
                <a:effectLst/>
                <a:sym typeface="+mn-lt"/>
              </a:rPr>
              <a:pPr marL="0" lvl="0" indent="0" algn="ctr">
                <a:spcBef>
                  <a:spcPct val="0"/>
                </a:spcBef>
                <a:buNone/>
              </a:pPr>
              <a:t>16.6</a:t>
            </a:fld>
            <a:endParaRPr kumimoji="1" lang="ja-JP" altLang="en-US" sz="800" dirty="0">
              <a:sym typeface="+mn-lt"/>
            </a:endParaRPr>
          </a:p>
        </p:txBody>
      </p:sp>
      <p:sp>
        <p:nvSpPr>
          <p:cNvPr id="429" name="テキスト プレースホルダ 9">
            <a:extLst>
              <a:ext uri="{FF2B5EF4-FFF2-40B4-BE49-F238E27FC236}">
                <a16:creationId xmlns:a16="http://schemas.microsoft.com/office/drawing/2014/main" id="{CFD351B7-E763-6B47-E6E5-BF3AFB2DE80F}"/>
              </a:ext>
            </a:extLst>
          </p:cNvPr>
          <p:cNvSpPr>
            <a:spLocks noGrp="1"/>
          </p:cNvSpPr>
          <p:nvPr>
            <p:custDataLst>
              <p:tags r:id="rId72"/>
            </p:custDataLst>
          </p:nvPr>
        </p:nvSpPr>
        <p:spPr bwMode="gray">
          <a:xfrm>
            <a:off x="2947988" y="33432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1B0AF2-9D68-4FCB-84A1-812842884729}" type="datetime'''''''''''''''''''''''''''''''''1''''''''6''.''1'''''''''">
              <a:rPr lang="ja-JP" altLang="en-US" sz="800" smtClean="0">
                <a:effectLst/>
                <a:sym typeface="+mn-lt"/>
              </a:rPr>
              <a:pPr marL="0" lvl="0" indent="0" algn="ctr">
                <a:spcBef>
                  <a:spcPct val="0"/>
                </a:spcBef>
                <a:buNone/>
              </a:pPr>
              <a:t>16.1</a:t>
            </a:fld>
            <a:endParaRPr kumimoji="1" lang="ja-JP" altLang="en-US" sz="800" dirty="0">
              <a:sym typeface="+mn-lt"/>
            </a:endParaRPr>
          </a:p>
        </p:txBody>
      </p:sp>
      <p:sp>
        <p:nvSpPr>
          <p:cNvPr id="430" name="テキスト プレースホルダ 9">
            <a:extLst>
              <a:ext uri="{FF2B5EF4-FFF2-40B4-BE49-F238E27FC236}">
                <a16:creationId xmlns:a16="http://schemas.microsoft.com/office/drawing/2014/main" id="{654ED8C3-883E-CD28-DF1B-1CF410766B26}"/>
              </a:ext>
            </a:extLst>
          </p:cNvPr>
          <p:cNvSpPr>
            <a:spLocks noGrp="1"/>
          </p:cNvSpPr>
          <p:nvPr>
            <p:custDataLst>
              <p:tags r:id="rId73"/>
            </p:custDataLst>
          </p:nvPr>
        </p:nvSpPr>
        <p:spPr bwMode="gray">
          <a:xfrm>
            <a:off x="3252788" y="33686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BD907C-AFD0-45DC-9899-A023AC58AE65}" type="datetime'''1''2''''''''''''.''''''''''''''''''9'''''''''''">
              <a:rPr lang="ja-JP" altLang="en-US" sz="800" smtClean="0">
                <a:effectLst/>
                <a:sym typeface="+mn-lt"/>
              </a:rPr>
              <a:pPr marL="0" lvl="0" indent="0" algn="ctr">
                <a:spcBef>
                  <a:spcPct val="0"/>
                </a:spcBef>
                <a:buNone/>
              </a:pPr>
              <a:t>12.9</a:t>
            </a:fld>
            <a:endParaRPr kumimoji="1" lang="ja-JP" altLang="en-US" sz="800" dirty="0">
              <a:sym typeface="+mn-lt"/>
            </a:endParaRPr>
          </a:p>
        </p:txBody>
      </p:sp>
      <p:sp>
        <p:nvSpPr>
          <p:cNvPr id="432" name="テキスト プレースホルダ 9">
            <a:extLst>
              <a:ext uri="{FF2B5EF4-FFF2-40B4-BE49-F238E27FC236}">
                <a16:creationId xmlns:a16="http://schemas.microsoft.com/office/drawing/2014/main" id="{53034E0E-ECEA-BD48-1EF1-6BD1F2DF8C32}"/>
              </a:ext>
            </a:extLst>
          </p:cNvPr>
          <p:cNvSpPr>
            <a:spLocks noGrp="1"/>
          </p:cNvSpPr>
          <p:nvPr>
            <p:custDataLst>
              <p:tags r:id="rId74"/>
            </p:custDataLst>
          </p:nvPr>
        </p:nvSpPr>
        <p:spPr bwMode="gray">
          <a:xfrm>
            <a:off x="3557588" y="33226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B3670-BD17-48FE-92AC-7E475E2A6998}" type="datetime'''''1''''''''''''8.''''''''''''''''''''''''''''8'''''''''">
              <a:rPr lang="ja-JP" altLang="en-US" sz="800" smtClean="0">
                <a:effectLst/>
                <a:sym typeface="+mn-lt"/>
              </a:rPr>
              <a:pPr marL="0" lvl="0" indent="0" algn="ctr">
                <a:spcBef>
                  <a:spcPct val="0"/>
                </a:spcBef>
                <a:buNone/>
              </a:pPr>
              <a:t>18.8</a:t>
            </a:fld>
            <a:endParaRPr kumimoji="1" lang="ja-JP" altLang="en-US" sz="800" dirty="0">
              <a:sym typeface="+mn-lt"/>
            </a:endParaRPr>
          </a:p>
        </p:txBody>
      </p:sp>
      <p:sp>
        <p:nvSpPr>
          <p:cNvPr id="25" name="テキスト プレースホルダ 9"/>
          <p:cNvSpPr>
            <a:spLocks noGrp="1"/>
          </p:cNvSpPr>
          <p:nvPr>
            <p:custDataLst>
              <p:tags r:id="rId75"/>
            </p:custDataLst>
          </p:nvPr>
        </p:nvSpPr>
        <p:spPr bwMode="auto">
          <a:xfrm>
            <a:off x="782638"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EDA7D3-71DA-48C9-8ED4-F7B75334870D}" type="datetime'''''''20''''''''''''''''''''0''''''''''''''''''0'''''''">
              <a:rPr lang="ja-JP" altLang="en-US" sz="1000" smtClean="0"/>
              <a:pPr/>
              <a:t>2000</a:t>
            </a:fld>
            <a:endParaRPr kumimoji="0" lang="ja-JP" altLang="en-US" sz="1000" dirty="0">
              <a:sym typeface="+mn-lt"/>
            </a:endParaRPr>
          </a:p>
        </p:txBody>
      </p:sp>
      <p:sp>
        <p:nvSpPr>
          <p:cNvPr id="436" name="テキスト プレースホルダ 9">
            <a:extLst>
              <a:ext uri="{FF2B5EF4-FFF2-40B4-BE49-F238E27FC236}">
                <a16:creationId xmlns:a16="http://schemas.microsoft.com/office/drawing/2014/main" id="{E206E414-E701-4F87-3302-4685E556D3CF}"/>
              </a:ext>
            </a:extLst>
          </p:cNvPr>
          <p:cNvSpPr>
            <a:spLocks noGrp="1"/>
          </p:cNvSpPr>
          <p:nvPr>
            <p:custDataLst>
              <p:tags r:id="rId76"/>
            </p:custDataLst>
          </p:nvPr>
        </p:nvSpPr>
        <p:spPr bwMode="gray">
          <a:xfrm>
            <a:off x="5081588" y="28590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A0EC6D-3FB5-4BE3-B6E4-87E27F6FE40E}" type="datetime'''1''''3''.''''''''''0'''''''''''''''''''''''">
              <a:rPr lang="ja-JP" altLang="en-US" sz="800" smtClean="0">
                <a:effectLst/>
                <a:sym typeface="+mn-lt"/>
              </a:rPr>
              <a:pPr marL="0" lvl="0" indent="0" algn="ctr">
                <a:spcBef>
                  <a:spcPct val="0"/>
                </a:spcBef>
                <a:buNone/>
              </a:pPr>
              <a:t>13.0</a:t>
            </a:fld>
            <a:endParaRPr kumimoji="1" lang="ja-JP" altLang="en-US" sz="800" dirty="0">
              <a:sym typeface="+mn-lt"/>
            </a:endParaRPr>
          </a:p>
        </p:txBody>
      </p:sp>
      <p:sp>
        <p:nvSpPr>
          <p:cNvPr id="437" name="テキスト プレースホルダ 9">
            <a:extLst>
              <a:ext uri="{FF2B5EF4-FFF2-40B4-BE49-F238E27FC236}">
                <a16:creationId xmlns:a16="http://schemas.microsoft.com/office/drawing/2014/main" id="{0C136A1A-C789-00CF-6178-1754DC3B50A3}"/>
              </a:ext>
            </a:extLst>
          </p:cNvPr>
          <p:cNvSpPr>
            <a:spLocks noGrp="1"/>
          </p:cNvSpPr>
          <p:nvPr>
            <p:custDataLst>
              <p:tags r:id="rId77"/>
            </p:custDataLst>
          </p:nvPr>
        </p:nvSpPr>
        <p:spPr bwMode="gray">
          <a:xfrm>
            <a:off x="5386388" y="27574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822C0A-99E2-45C8-BFD5-24E923241486}" type="datetime'''''1''''''''''''''''''''''''7''''''.''''''''''''''''0'''''''">
              <a:rPr lang="ja-JP" altLang="en-US" sz="800" smtClean="0">
                <a:effectLst/>
                <a:sym typeface="+mn-lt"/>
              </a:rPr>
              <a:pPr marL="0" lvl="0" indent="0" algn="ctr">
                <a:spcBef>
                  <a:spcPct val="0"/>
                </a:spcBef>
                <a:buNone/>
              </a:pPr>
              <a:t>17.0</a:t>
            </a:fld>
            <a:endParaRPr kumimoji="1" lang="ja-JP" altLang="en-US" sz="800" dirty="0">
              <a:sym typeface="+mn-lt"/>
            </a:endParaRPr>
          </a:p>
        </p:txBody>
      </p:sp>
      <p:sp>
        <p:nvSpPr>
          <p:cNvPr id="438" name="テキスト プレースホルダ 9">
            <a:extLst>
              <a:ext uri="{FF2B5EF4-FFF2-40B4-BE49-F238E27FC236}">
                <a16:creationId xmlns:a16="http://schemas.microsoft.com/office/drawing/2014/main" id="{146718D4-E4CF-CE14-444B-02852CB5DE09}"/>
              </a:ext>
            </a:extLst>
          </p:cNvPr>
          <p:cNvSpPr>
            <a:spLocks noGrp="1"/>
          </p:cNvSpPr>
          <p:nvPr>
            <p:custDataLst>
              <p:tags r:id="rId78"/>
            </p:custDataLst>
          </p:nvPr>
        </p:nvSpPr>
        <p:spPr bwMode="gray">
          <a:xfrm>
            <a:off x="5691188" y="26924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D65ACB-F470-4FDC-A9B0-025B2A2D2DC7}" type="datetime'''''''''''''1''''''''''''''7''''.''''''''8'''''''''''''''">
              <a:rPr lang="ja-JP" altLang="en-US" sz="800" smtClean="0">
                <a:effectLst/>
                <a:sym typeface="+mn-lt"/>
              </a:rPr>
              <a:pPr marL="0" lvl="0" indent="0" algn="ctr">
                <a:spcBef>
                  <a:spcPct val="0"/>
                </a:spcBef>
                <a:buNone/>
              </a:pPr>
              <a:t>17.8</a:t>
            </a:fld>
            <a:endParaRPr kumimoji="1" lang="ja-JP" altLang="en-US" sz="800" dirty="0">
              <a:sym typeface="+mn-lt"/>
            </a:endParaRPr>
          </a:p>
        </p:txBody>
      </p:sp>
      <p:sp>
        <p:nvSpPr>
          <p:cNvPr id="439" name="テキスト プレースホルダ 9">
            <a:extLst>
              <a:ext uri="{FF2B5EF4-FFF2-40B4-BE49-F238E27FC236}">
                <a16:creationId xmlns:a16="http://schemas.microsoft.com/office/drawing/2014/main" id="{EC33F70D-FBBA-2059-64AB-F0F53DFF5CE9}"/>
              </a:ext>
            </a:extLst>
          </p:cNvPr>
          <p:cNvSpPr>
            <a:spLocks noGrp="1"/>
          </p:cNvSpPr>
          <p:nvPr>
            <p:custDataLst>
              <p:tags r:id="rId79"/>
            </p:custDataLst>
          </p:nvPr>
        </p:nvSpPr>
        <p:spPr bwMode="gray">
          <a:xfrm>
            <a:off x="5995988" y="27003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C707F4-7C4E-42CD-BD4B-45BFE6959D05}" type="datetime'''''16''''''''''''''''''''''''''''''''''''''.''''''''1'''''">
              <a:rPr lang="ja-JP" altLang="en-US" sz="800" smtClean="0">
                <a:effectLst/>
                <a:sym typeface="+mn-lt"/>
              </a:rPr>
              <a:pPr marL="0" lvl="0" indent="0" algn="ctr">
                <a:spcBef>
                  <a:spcPct val="0"/>
                </a:spcBef>
                <a:buNone/>
              </a:pPr>
              <a:t>16.1</a:t>
            </a:fld>
            <a:endParaRPr kumimoji="1" lang="ja-JP" altLang="en-US" sz="800" dirty="0">
              <a:sym typeface="+mn-lt"/>
            </a:endParaRPr>
          </a:p>
        </p:txBody>
      </p:sp>
      <p:sp>
        <p:nvSpPr>
          <p:cNvPr id="440" name="テキスト プレースホルダ 9">
            <a:extLst>
              <a:ext uri="{FF2B5EF4-FFF2-40B4-BE49-F238E27FC236}">
                <a16:creationId xmlns:a16="http://schemas.microsoft.com/office/drawing/2014/main" id="{98CCE6DE-D535-5156-8BC2-53C52D07FAE3}"/>
              </a:ext>
            </a:extLst>
          </p:cNvPr>
          <p:cNvSpPr>
            <a:spLocks noGrp="1"/>
          </p:cNvSpPr>
          <p:nvPr>
            <p:custDataLst>
              <p:tags r:id="rId80"/>
            </p:custDataLst>
          </p:nvPr>
        </p:nvSpPr>
        <p:spPr bwMode="gray">
          <a:xfrm>
            <a:off x="6300788" y="27733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9EEFDD-74B0-443A-A2E3-F8AA8CD812A8}" type="datetime'''''1''''''''''''''''''''''5''''.''''''''''''''''''''''5'''">
              <a:rPr lang="ja-JP" altLang="en-US" sz="800" smtClean="0">
                <a:effectLst/>
                <a:sym typeface="+mn-lt"/>
              </a:rPr>
              <a:pPr marL="0" lvl="0" indent="0" algn="ctr">
                <a:spcBef>
                  <a:spcPct val="0"/>
                </a:spcBef>
                <a:buNone/>
              </a:pPr>
              <a:t>15.5</a:t>
            </a:fld>
            <a:endParaRPr kumimoji="1" lang="ja-JP" altLang="en-US" sz="800" dirty="0">
              <a:sym typeface="+mn-lt"/>
            </a:endParaRPr>
          </a:p>
        </p:txBody>
      </p:sp>
      <p:sp>
        <p:nvSpPr>
          <p:cNvPr id="441" name="テキスト プレースホルダ 9">
            <a:extLst>
              <a:ext uri="{FF2B5EF4-FFF2-40B4-BE49-F238E27FC236}">
                <a16:creationId xmlns:a16="http://schemas.microsoft.com/office/drawing/2014/main" id="{A50C2D98-59A5-2936-D626-CD5610D8AEF6}"/>
              </a:ext>
            </a:extLst>
          </p:cNvPr>
          <p:cNvSpPr>
            <a:spLocks noGrp="1"/>
          </p:cNvSpPr>
          <p:nvPr>
            <p:custDataLst>
              <p:tags r:id="rId81"/>
            </p:custDataLst>
          </p:nvPr>
        </p:nvSpPr>
        <p:spPr bwMode="gray">
          <a:xfrm>
            <a:off x="6605588" y="27352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E10D90-5998-4291-AEDC-7D192E6C8DB9}" type="datetime'''''''''''''''14''''''''''''''.''2'''''''''''''''''''''''">
              <a:rPr lang="ja-JP" altLang="en-US" sz="800" smtClean="0">
                <a:effectLst/>
                <a:sym typeface="+mn-lt"/>
              </a:rPr>
              <a:pPr marL="0" lvl="0" indent="0" algn="ctr">
                <a:spcBef>
                  <a:spcPct val="0"/>
                </a:spcBef>
                <a:buNone/>
              </a:pPr>
              <a:t>14.2</a:t>
            </a:fld>
            <a:endParaRPr kumimoji="1" lang="ja-JP" altLang="en-US" sz="800" dirty="0">
              <a:sym typeface="+mn-lt"/>
            </a:endParaRPr>
          </a:p>
        </p:txBody>
      </p:sp>
      <p:sp>
        <p:nvSpPr>
          <p:cNvPr id="442" name="テキスト プレースホルダ 9">
            <a:extLst>
              <a:ext uri="{FF2B5EF4-FFF2-40B4-BE49-F238E27FC236}">
                <a16:creationId xmlns:a16="http://schemas.microsoft.com/office/drawing/2014/main" id="{DEBF4AED-65C7-731A-B57B-51C3EAB147DA}"/>
              </a:ext>
            </a:extLst>
          </p:cNvPr>
          <p:cNvSpPr>
            <a:spLocks noGrp="1"/>
          </p:cNvSpPr>
          <p:nvPr>
            <p:custDataLst>
              <p:tags r:id="rId82"/>
            </p:custDataLst>
          </p:nvPr>
        </p:nvSpPr>
        <p:spPr bwMode="gray">
          <a:xfrm>
            <a:off x="6910388" y="25860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E244FF-BED9-4809-86EC-5F3F9F18A91E}" type="datetime'''''''''''''''1''''''''''''''''''''''''''3''''.''7'">
              <a:rPr lang="ja-JP" altLang="en-US" sz="800" smtClean="0">
                <a:effectLst/>
                <a:sym typeface="+mn-lt"/>
              </a:rPr>
              <a:pPr marL="0" lvl="0" indent="0" algn="ctr">
                <a:spcBef>
                  <a:spcPct val="0"/>
                </a:spcBef>
                <a:buNone/>
              </a:pPr>
              <a:t>13.7</a:t>
            </a:fld>
            <a:endParaRPr kumimoji="1" lang="ja-JP" altLang="en-US" sz="800" dirty="0">
              <a:sym typeface="+mn-lt"/>
            </a:endParaRPr>
          </a:p>
        </p:txBody>
      </p:sp>
      <p:sp>
        <p:nvSpPr>
          <p:cNvPr id="443" name="テキスト プレースホルダ 9">
            <a:extLst>
              <a:ext uri="{FF2B5EF4-FFF2-40B4-BE49-F238E27FC236}">
                <a16:creationId xmlns:a16="http://schemas.microsoft.com/office/drawing/2014/main" id="{433A0E4A-1708-6CBE-9C5F-E0EB79F22CBE}"/>
              </a:ext>
            </a:extLst>
          </p:cNvPr>
          <p:cNvSpPr>
            <a:spLocks noGrp="1"/>
          </p:cNvSpPr>
          <p:nvPr>
            <p:custDataLst>
              <p:tags r:id="rId83"/>
            </p:custDataLst>
          </p:nvPr>
        </p:nvSpPr>
        <p:spPr bwMode="gray">
          <a:xfrm>
            <a:off x="7215188" y="26463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C741C1-1E54-4223-89FB-039540CD7562}" type="datetime'1''''''''''''''''3''''''.''''''''''''''''''''''''''7'''''''''">
              <a:rPr lang="ja-JP" altLang="en-US" sz="800" smtClean="0">
                <a:effectLst/>
                <a:sym typeface="+mn-lt"/>
              </a:rPr>
              <a:pPr marL="0" lvl="0" indent="0" algn="ctr">
                <a:spcBef>
                  <a:spcPct val="0"/>
                </a:spcBef>
                <a:buNone/>
              </a:pPr>
              <a:t>13.7</a:t>
            </a:fld>
            <a:endParaRPr kumimoji="1" lang="ja-JP" altLang="en-US" sz="800" dirty="0">
              <a:sym typeface="+mn-lt"/>
            </a:endParaRPr>
          </a:p>
        </p:txBody>
      </p:sp>
      <p:sp>
        <p:nvSpPr>
          <p:cNvPr id="444" name="テキスト プレースホルダ 9">
            <a:extLst>
              <a:ext uri="{FF2B5EF4-FFF2-40B4-BE49-F238E27FC236}">
                <a16:creationId xmlns:a16="http://schemas.microsoft.com/office/drawing/2014/main" id="{9985843E-DFFB-A612-B74B-71B6D6710FE2}"/>
              </a:ext>
            </a:extLst>
          </p:cNvPr>
          <p:cNvSpPr>
            <a:spLocks noGrp="1"/>
          </p:cNvSpPr>
          <p:nvPr>
            <p:custDataLst>
              <p:tags r:id="rId84"/>
            </p:custDataLst>
          </p:nvPr>
        </p:nvSpPr>
        <p:spPr bwMode="gray">
          <a:xfrm>
            <a:off x="7519988" y="26765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53F9F9-B346-48B2-958D-08A327F329B6}" type="datetime'''''''''''''''''''1''''''''''''''''3''''''.''1'">
              <a:rPr lang="ja-JP" altLang="en-US" sz="800" smtClean="0">
                <a:effectLst/>
                <a:sym typeface="+mn-lt"/>
              </a:rPr>
              <a:pPr marL="0" lvl="0" indent="0" algn="ctr">
                <a:spcBef>
                  <a:spcPct val="0"/>
                </a:spcBef>
                <a:buNone/>
              </a:pPr>
              <a:t>13.1</a:t>
            </a:fld>
            <a:endParaRPr kumimoji="1" lang="ja-JP" altLang="en-US" sz="800" dirty="0">
              <a:sym typeface="+mn-lt"/>
            </a:endParaRPr>
          </a:p>
        </p:txBody>
      </p:sp>
      <p:sp>
        <p:nvSpPr>
          <p:cNvPr id="445" name="テキスト プレースホルダ 9">
            <a:extLst>
              <a:ext uri="{FF2B5EF4-FFF2-40B4-BE49-F238E27FC236}">
                <a16:creationId xmlns:a16="http://schemas.microsoft.com/office/drawing/2014/main" id="{64C99405-E498-2C61-2C75-5EAA94002D1E}"/>
              </a:ext>
            </a:extLst>
          </p:cNvPr>
          <p:cNvSpPr>
            <a:spLocks noGrp="1"/>
          </p:cNvSpPr>
          <p:nvPr>
            <p:custDataLst>
              <p:tags r:id="rId85"/>
            </p:custDataLst>
          </p:nvPr>
        </p:nvSpPr>
        <p:spPr bwMode="gray">
          <a:xfrm>
            <a:off x="7824788" y="26241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673428-B96A-408D-AF2D-A2E03FD0D46C}" type="datetime'''''1''3''''''''''''''.''''''''''''5'''''''''''''''''''">
              <a:rPr lang="ja-JP" altLang="en-US" sz="800" smtClean="0">
                <a:effectLst/>
                <a:sym typeface="+mn-lt"/>
              </a:rPr>
              <a:pPr marL="0" lvl="0" indent="0" algn="ctr">
                <a:spcBef>
                  <a:spcPct val="0"/>
                </a:spcBef>
                <a:buNone/>
              </a:pPr>
              <a:t>13.5</a:t>
            </a:fld>
            <a:endParaRPr kumimoji="1" lang="ja-JP" altLang="en-US" sz="800" dirty="0">
              <a:sym typeface="+mn-lt"/>
            </a:endParaRPr>
          </a:p>
        </p:txBody>
      </p:sp>
      <p:sp>
        <p:nvSpPr>
          <p:cNvPr id="433" name="テキスト プレースホルダ 9">
            <a:extLst>
              <a:ext uri="{FF2B5EF4-FFF2-40B4-BE49-F238E27FC236}">
                <a16:creationId xmlns:a16="http://schemas.microsoft.com/office/drawing/2014/main" id="{CAA6799E-1240-9D28-606B-E204CC067109}"/>
              </a:ext>
            </a:extLst>
          </p:cNvPr>
          <p:cNvSpPr>
            <a:spLocks noGrp="1"/>
          </p:cNvSpPr>
          <p:nvPr>
            <p:custDataLst>
              <p:tags r:id="rId86"/>
            </p:custDataLst>
          </p:nvPr>
        </p:nvSpPr>
        <p:spPr bwMode="gray">
          <a:xfrm>
            <a:off x="3862388" y="334486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6C581F-F831-4D08-9941-B8166D9DB1E3}" type="datetime'''''''''''''''''''''''''''''''16''''.''''''''''''0'''''''''">
              <a:rPr lang="ja-JP" altLang="en-US" sz="800" smtClean="0">
                <a:effectLst/>
                <a:sym typeface="+mn-lt"/>
              </a:rPr>
              <a:pPr marL="0" lvl="0" indent="0" algn="ctr">
                <a:spcBef>
                  <a:spcPct val="0"/>
                </a:spcBef>
                <a:buNone/>
              </a:pPr>
              <a:t>16.0</a:t>
            </a:fld>
            <a:endParaRPr kumimoji="1" lang="ja-JP" altLang="en-US" sz="800" dirty="0">
              <a:sym typeface="+mn-lt"/>
            </a:endParaRPr>
          </a:p>
        </p:txBody>
      </p:sp>
      <p:sp>
        <p:nvSpPr>
          <p:cNvPr id="494" name="テキスト プレースホルダ 9">
            <a:extLst>
              <a:ext uri="{FF2B5EF4-FFF2-40B4-BE49-F238E27FC236}">
                <a16:creationId xmlns:a16="http://schemas.microsoft.com/office/drawing/2014/main" id="{755D9722-82F6-9846-9084-7E3D05653CBE}"/>
              </a:ext>
            </a:extLst>
          </p:cNvPr>
          <p:cNvSpPr>
            <a:spLocks noGrp="1"/>
          </p:cNvSpPr>
          <p:nvPr>
            <p:custDataLst>
              <p:tags r:id="rId87"/>
            </p:custDataLst>
          </p:nvPr>
        </p:nvSpPr>
        <p:spPr bwMode="gray">
          <a:xfrm>
            <a:off x="1147763" y="317500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D3E537-1A74-4C03-8246-1573435FC5AA}" type="datetime'''''''''''''''''6''''.''''''''''''''''''''''''''0'''''">
              <a:rPr lang="ja-JP" altLang="en-US" sz="800" smtClean="0">
                <a:effectLst/>
                <a:sym typeface="+mn-lt"/>
              </a:rPr>
              <a:pPr marL="0" lvl="0" indent="0" algn="ctr">
                <a:spcBef>
                  <a:spcPct val="0"/>
                </a:spcBef>
                <a:buNone/>
              </a:pPr>
              <a:t>6.0</a:t>
            </a:fld>
            <a:endParaRPr kumimoji="1" lang="ja-JP" altLang="en-US" sz="800" dirty="0">
              <a:sym typeface="+mn-lt"/>
            </a:endParaRPr>
          </a:p>
        </p:txBody>
      </p:sp>
      <p:sp>
        <p:nvSpPr>
          <p:cNvPr id="495" name="テキスト プレースホルダ 9">
            <a:extLst>
              <a:ext uri="{FF2B5EF4-FFF2-40B4-BE49-F238E27FC236}">
                <a16:creationId xmlns:a16="http://schemas.microsoft.com/office/drawing/2014/main" id="{76FD5709-4B58-ABA9-9D2C-525AB7192818}"/>
              </a:ext>
            </a:extLst>
          </p:cNvPr>
          <p:cNvSpPr>
            <a:spLocks noGrp="1"/>
          </p:cNvSpPr>
          <p:nvPr>
            <p:custDataLst>
              <p:tags r:id="rId88"/>
            </p:custDataLst>
          </p:nvPr>
        </p:nvSpPr>
        <p:spPr bwMode="gray">
          <a:xfrm>
            <a:off x="1452563" y="3192463"/>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F5B818-B827-468D-A50D-8A6C7F58FEDE}" type="datetime'''''''''''5''''''''''''''''''''''''''''''.7'''''''''''">
              <a:rPr lang="ja-JP" altLang="en-US" sz="800" smtClean="0">
                <a:effectLst/>
                <a:sym typeface="+mn-lt"/>
              </a:rPr>
              <a:pPr marL="0" lvl="0" indent="0" algn="ctr">
                <a:spcBef>
                  <a:spcPct val="0"/>
                </a:spcBef>
                <a:buNone/>
              </a:pPr>
              <a:t>5.7</a:t>
            </a:fld>
            <a:endParaRPr kumimoji="1" lang="ja-JP" altLang="en-US" sz="800" dirty="0">
              <a:sym typeface="+mn-lt"/>
            </a:endParaRPr>
          </a:p>
        </p:txBody>
      </p:sp>
      <p:sp>
        <p:nvSpPr>
          <p:cNvPr id="496" name="テキスト プレースホルダ 9">
            <a:extLst>
              <a:ext uri="{FF2B5EF4-FFF2-40B4-BE49-F238E27FC236}">
                <a16:creationId xmlns:a16="http://schemas.microsoft.com/office/drawing/2014/main" id="{16045470-EC1A-E45F-FE7F-C9672E7C3F3D}"/>
              </a:ext>
            </a:extLst>
          </p:cNvPr>
          <p:cNvSpPr>
            <a:spLocks noGrp="1"/>
          </p:cNvSpPr>
          <p:nvPr>
            <p:custDataLst>
              <p:tags r:id="rId89"/>
            </p:custDataLst>
          </p:nvPr>
        </p:nvSpPr>
        <p:spPr bwMode="gray">
          <a:xfrm>
            <a:off x="1757363" y="3186113"/>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5F84FA-A641-45A7-BC33-7EE9307A4DBC}" type="datetime'''''''''''5''''''.''''''''''''''8'''''''''''''''''''">
              <a:rPr lang="ja-JP" altLang="en-US" sz="800" smtClean="0">
                <a:effectLst/>
                <a:sym typeface="+mn-lt"/>
              </a:rPr>
              <a:pPr marL="0" lvl="0" indent="0" algn="ctr">
                <a:spcBef>
                  <a:spcPct val="0"/>
                </a:spcBef>
                <a:buNone/>
              </a:pPr>
              <a:t>5.8</a:t>
            </a:fld>
            <a:endParaRPr kumimoji="1" lang="ja-JP" altLang="en-US" sz="800" dirty="0">
              <a:sym typeface="+mn-lt"/>
            </a:endParaRPr>
          </a:p>
        </p:txBody>
      </p:sp>
      <p:sp>
        <p:nvSpPr>
          <p:cNvPr id="497" name="テキスト プレースホルダ 9">
            <a:extLst>
              <a:ext uri="{FF2B5EF4-FFF2-40B4-BE49-F238E27FC236}">
                <a16:creationId xmlns:a16="http://schemas.microsoft.com/office/drawing/2014/main" id="{73020579-2C4D-2C19-AE92-A5F0593BBB6D}"/>
              </a:ext>
            </a:extLst>
          </p:cNvPr>
          <p:cNvSpPr>
            <a:spLocks noGrp="1"/>
          </p:cNvSpPr>
          <p:nvPr>
            <p:custDataLst>
              <p:tags r:id="rId90"/>
            </p:custDataLst>
          </p:nvPr>
        </p:nvSpPr>
        <p:spPr bwMode="gray">
          <a:xfrm>
            <a:off x="2062163" y="31940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6A0AFE-7D04-46ED-9C3A-D3B0A7D37F02}" type="datetime'''5''''''''''''''''''''''''''.''''''9'''''''''''''''''''''''''">
              <a:rPr lang="ja-JP" altLang="en-US" sz="800" smtClean="0">
                <a:effectLst/>
                <a:sym typeface="+mn-lt"/>
              </a:rPr>
              <a:pPr marL="0" lvl="0" indent="0" algn="ctr">
                <a:spcBef>
                  <a:spcPct val="0"/>
                </a:spcBef>
                <a:buNone/>
              </a:pPr>
              <a:t>5.9</a:t>
            </a:fld>
            <a:endParaRPr kumimoji="1" lang="ja-JP" altLang="en-US" sz="800" dirty="0">
              <a:sym typeface="+mn-lt"/>
            </a:endParaRPr>
          </a:p>
        </p:txBody>
      </p:sp>
      <p:sp>
        <p:nvSpPr>
          <p:cNvPr id="498" name="テキスト プレースホルダ 9">
            <a:extLst>
              <a:ext uri="{FF2B5EF4-FFF2-40B4-BE49-F238E27FC236}">
                <a16:creationId xmlns:a16="http://schemas.microsoft.com/office/drawing/2014/main" id="{F36E5496-F47C-8E49-2A76-E0A90568154D}"/>
              </a:ext>
            </a:extLst>
          </p:cNvPr>
          <p:cNvSpPr>
            <a:spLocks noGrp="1"/>
          </p:cNvSpPr>
          <p:nvPr>
            <p:custDataLst>
              <p:tags r:id="rId91"/>
            </p:custDataLst>
          </p:nvPr>
        </p:nvSpPr>
        <p:spPr bwMode="gray">
          <a:xfrm>
            <a:off x="2366963" y="318928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8155A-E4FB-47D5-A8FC-2B362FC09767}" type="datetime'''''''''''''''''''''''''''5''''.''''''''''''7'''''''''''''''''">
              <a:rPr lang="ja-JP" altLang="en-US" sz="800" smtClean="0">
                <a:effectLst/>
                <a:sym typeface="+mn-lt"/>
              </a:rPr>
              <a:pPr marL="0" lvl="0" indent="0" algn="ctr">
                <a:spcBef>
                  <a:spcPct val="0"/>
                </a:spcBef>
                <a:buNone/>
              </a:pPr>
              <a:t>5.7</a:t>
            </a:fld>
            <a:endParaRPr kumimoji="1" lang="ja-JP" altLang="en-US" sz="800" dirty="0">
              <a:sym typeface="+mn-lt"/>
            </a:endParaRPr>
          </a:p>
        </p:txBody>
      </p:sp>
      <p:sp>
        <p:nvSpPr>
          <p:cNvPr id="499" name="テキスト プレースホルダ 9">
            <a:extLst>
              <a:ext uri="{FF2B5EF4-FFF2-40B4-BE49-F238E27FC236}">
                <a16:creationId xmlns:a16="http://schemas.microsoft.com/office/drawing/2014/main" id="{7499ED80-48D3-E5A8-BA17-40945458B875}"/>
              </a:ext>
            </a:extLst>
          </p:cNvPr>
          <p:cNvSpPr>
            <a:spLocks noGrp="1"/>
          </p:cNvSpPr>
          <p:nvPr>
            <p:custDataLst>
              <p:tags r:id="rId92"/>
            </p:custDataLst>
          </p:nvPr>
        </p:nvSpPr>
        <p:spPr bwMode="gray">
          <a:xfrm>
            <a:off x="2671763" y="316230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A4D72-3D1A-4725-9725-B79E18CC0052}" type="datetime'6''''''''''''''''''''''.''''''''''''''''1'''''''''''''''''''">
              <a:rPr lang="ja-JP" altLang="en-US" sz="800" smtClean="0">
                <a:effectLst/>
                <a:sym typeface="+mn-lt"/>
              </a:rPr>
              <a:pPr marL="0" lvl="0" indent="0" algn="ctr">
                <a:spcBef>
                  <a:spcPct val="0"/>
                </a:spcBef>
                <a:buNone/>
              </a:pPr>
              <a:t>6.1</a:t>
            </a:fld>
            <a:endParaRPr kumimoji="1" lang="ja-JP" altLang="en-US" sz="800" dirty="0">
              <a:sym typeface="+mn-lt"/>
            </a:endParaRPr>
          </a:p>
        </p:txBody>
      </p:sp>
      <p:sp>
        <p:nvSpPr>
          <p:cNvPr id="500" name="テキスト プレースホルダ 9">
            <a:extLst>
              <a:ext uri="{FF2B5EF4-FFF2-40B4-BE49-F238E27FC236}">
                <a16:creationId xmlns:a16="http://schemas.microsoft.com/office/drawing/2014/main" id="{1BA68F66-961E-3D9F-8426-E6AAE7A6F82B}"/>
              </a:ext>
            </a:extLst>
          </p:cNvPr>
          <p:cNvSpPr>
            <a:spLocks noGrp="1"/>
          </p:cNvSpPr>
          <p:nvPr>
            <p:custDataLst>
              <p:tags r:id="rId93"/>
            </p:custDataLst>
          </p:nvPr>
        </p:nvSpPr>
        <p:spPr bwMode="gray">
          <a:xfrm>
            <a:off x="2976563" y="3165475"/>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CF8D40-9DAB-4E14-97F6-7AC2A4DD37B7}" type="datetime'''''''''''''''''''''''''''''''''''''''''''''''''6''''''''.8'''">
              <a:rPr lang="ja-JP" altLang="en-US" sz="800" smtClean="0">
                <a:effectLst/>
                <a:sym typeface="+mn-lt"/>
              </a:rPr>
              <a:pPr marL="0" lvl="0" indent="0" algn="ctr">
                <a:spcBef>
                  <a:spcPct val="0"/>
                </a:spcBef>
                <a:buNone/>
              </a:pPr>
              <a:t>6.8</a:t>
            </a:fld>
            <a:endParaRPr kumimoji="1" lang="ja-JP" altLang="en-US" sz="800" dirty="0">
              <a:sym typeface="+mn-lt"/>
            </a:endParaRPr>
          </a:p>
        </p:txBody>
      </p:sp>
      <p:sp>
        <p:nvSpPr>
          <p:cNvPr id="502" name="テキスト プレースホルダ 9">
            <a:extLst>
              <a:ext uri="{FF2B5EF4-FFF2-40B4-BE49-F238E27FC236}">
                <a16:creationId xmlns:a16="http://schemas.microsoft.com/office/drawing/2014/main" id="{3D74BC55-ABD6-59F3-0642-3425CE332A16}"/>
              </a:ext>
            </a:extLst>
          </p:cNvPr>
          <p:cNvSpPr>
            <a:spLocks noGrp="1"/>
          </p:cNvSpPr>
          <p:nvPr>
            <p:custDataLst>
              <p:tags r:id="rId94"/>
            </p:custDataLst>
          </p:nvPr>
        </p:nvSpPr>
        <p:spPr bwMode="gray">
          <a:xfrm>
            <a:off x="3557588" y="30972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E2E2B9-EA46-4513-A533-34BD35CC1AD4}" type="datetime'''10''''''''.''''''''''''1'">
              <a:rPr lang="ja-JP" altLang="en-US" sz="800" smtClean="0">
                <a:effectLst/>
                <a:sym typeface="+mn-lt"/>
              </a:rPr>
              <a:pPr marL="0" lvl="0" indent="0" algn="ctr">
                <a:spcBef>
                  <a:spcPct val="0"/>
                </a:spcBef>
                <a:buNone/>
              </a:pPr>
              <a:t>10.1</a:t>
            </a:fld>
            <a:endParaRPr kumimoji="1" lang="ja-JP" altLang="en-US" sz="800" dirty="0">
              <a:sym typeface="+mn-lt"/>
            </a:endParaRPr>
          </a:p>
        </p:txBody>
      </p:sp>
      <p:sp>
        <p:nvSpPr>
          <p:cNvPr id="503" name="テキスト プレースホルダ 9">
            <a:extLst>
              <a:ext uri="{FF2B5EF4-FFF2-40B4-BE49-F238E27FC236}">
                <a16:creationId xmlns:a16="http://schemas.microsoft.com/office/drawing/2014/main" id="{54E1987C-1D80-6A2F-E706-F8603F185912}"/>
              </a:ext>
            </a:extLst>
          </p:cNvPr>
          <p:cNvSpPr>
            <a:spLocks noGrp="1"/>
          </p:cNvSpPr>
          <p:nvPr>
            <p:custDataLst>
              <p:tags r:id="rId95"/>
            </p:custDataLst>
          </p:nvPr>
        </p:nvSpPr>
        <p:spPr bwMode="gray">
          <a:xfrm>
            <a:off x="4471988" y="30337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C5D6C4-250C-4B06-8CF5-E93179EB8BD8}" type="datetime'''''''''''''''1''''0''''''''''''.''''5'''''''''''''">
              <a:rPr lang="ja-JP" altLang="en-US" sz="800" smtClean="0">
                <a:effectLst/>
                <a:sym typeface="+mn-lt"/>
              </a:rPr>
              <a:pPr marL="0" lvl="0" indent="0" algn="ctr">
                <a:spcBef>
                  <a:spcPct val="0"/>
                </a:spcBef>
                <a:buNone/>
              </a:pPr>
              <a:t>10.5</a:t>
            </a:fld>
            <a:endParaRPr kumimoji="1" lang="ja-JP" altLang="en-US" sz="800" dirty="0">
              <a:sym typeface="+mn-lt"/>
            </a:endParaRPr>
          </a:p>
        </p:txBody>
      </p:sp>
      <p:sp>
        <p:nvSpPr>
          <p:cNvPr id="504" name="テキスト プレースホルダ 9">
            <a:extLst>
              <a:ext uri="{FF2B5EF4-FFF2-40B4-BE49-F238E27FC236}">
                <a16:creationId xmlns:a16="http://schemas.microsoft.com/office/drawing/2014/main" id="{65FB59C2-4522-3A3A-DEBD-3A6823D8B8B1}"/>
              </a:ext>
            </a:extLst>
          </p:cNvPr>
          <p:cNvSpPr>
            <a:spLocks noGrp="1"/>
          </p:cNvSpPr>
          <p:nvPr>
            <p:custDataLst>
              <p:tags r:id="rId96"/>
            </p:custDataLst>
          </p:nvPr>
        </p:nvSpPr>
        <p:spPr bwMode="gray">
          <a:xfrm>
            <a:off x="4776788" y="29702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66276B-B4C7-4C43-919D-67033B3FFA26}" type="datetime'''''''1''1''.''''''''''''''''4'''''''''''''''''''">
              <a:rPr lang="ja-JP" altLang="en-US" sz="800" smtClean="0">
                <a:effectLst/>
                <a:sym typeface="+mn-lt"/>
              </a:rPr>
              <a:pPr marL="0" lvl="0" indent="0" algn="ctr">
                <a:spcBef>
                  <a:spcPct val="0"/>
                </a:spcBef>
                <a:buNone/>
              </a:pPr>
              <a:t>11.4</a:t>
            </a:fld>
            <a:endParaRPr kumimoji="1" lang="ja-JP" altLang="en-US" sz="800" dirty="0">
              <a:sym typeface="+mn-lt"/>
            </a:endParaRPr>
          </a:p>
        </p:txBody>
      </p:sp>
      <p:sp>
        <p:nvSpPr>
          <p:cNvPr id="493" name="テキスト プレースホルダ 9">
            <a:extLst>
              <a:ext uri="{FF2B5EF4-FFF2-40B4-BE49-F238E27FC236}">
                <a16:creationId xmlns:a16="http://schemas.microsoft.com/office/drawing/2014/main" id="{77382646-7C60-74F9-76DC-AFA040EF7317}"/>
              </a:ext>
            </a:extLst>
          </p:cNvPr>
          <p:cNvSpPr>
            <a:spLocks noGrp="1"/>
          </p:cNvSpPr>
          <p:nvPr>
            <p:custDataLst>
              <p:tags r:id="rId97"/>
            </p:custDataLst>
          </p:nvPr>
        </p:nvSpPr>
        <p:spPr bwMode="gray">
          <a:xfrm>
            <a:off x="842963" y="31940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BC6878-124E-4FC1-9161-7BCA5CC8AD73}" type="datetime'''''''''''''5''''''''''''''''.''''''7'''''''''''">
              <a:rPr lang="ja-JP" altLang="en-US" sz="800" smtClean="0">
                <a:effectLst/>
                <a:sym typeface="+mn-lt"/>
              </a:rPr>
              <a:pPr marL="0" lvl="0" indent="0" algn="ctr">
                <a:spcBef>
                  <a:spcPct val="0"/>
                </a:spcBef>
                <a:buNone/>
              </a:pPr>
              <a:t>5.7</a:t>
            </a:fld>
            <a:endParaRPr kumimoji="1" lang="ja-JP" altLang="en-US" sz="800" dirty="0">
              <a:sym typeface="+mn-lt"/>
            </a:endParaRPr>
          </a:p>
        </p:txBody>
      </p:sp>
      <p:sp>
        <p:nvSpPr>
          <p:cNvPr id="3" name="タイトル 2"/>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541982"/>
            <a:ext cx="5616624"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67" name="Chart 566">
            <a:extLst>
              <a:ext uri="{FF2B5EF4-FFF2-40B4-BE49-F238E27FC236}">
                <a16:creationId xmlns:a16="http://schemas.microsoft.com/office/drawing/2014/main" id="{960D280D-D785-5454-24D1-25CC8B348651}"/>
              </a:ext>
            </a:extLst>
          </p:cNvPr>
          <p:cNvGraphicFramePr/>
          <p:nvPr>
            <p:custDataLst>
              <p:tags r:id="rId98"/>
            </p:custDataLst>
            <p:extLst>
              <p:ext uri="{D42A27DB-BD31-4B8C-83A1-F6EECF244321}">
                <p14:modId xmlns:p14="http://schemas.microsoft.com/office/powerpoint/2010/main" val="2795929160"/>
              </p:ext>
            </p:extLst>
          </p:nvPr>
        </p:nvGraphicFramePr>
        <p:xfrm>
          <a:off x="230188" y="4125913"/>
          <a:ext cx="7943850" cy="1979612"/>
        </p:xfrm>
        <a:graphic>
          <a:graphicData uri="http://schemas.openxmlformats.org/drawingml/2006/chart">
            <c:chart xmlns:c="http://schemas.openxmlformats.org/drawingml/2006/chart" xmlns:r="http://schemas.openxmlformats.org/officeDocument/2006/relationships" r:id="rId173"/>
          </a:graphicData>
        </a:graphic>
      </p:graphicFrame>
      <p:sp>
        <p:nvSpPr>
          <p:cNvPr id="89" name="テキスト プレースホルダ 9"/>
          <p:cNvSpPr>
            <a:spLocks noGrp="1"/>
          </p:cNvSpPr>
          <p:nvPr>
            <p:custDataLst>
              <p:tags r:id="rId99"/>
            </p:custDataLst>
          </p:nvPr>
        </p:nvSpPr>
        <p:spPr bwMode="auto">
          <a:xfrm>
            <a:off x="1157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153" name="テキスト プレースホルダ 9"/>
          <p:cNvSpPr>
            <a:spLocks noGrp="1"/>
          </p:cNvSpPr>
          <p:nvPr>
            <p:custDataLst>
              <p:tags r:id="rId100"/>
            </p:custDataLst>
          </p:nvPr>
        </p:nvSpPr>
        <p:spPr bwMode="gray">
          <a:xfrm>
            <a:off x="1438275" y="5546725"/>
            <a:ext cx="200025" cy="122238"/>
          </a:xfrm>
          <a:prstGeom prst="rect">
            <a:avLst/>
          </a:prstGeom>
          <a:solidFill>
            <a:srgbClr val="80CCE8"/>
          </a:solidFill>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7C517E-4E6A-4F8D-AB06-990E3F459DD3}" type="datetime'''''''1''''''''''''''''''2''''''''''''''''''5'''''''''''''">
              <a:rPr lang="ja-JP" altLang="en-US" sz="800" smtClean="0">
                <a:effectLst/>
              </a:rPr>
              <a:pPr/>
              <a:t>125</a:t>
            </a:fld>
            <a:endParaRPr lang="ja-JP" altLang="en-US" sz="800" dirty="0">
              <a:sym typeface="+mn-lt"/>
            </a:endParaRPr>
          </a:p>
        </p:txBody>
      </p:sp>
      <p:sp>
        <p:nvSpPr>
          <p:cNvPr id="91" name="テキスト プレースホルダ 9"/>
          <p:cNvSpPr>
            <a:spLocks noGrp="1"/>
          </p:cNvSpPr>
          <p:nvPr>
            <p:custDataLst>
              <p:tags r:id="rId101"/>
            </p:custDataLst>
          </p:nvPr>
        </p:nvSpPr>
        <p:spPr bwMode="auto">
          <a:xfrm>
            <a:off x="1462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152" name="テキスト プレースホルダ 9"/>
          <p:cNvSpPr>
            <a:spLocks noGrp="1"/>
          </p:cNvSpPr>
          <p:nvPr>
            <p:custDataLst>
              <p:tags r:id="rId102"/>
            </p:custDataLst>
          </p:nvPr>
        </p:nvSpPr>
        <p:spPr bwMode="gray">
          <a:xfrm>
            <a:off x="1743075" y="5541963"/>
            <a:ext cx="200025" cy="122238"/>
          </a:xfrm>
          <a:prstGeom prst="rect">
            <a:avLst/>
          </a:prstGeom>
          <a:solidFill>
            <a:srgbClr val="80CCE8"/>
          </a:solidFill>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BEB98E-8479-4784-83EA-A77FC9A05CA0}" type="datetime'12''''''''''''''''''''''''''''''''''''''''''6'''''''">
              <a:rPr lang="ja-JP" altLang="en-US" sz="800" smtClean="0">
                <a:effectLst/>
              </a:rPr>
              <a:pPr/>
              <a:t>126</a:t>
            </a:fld>
            <a:endParaRPr lang="ja-JP" altLang="en-US" sz="800" dirty="0">
              <a:sym typeface="+mn-lt"/>
            </a:endParaRPr>
          </a:p>
        </p:txBody>
      </p:sp>
      <p:sp>
        <p:nvSpPr>
          <p:cNvPr id="92" name="テキスト プレースホルダ 9"/>
          <p:cNvSpPr>
            <a:spLocks noGrp="1"/>
          </p:cNvSpPr>
          <p:nvPr>
            <p:custDataLst>
              <p:tags r:id="rId103"/>
            </p:custDataLst>
          </p:nvPr>
        </p:nvSpPr>
        <p:spPr bwMode="auto">
          <a:xfrm>
            <a:off x="1766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85" name="テキスト プレースホルダ 9"/>
          <p:cNvSpPr>
            <a:spLocks noGrp="1"/>
          </p:cNvSpPr>
          <p:nvPr>
            <p:custDataLst>
              <p:tags r:id="rId104"/>
            </p:custDataLst>
          </p:nvPr>
        </p:nvSpPr>
        <p:spPr bwMode="auto">
          <a:xfrm>
            <a:off x="2071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93" name="テキスト プレースホルダ 9"/>
          <p:cNvSpPr>
            <a:spLocks noGrp="1"/>
          </p:cNvSpPr>
          <p:nvPr>
            <p:custDataLst>
              <p:tags r:id="rId105"/>
            </p:custDataLst>
          </p:nvPr>
        </p:nvSpPr>
        <p:spPr bwMode="auto">
          <a:xfrm>
            <a:off x="23764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86" name="テキスト プレースホルダ 9"/>
          <p:cNvSpPr>
            <a:spLocks noGrp="1"/>
          </p:cNvSpPr>
          <p:nvPr>
            <p:custDataLst>
              <p:tags r:id="rId106"/>
            </p:custDataLst>
          </p:nvPr>
        </p:nvSpPr>
        <p:spPr bwMode="auto">
          <a:xfrm>
            <a:off x="2681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84" name="テキスト プレースホルダ 9"/>
          <p:cNvSpPr>
            <a:spLocks noGrp="1"/>
          </p:cNvSpPr>
          <p:nvPr>
            <p:custDataLst>
              <p:tags r:id="rId107"/>
            </p:custDataLst>
          </p:nvPr>
        </p:nvSpPr>
        <p:spPr bwMode="auto">
          <a:xfrm>
            <a:off x="2986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95" name="テキスト プレースホルダ 9"/>
          <p:cNvSpPr>
            <a:spLocks noGrp="1"/>
          </p:cNvSpPr>
          <p:nvPr>
            <p:custDataLst>
              <p:tags r:id="rId108"/>
            </p:custDataLst>
          </p:nvPr>
        </p:nvSpPr>
        <p:spPr bwMode="auto">
          <a:xfrm>
            <a:off x="3290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96" name="テキスト プレースホルダ 9"/>
          <p:cNvSpPr>
            <a:spLocks noGrp="1"/>
          </p:cNvSpPr>
          <p:nvPr>
            <p:custDataLst>
              <p:tags r:id="rId109"/>
            </p:custDataLst>
          </p:nvPr>
        </p:nvSpPr>
        <p:spPr bwMode="auto">
          <a:xfrm>
            <a:off x="3595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97" name="テキスト プレースホルダ 9"/>
          <p:cNvSpPr>
            <a:spLocks noGrp="1"/>
          </p:cNvSpPr>
          <p:nvPr>
            <p:custDataLst>
              <p:tags r:id="rId110"/>
            </p:custDataLst>
          </p:nvPr>
        </p:nvSpPr>
        <p:spPr bwMode="auto">
          <a:xfrm>
            <a:off x="39004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98" name="テキスト プレースホルダ 9"/>
          <p:cNvSpPr>
            <a:spLocks noGrp="1"/>
          </p:cNvSpPr>
          <p:nvPr>
            <p:custDataLst>
              <p:tags r:id="rId111"/>
            </p:custDataLst>
          </p:nvPr>
        </p:nvSpPr>
        <p:spPr bwMode="auto">
          <a:xfrm>
            <a:off x="4205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112"/>
            </p:custDataLst>
          </p:nvPr>
        </p:nvSpPr>
        <p:spPr bwMode="auto">
          <a:xfrm>
            <a:off x="4510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113"/>
            </p:custDataLst>
          </p:nvPr>
        </p:nvSpPr>
        <p:spPr bwMode="auto">
          <a:xfrm>
            <a:off x="481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9" name="テキスト プレースホルダ 9"/>
          <p:cNvSpPr>
            <a:spLocks noGrp="1"/>
          </p:cNvSpPr>
          <p:nvPr>
            <p:custDataLst>
              <p:tags r:id="rId114"/>
            </p:custDataLst>
          </p:nvPr>
        </p:nvSpPr>
        <p:spPr bwMode="auto">
          <a:xfrm>
            <a:off x="5119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00" name="テキスト プレースホルダ 9"/>
          <p:cNvSpPr>
            <a:spLocks noGrp="1"/>
          </p:cNvSpPr>
          <p:nvPr>
            <p:custDataLst>
              <p:tags r:id="rId115"/>
            </p:custDataLst>
          </p:nvPr>
        </p:nvSpPr>
        <p:spPr bwMode="auto">
          <a:xfrm>
            <a:off x="54244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211" name="テキスト プレースホルダ 9">
            <a:extLst>
              <a:ext uri="{FF2B5EF4-FFF2-40B4-BE49-F238E27FC236}">
                <a16:creationId xmlns:a16="http://schemas.microsoft.com/office/drawing/2014/main" id="{78AC2FFE-97F7-4E9E-B222-3762B4FC52D9}"/>
              </a:ext>
            </a:extLst>
          </p:cNvPr>
          <p:cNvSpPr>
            <a:spLocks noGrp="1"/>
          </p:cNvSpPr>
          <p:nvPr>
            <p:custDataLst>
              <p:tags r:id="rId116"/>
            </p:custDataLst>
          </p:nvPr>
        </p:nvSpPr>
        <p:spPr bwMode="auto">
          <a:xfrm>
            <a:off x="5729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3CAC1C-C7B3-423A-A00B-E3C2997D38BA}" type="datetime'''''''''''''''''''''''''''''''''16'''''''''''">
              <a:rPr kumimoji="0" lang="ja-JP" altLang="en-US" sz="1000" smtClean="0"/>
              <a:pPr/>
              <a:t>16</a:t>
            </a:fld>
            <a:endParaRPr kumimoji="0" lang="ja-JP" altLang="en-US" sz="1000" dirty="0">
              <a:sym typeface="+mn-lt"/>
            </a:endParaRPr>
          </a:p>
        </p:txBody>
      </p:sp>
      <p:sp>
        <p:nvSpPr>
          <p:cNvPr id="251" name="テキスト プレースホルダ 9">
            <a:extLst>
              <a:ext uri="{FF2B5EF4-FFF2-40B4-BE49-F238E27FC236}">
                <a16:creationId xmlns:a16="http://schemas.microsoft.com/office/drawing/2014/main" id="{8CDA1E32-F404-471F-88BA-A87A84D87827}"/>
              </a:ext>
            </a:extLst>
          </p:cNvPr>
          <p:cNvSpPr>
            <a:spLocks noGrp="1"/>
          </p:cNvSpPr>
          <p:nvPr>
            <p:custDataLst>
              <p:tags r:id="rId117"/>
            </p:custDataLst>
          </p:nvPr>
        </p:nvSpPr>
        <p:spPr bwMode="gray">
          <a:xfrm>
            <a:off x="5967413" y="5454650"/>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262E5F-D05C-44CC-9238-40F78FFAA48A}" type="datetime'''''''''''''''''''''1'''''''''''''''',00''''''''''7'''''''''">
              <a:rPr lang="ja-JP" altLang="en-US" sz="800" smtClean="0">
                <a:effectLst/>
              </a:rPr>
              <a:pPr/>
              <a:t>1,007</a:t>
            </a:fld>
            <a:endParaRPr lang="ja-JP" altLang="en-US" sz="800" dirty="0">
              <a:sym typeface="+mn-lt"/>
            </a:endParaRPr>
          </a:p>
        </p:txBody>
      </p:sp>
      <p:sp>
        <p:nvSpPr>
          <p:cNvPr id="212" name="テキスト プレースホルダ 9">
            <a:extLst>
              <a:ext uri="{FF2B5EF4-FFF2-40B4-BE49-F238E27FC236}">
                <a16:creationId xmlns:a16="http://schemas.microsoft.com/office/drawing/2014/main" id="{3F5F1547-6E30-4552-AE4C-5FCE3E6D2652}"/>
              </a:ext>
            </a:extLst>
          </p:cNvPr>
          <p:cNvSpPr>
            <a:spLocks noGrp="1"/>
          </p:cNvSpPr>
          <p:nvPr>
            <p:custDataLst>
              <p:tags r:id="rId118"/>
            </p:custDataLst>
          </p:nvPr>
        </p:nvSpPr>
        <p:spPr bwMode="auto">
          <a:xfrm>
            <a:off x="6034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ABF23-8ABD-4B7B-92BE-9805180D4641}" type="datetime'1''''''''''''''''''''''7'''''''''">
              <a:rPr kumimoji="0" lang="ja-JP" altLang="en-US" sz="1000" smtClean="0"/>
              <a:pPr/>
              <a:t>17</a:t>
            </a:fld>
            <a:endParaRPr kumimoji="0" lang="ja-JP" altLang="en-US" sz="1000" dirty="0">
              <a:sym typeface="+mn-lt"/>
            </a:endParaRPr>
          </a:p>
        </p:txBody>
      </p:sp>
      <p:sp>
        <p:nvSpPr>
          <p:cNvPr id="253" name="テキスト プレースホルダ 9">
            <a:extLst>
              <a:ext uri="{FF2B5EF4-FFF2-40B4-BE49-F238E27FC236}">
                <a16:creationId xmlns:a16="http://schemas.microsoft.com/office/drawing/2014/main" id="{CE5CD443-93EA-47BA-BB3D-3F03F5F4AD0B}"/>
              </a:ext>
            </a:extLst>
          </p:cNvPr>
          <p:cNvSpPr>
            <a:spLocks noGrp="1"/>
          </p:cNvSpPr>
          <p:nvPr>
            <p:custDataLst>
              <p:tags r:id="rId119"/>
            </p:custDataLst>
          </p:nvPr>
        </p:nvSpPr>
        <p:spPr bwMode="gray">
          <a:xfrm>
            <a:off x="6272213" y="5438775"/>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E52491-2ABC-4480-80DB-66DFABCE294A}" type="datetime'''''''''1'''',''''''''''''0''''''''''''''''''''''4''''''7'''">
              <a:rPr lang="ja-JP" altLang="en-US" sz="800" smtClean="0">
                <a:effectLst/>
              </a:rPr>
              <a:pPr/>
              <a:t>1,047</a:t>
            </a:fld>
            <a:endParaRPr lang="ja-JP" altLang="en-US" sz="800" dirty="0">
              <a:sym typeface="+mn-lt"/>
            </a:endParaRPr>
          </a:p>
        </p:txBody>
      </p:sp>
      <p:sp>
        <p:nvSpPr>
          <p:cNvPr id="213" name="テキスト プレースホルダ 9">
            <a:extLst>
              <a:ext uri="{FF2B5EF4-FFF2-40B4-BE49-F238E27FC236}">
                <a16:creationId xmlns:a16="http://schemas.microsoft.com/office/drawing/2014/main" id="{0922396C-E496-4B61-9276-313BD3C0882E}"/>
              </a:ext>
            </a:extLst>
          </p:cNvPr>
          <p:cNvSpPr>
            <a:spLocks noGrp="1"/>
          </p:cNvSpPr>
          <p:nvPr>
            <p:custDataLst>
              <p:tags r:id="rId120"/>
            </p:custDataLst>
          </p:nvPr>
        </p:nvSpPr>
        <p:spPr bwMode="auto">
          <a:xfrm>
            <a:off x="6338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ABE095-1EE5-435D-AF6F-FAD2CB26A655}" type="datetime'''''''''''''''''''1''''''''''''8'''''''''''''''''">
              <a:rPr kumimoji="0" lang="ja-JP" altLang="en-US" sz="1000" smtClean="0"/>
              <a:pPr/>
              <a:t>18</a:t>
            </a:fld>
            <a:endParaRPr kumimoji="0" lang="ja-JP" altLang="en-US" sz="1000" dirty="0">
              <a:sym typeface="+mn-lt"/>
            </a:endParaRPr>
          </a:p>
        </p:txBody>
      </p:sp>
      <p:sp>
        <p:nvSpPr>
          <p:cNvPr id="316" name="テキスト プレースホルダ 9">
            <a:extLst>
              <a:ext uri="{FF2B5EF4-FFF2-40B4-BE49-F238E27FC236}">
                <a16:creationId xmlns:a16="http://schemas.microsoft.com/office/drawing/2014/main" id="{A636DB09-5AE4-48BD-BA99-156CBCC065ED}"/>
              </a:ext>
            </a:extLst>
          </p:cNvPr>
          <p:cNvSpPr>
            <a:spLocks noGrp="1"/>
          </p:cNvSpPr>
          <p:nvPr>
            <p:custDataLst>
              <p:tags r:id="rId121"/>
            </p:custDataLst>
          </p:nvPr>
        </p:nvSpPr>
        <p:spPr bwMode="gray">
          <a:xfrm>
            <a:off x="6577013" y="5413375"/>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5C1F90-AEEE-4CC3-A395-22135689987C}" type="datetime'1,''''''''''''''''''''''1''1''''0'''''''''''''''">
              <a:rPr lang="ja-JP" altLang="en-US" sz="800" smtClean="0">
                <a:effectLst/>
              </a:rPr>
              <a:pPr/>
              <a:t>1,110</a:t>
            </a:fld>
            <a:endParaRPr lang="ja-JP" altLang="en-US" sz="800" dirty="0">
              <a:sym typeface="+mn-lt"/>
            </a:endParaRPr>
          </a:p>
        </p:txBody>
      </p:sp>
      <p:sp>
        <p:nvSpPr>
          <p:cNvPr id="314" name="テキスト プレースホルダ 9">
            <a:extLst>
              <a:ext uri="{FF2B5EF4-FFF2-40B4-BE49-F238E27FC236}">
                <a16:creationId xmlns:a16="http://schemas.microsoft.com/office/drawing/2014/main" id="{84E2AD68-D602-4A3F-A8DC-C5816EDFE22C}"/>
              </a:ext>
            </a:extLst>
          </p:cNvPr>
          <p:cNvSpPr>
            <a:spLocks noGrp="1"/>
          </p:cNvSpPr>
          <p:nvPr>
            <p:custDataLst>
              <p:tags r:id="rId122"/>
            </p:custDataLst>
          </p:nvPr>
        </p:nvSpPr>
        <p:spPr bwMode="auto">
          <a:xfrm>
            <a:off x="6643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08CD0C-21E3-4BFC-BB2F-F1C9C68C65B7}" type="datetime'''1''''''''''''''''''''9'''">
              <a:rPr kumimoji="0" lang="ja-JP" altLang="en-US" sz="1000" smtClean="0"/>
              <a:pPr/>
              <a:t>19</a:t>
            </a:fld>
            <a:endParaRPr kumimoji="0" lang="ja-JP" altLang="en-US" sz="1000" dirty="0">
              <a:sym typeface="+mn-lt"/>
            </a:endParaRPr>
          </a:p>
        </p:txBody>
      </p:sp>
      <p:sp>
        <p:nvSpPr>
          <p:cNvPr id="123" name="テキスト プレースホルダ 9"/>
          <p:cNvSpPr>
            <a:spLocks noGrp="1"/>
          </p:cNvSpPr>
          <p:nvPr>
            <p:custDataLst>
              <p:tags r:id="rId123"/>
            </p:custDataLst>
          </p:nvPr>
        </p:nvSpPr>
        <p:spPr bwMode="gray">
          <a:xfrm>
            <a:off x="828675" y="5375275"/>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5D1E49-D551-47FB-B16D-80945B7D879D}" type="datetime'''''''''''''''''''49''''''''''''''3'''''''''''">
              <a:rPr lang="ja-JP" altLang="en-US" sz="800" smtClean="0"/>
              <a:pPr/>
              <a:t>493</a:t>
            </a:fld>
            <a:endParaRPr kumimoji="0" lang="ja-JP" altLang="en-US" sz="800" dirty="0">
              <a:sym typeface="+mn-lt"/>
            </a:endParaRPr>
          </a:p>
        </p:txBody>
      </p:sp>
      <p:sp>
        <p:nvSpPr>
          <p:cNvPr id="124" name="テキスト プレースホルダ 9"/>
          <p:cNvSpPr>
            <a:spLocks noGrp="1"/>
          </p:cNvSpPr>
          <p:nvPr>
            <p:custDataLst>
              <p:tags r:id="rId124"/>
            </p:custDataLst>
          </p:nvPr>
        </p:nvSpPr>
        <p:spPr bwMode="gray">
          <a:xfrm>
            <a:off x="1133475" y="538480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45F4AB-0E60-4125-9E46-817B275634E2}" type="datetime'''''''''''''''''''''''4''''''''''''8''''''''''''''''''''''''2'">
              <a:rPr lang="ja-JP" altLang="en-US" sz="800" smtClean="0"/>
              <a:pPr/>
              <a:t>482</a:t>
            </a:fld>
            <a:endParaRPr kumimoji="0" lang="ja-JP" altLang="en-US" sz="800" dirty="0">
              <a:sym typeface="+mn-lt"/>
            </a:endParaRPr>
          </a:p>
        </p:txBody>
      </p:sp>
      <p:sp>
        <p:nvSpPr>
          <p:cNvPr id="127" name="テキスト プレースホルダ 9"/>
          <p:cNvSpPr>
            <a:spLocks noGrp="1"/>
          </p:cNvSpPr>
          <p:nvPr>
            <p:custDataLst>
              <p:tags r:id="rId125"/>
            </p:custDataLst>
          </p:nvPr>
        </p:nvSpPr>
        <p:spPr bwMode="gray">
          <a:xfrm>
            <a:off x="1438275" y="541020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0EE016-5745-4F06-997B-FBED772CC448}" type="datetime'''''''''''''4''''5''''''''''''''''''''''''''''0'''''''">
              <a:rPr lang="ja-JP" altLang="en-US" sz="800" smtClean="0"/>
              <a:pPr/>
              <a:t>450</a:t>
            </a:fld>
            <a:endParaRPr kumimoji="0" lang="ja-JP" altLang="en-US" sz="800" dirty="0">
              <a:sym typeface="+mn-lt"/>
            </a:endParaRPr>
          </a:p>
        </p:txBody>
      </p:sp>
      <p:sp>
        <p:nvSpPr>
          <p:cNvPr id="193" name="テキスト プレースホルダ 9"/>
          <p:cNvSpPr>
            <a:spLocks noGrp="1"/>
          </p:cNvSpPr>
          <p:nvPr>
            <p:custDataLst>
              <p:tags r:id="rId126"/>
            </p:custDataLst>
          </p:nvPr>
        </p:nvSpPr>
        <p:spPr bwMode="gray">
          <a:xfrm>
            <a:off x="1743075" y="540385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7A638B-A1C4-48A1-98B9-1A7362422CFA}" type="datetime'''''''''''''''''''4''''''5''''''''7'''''''''">
              <a:rPr lang="ja-JP" altLang="en-US" sz="800" smtClean="0"/>
              <a:pPr/>
              <a:t>457</a:t>
            </a:fld>
            <a:endParaRPr kumimoji="0" lang="ja-JP" altLang="en-US" sz="800" dirty="0">
              <a:sym typeface="+mn-lt"/>
            </a:endParaRPr>
          </a:p>
        </p:txBody>
      </p:sp>
      <p:sp>
        <p:nvSpPr>
          <p:cNvPr id="194" name="テキスト プレースホルダ 9"/>
          <p:cNvSpPr>
            <a:spLocks noGrp="1"/>
          </p:cNvSpPr>
          <p:nvPr>
            <p:custDataLst>
              <p:tags r:id="rId127"/>
            </p:custDataLst>
          </p:nvPr>
        </p:nvSpPr>
        <p:spPr bwMode="gray">
          <a:xfrm>
            <a:off x="2047875" y="5392738"/>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D3C1F5-E31D-401E-A670-6F1964E815BD}" type="datetime'''''''''''47''''''''''''''''''''''''1'''''''''''''">
              <a:rPr lang="ja-JP" altLang="en-US" sz="800" smtClean="0"/>
              <a:pPr/>
              <a:t>471</a:t>
            </a:fld>
            <a:endParaRPr kumimoji="0" lang="ja-JP" altLang="en-US" sz="800" dirty="0">
              <a:sym typeface="+mn-lt"/>
            </a:endParaRPr>
          </a:p>
        </p:txBody>
      </p:sp>
      <p:sp>
        <p:nvSpPr>
          <p:cNvPr id="195" name="テキスト プレースホルダ 9"/>
          <p:cNvSpPr>
            <a:spLocks noGrp="1"/>
          </p:cNvSpPr>
          <p:nvPr>
            <p:custDataLst>
              <p:tags r:id="rId128"/>
            </p:custDataLst>
          </p:nvPr>
        </p:nvSpPr>
        <p:spPr bwMode="gray">
          <a:xfrm>
            <a:off x="2352675" y="5332413"/>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5503C9-3826-4BBD-9E34-B2F51589B76C}" type="datetime'''''''5''''''''4''6'''''''''''''''''''''''">
              <a:rPr lang="ja-JP" altLang="en-US" sz="800" smtClean="0"/>
              <a:pPr/>
              <a:t>546</a:t>
            </a:fld>
            <a:endParaRPr kumimoji="0" lang="ja-JP" altLang="en-US" sz="800" dirty="0">
              <a:sym typeface="+mn-lt"/>
            </a:endParaRPr>
          </a:p>
        </p:txBody>
      </p:sp>
      <p:sp>
        <p:nvSpPr>
          <p:cNvPr id="196" name="テキスト プレースホルダ 9"/>
          <p:cNvSpPr>
            <a:spLocks noGrp="1"/>
          </p:cNvSpPr>
          <p:nvPr>
            <p:custDataLst>
              <p:tags r:id="rId129"/>
            </p:custDataLst>
          </p:nvPr>
        </p:nvSpPr>
        <p:spPr bwMode="gray">
          <a:xfrm>
            <a:off x="2657475" y="5260975"/>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4769FD-1EC8-476D-B60B-F7B52E973B70}" type="datetime'''''''''''''''''''''''6''''''''''''''''''''''''3''''5'''''''">
              <a:rPr lang="ja-JP" altLang="en-US" sz="800" smtClean="0"/>
              <a:pPr/>
              <a:t>635</a:t>
            </a:fld>
            <a:endParaRPr kumimoji="0" lang="ja-JP" altLang="en-US" sz="800" dirty="0">
              <a:sym typeface="+mn-lt"/>
            </a:endParaRPr>
          </a:p>
        </p:txBody>
      </p:sp>
      <p:sp>
        <p:nvSpPr>
          <p:cNvPr id="197" name="テキスト プレースホルダ 9"/>
          <p:cNvSpPr>
            <a:spLocks noGrp="1"/>
          </p:cNvSpPr>
          <p:nvPr>
            <p:custDataLst>
              <p:tags r:id="rId130"/>
            </p:custDataLst>
          </p:nvPr>
        </p:nvSpPr>
        <p:spPr bwMode="gray">
          <a:xfrm>
            <a:off x="2962275" y="523875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FD9491-D928-4BC5-9AD0-3044EC5B95AB}" type="datetime'''''''''''''6''62'''''''">
              <a:rPr lang="ja-JP" altLang="en-US" sz="800" smtClean="0"/>
              <a:pPr/>
              <a:t>662</a:t>
            </a:fld>
            <a:endParaRPr kumimoji="0" lang="ja-JP" altLang="en-US" sz="800" dirty="0">
              <a:sym typeface="+mn-lt"/>
            </a:endParaRPr>
          </a:p>
        </p:txBody>
      </p:sp>
      <p:sp>
        <p:nvSpPr>
          <p:cNvPr id="198" name="テキスト プレースホルダ 9"/>
          <p:cNvSpPr>
            <a:spLocks noGrp="1"/>
          </p:cNvSpPr>
          <p:nvPr>
            <p:custDataLst>
              <p:tags r:id="rId131"/>
            </p:custDataLst>
          </p:nvPr>
        </p:nvSpPr>
        <p:spPr bwMode="gray">
          <a:xfrm>
            <a:off x="3267075" y="523875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17D5E-7032-4711-A6F1-FB35016F759B}" type="datetime'''''''''''''''''''''''''''''''''''66''''''''3'">
              <a:rPr lang="ja-JP" altLang="en-US" sz="800" smtClean="0"/>
              <a:pPr/>
              <a:t>663</a:t>
            </a:fld>
            <a:endParaRPr kumimoji="0" lang="ja-JP" altLang="en-US" sz="800" dirty="0">
              <a:sym typeface="+mn-lt"/>
            </a:endParaRPr>
          </a:p>
        </p:txBody>
      </p:sp>
      <p:sp>
        <p:nvSpPr>
          <p:cNvPr id="199" name="テキスト プレースホルダ 9"/>
          <p:cNvSpPr>
            <a:spLocks noGrp="1"/>
          </p:cNvSpPr>
          <p:nvPr>
            <p:custDataLst>
              <p:tags r:id="rId132"/>
            </p:custDataLst>
          </p:nvPr>
        </p:nvSpPr>
        <p:spPr bwMode="gray">
          <a:xfrm>
            <a:off x="3571875" y="5160963"/>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D77CE5-9574-4CFA-BCFE-C1D8A41119DC}" type="datetime'''''''''''''''''''7''''''''''''''''6''''''''''''''''''''0'">
              <a:rPr lang="ja-JP" altLang="en-US" sz="800" smtClean="0"/>
              <a:pPr/>
              <a:t>760</a:t>
            </a:fld>
            <a:endParaRPr kumimoji="0" lang="ja-JP" altLang="en-US" sz="800" dirty="0">
              <a:sym typeface="+mn-lt"/>
            </a:endParaRPr>
          </a:p>
        </p:txBody>
      </p:sp>
      <p:sp>
        <p:nvSpPr>
          <p:cNvPr id="128" name="テキスト プレースホルダ 9"/>
          <p:cNvSpPr>
            <a:spLocks noGrp="1"/>
          </p:cNvSpPr>
          <p:nvPr>
            <p:custDataLst>
              <p:tags r:id="rId133"/>
            </p:custDataLst>
          </p:nvPr>
        </p:nvSpPr>
        <p:spPr bwMode="gray">
          <a:xfrm>
            <a:off x="3876675" y="515620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4AB875-D55D-4AD6-B8F7-1D2705F44A87}" type="datetime'''''''''''''''''''''7''6''6'''''''''''''">
              <a:rPr lang="ja-JP" altLang="en-US" sz="800" smtClean="0"/>
              <a:pPr/>
              <a:t>766</a:t>
            </a:fld>
            <a:endParaRPr kumimoji="0" lang="ja-JP" altLang="en-US" sz="800" dirty="0">
              <a:sym typeface="+mn-lt"/>
            </a:endParaRPr>
          </a:p>
        </p:txBody>
      </p:sp>
      <p:sp>
        <p:nvSpPr>
          <p:cNvPr id="201" name="テキスト プレースホルダ 9"/>
          <p:cNvSpPr>
            <a:spLocks noGrp="1"/>
          </p:cNvSpPr>
          <p:nvPr>
            <p:custDataLst>
              <p:tags r:id="rId134"/>
            </p:custDataLst>
          </p:nvPr>
        </p:nvSpPr>
        <p:spPr bwMode="gray">
          <a:xfrm>
            <a:off x="4181475" y="500380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929E61-45C6-4379-98DA-99BC2A31A611}" type="datetime'''''''''''''''''''''''''''9''''''5''''''''''''''''''''''4'''''">
              <a:rPr lang="ja-JP" altLang="en-US" sz="800" smtClean="0"/>
              <a:pPr/>
              <a:t>954</a:t>
            </a:fld>
            <a:endParaRPr kumimoji="0" lang="ja-JP" altLang="en-US" sz="800" dirty="0">
              <a:sym typeface="+mn-lt"/>
            </a:endParaRPr>
          </a:p>
        </p:txBody>
      </p:sp>
      <p:sp>
        <p:nvSpPr>
          <p:cNvPr id="202" name="テキスト プレースホルダ 9"/>
          <p:cNvSpPr>
            <a:spLocks noGrp="1"/>
          </p:cNvSpPr>
          <p:nvPr>
            <p:custDataLst>
              <p:tags r:id="rId135"/>
            </p:custDataLst>
          </p:nvPr>
        </p:nvSpPr>
        <p:spPr bwMode="gray">
          <a:xfrm>
            <a:off x="4443413" y="4892675"/>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D04769-CCD6-4FAD-956A-9FEE784CEB8A}" type="datetime'''''1'''',''''''''0''''9''''3'''''''''''''''''">
              <a:rPr lang="ja-JP" altLang="en-US" sz="800" smtClean="0"/>
              <a:pPr/>
              <a:t>1,093</a:t>
            </a:fld>
            <a:endParaRPr kumimoji="0" lang="ja-JP" altLang="en-US" sz="800" dirty="0">
              <a:sym typeface="+mn-lt"/>
            </a:endParaRPr>
          </a:p>
        </p:txBody>
      </p:sp>
      <p:sp>
        <p:nvSpPr>
          <p:cNvPr id="203" name="テキスト プレースホルダ 9"/>
          <p:cNvSpPr>
            <a:spLocks noGrp="1"/>
          </p:cNvSpPr>
          <p:nvPr>
            <p:custDataLst>
              <p:tags r:id="rId136"/>
            </p:custDataLst>
          </p:nvPr>
        </p:nvSpPr>
        <p:spPr bwMode="gray">
          <a:xfrm>
            <a:off x="4748213" y="4814888"/>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5CBF8F-52AB-47FB-985B-B9000026A5C7}" type="datetime'''''''''''''''1'',''''1''''''90'''''''''''''''''''''''">
              <a:rPr lang="ja-JP" altLang="en-US" sz="800" smtClean="0"/>
              <a:pPr/>
              <a:t>1,190</a:t>
            </a:fld>
            <a:endParaRPr kumimoji="0" lang="ja-JP" altLang="en-US" sz="800" dirty="0">
              <a:sym typeface="+mn-lt"/>
            </a:endParaRPr>
          </a:p>
        </p:txBody>
      </p:sp>
      <p:sp>
        <p:nvSpPr>
          <p:cNvPr id="204" name="テキスト プレースホルダ 9"/>
          <p:cNvSpPr>
            <a:spLocks noGrp="1"/>
          </p:cNvSpPr>
          <p:nvPr>
            <p:custDataLst>
              <p:tags r:id="rId137"/>
            </p:custDataLst>
          </p:nvPr>
        </p:nvSpPr>
        <p:spPr bwMode="gray">
          <a:xfrm>
            <a:off x="5053013" y="4675188"/>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3771D1-157E-4729-9603-1DED4A76AB4A}" type="datetime'1'''''''''''''''',''''''''''''3''''6''''''''''''4'''''''''">
              <a:rPr lang="ja-JP" altLang="en-US" sz="800" smtClean="0"/>
              <a:pPr/>
              <a:t>1,364</a:t>
            </a:fld>
            <a:endParaRPr kumimoji="0" lang="ja-JP" altLang="en-US" sz="800" dirty="0">
              <a:sym typeface="+mn-lt"/>
            </a:endParaRPr>
          </a:p>
        </p:txBody>
      </p:sp>
      <p:sp>
        <p:nvSpPr>
          <p:cNvPr id="205" name="テキスト プレースホルダ 9"/>
          <p:cNvSpPr>
            <a:spLocks noGrp="1"/>
          </p:cNvSpPr>
          <p:nvPr>
            <p:custDataLst>
              <p:tags r:id="rId138"/>
            </p:custDataLst>
          </p:nvPr>
        </p:nvSpPr>
        <p:spPr bwMode="gray">
          <a:xfrm>
            <a:off x="5357813" y="4719638"/>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7D0E35-A793-4BD8-AA54-CC13DDC30ED8}" type="datetime'''''''1'''''''''''''''''',''''''''''''30''''''''9'''''''">
              <a:rPr lang="ja-JP" altLang="en-US" sz="800" smtClean="0"/>
              <a:pPr/>
              <a:t>1,309</a:t>
            </a:fld>
            <a:endParaRPr kumimoji="0" lang="ja-JP" altLang="en-US" sz="800" dirty="0">
              <a:sym typeface="+mn-lt"/>
            </a:endParaRPr>
          </a:p>
        </p:txBody>
      </p:sp>
      <p:sp>
        <p:nvSpPr>
          <p:cNvPr id="218" name="テキスト プレースホルダ 9">
            <a:extLst>
              <a:ext uri="{FF2B5EF4-FFF2-40B4-BE49-F238E27FC236}">
                <a16:creationId xmlns:a16="http://schemas.microsoft.com/office/drawing/2014/main" id="{E8057D33-3AD4-42C1-8A33-569E19239A2B}"/>
              </a:ext>
            </a:extLst>
          </p:cNvPr>
          <p:cNvSpPr>
            <a:spLocks noGrp="1"/>
          </p:cNvSpPr>
          <p:nvPr>
            <p:custDataLst>
              <p:tags r:id="rId139"/>
            </p:custDataLst>
          </p:nvPr>
        </p:nvSpPr>
        <p:spPr bwMode="gray">
          <a:xfrm>
            <a:off x="5662613" y="4683125"/>
            <a:ext cx="285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F5131F-E3EA-4549-8A96-E7F46AC7AD1F}" type="datetime'''''1'',''''''''3''''''''5''''''''''3'''''''''''''">
              <a:rPr lang="ja-JP" altLang="en-US" sz="800" smtClean="0"/>
              <a:pPr/>
              <a:t>1,353</a:t>
            </a:fld>
            <a:endParaRPr lang="ja-JP" altLang="en-US" sz="800" dirty="0">
              <a:sym typeface="+mn-lt"/>
            </a:endParaRPr>
          </a:p>
        </p:txBody>
      </p:sp>
      <p:sp>
        <p:nvSpPr>
          <p:cNvPr id="219" name="テキスト プレースホルダ 9">
            <a:extLst>
              <a:ext uri="{FF2B5EF4-FFF2-40B4-BE49-F238E27FC236}">
                <a16:creationId xmlns:a16="http://schemas.microsoft.com/office/drawing/2014/main" id="{2C091FDF-0984-497E-99F5-2364979F2CC9}"/>
              </a:ext>
            </a:extLst>
          </p:cNvPr>
          <p:cNvSpPr>
            <a:spLocks noGrp="1"/>
          </p:cNvSpPr>
          <p:nvPr>
            <p:custDataLst>
              <p:tags r:id="rId140"/>
            </p:custDataLst>
          </p:nvPr>
        </p:nvSpPr>
        <p:spPr bwMode="gray">
          <a:xfrm>
            <a:off x="5967413" y="4645025"/>
            <a:ext cx="285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FCAB7D-7851-4D0A-BCFD-5D89867E9A77}" type="datetime'''''1'''',''''''''4''''0''''''''''''''''''''''1'''">
              <a:rPr lang="ja-JP" altLang="en-US" sz="800" smtClean="0"/>
              <a:pPr/>
              <a:t>1,401</a:t>
            </a:fld>
            <a:endParaRPr lang="ja-JP" altLang="en-US" sz="800" dirty="0">
              <a:sym typeface="+mn-lt"/>
            </a:endParaRPr>
          </a:p>
        </p:txBody>
      </p:sp>
      <p:sp>
        <p:nvSpPr>
          <p:cNvPr id="90" name="テキスト プレースホルダ 9"/>
          <p:cNvSpPr>
            <a:spLocks noGrp="1"/>
          </p:cNvSpPr>
          <p:nvPr>
            <p:custDataLst>
              <p:tags r:id="rId141"/>
            </p:custDataLst>
          </p:nvPr>
        </p:nvSpPr>
        <p:spPr bwMode="auto">
          <a:xfrm>
            <a:off x="782638"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315" name="テキスト プレースホルダ 9">
            <a:extLst>
              <a:ext uri="{FF2B5EF4-FFF2-40B4-BE49-F238E27FC236}">
                <a16:creationId xmlns:a16="http://schemas.microsoft.com/office/drawing/2014/main" id="{769525F4-ACD9-44F8-8563-7C5F70C5B071}"/>
              </a:ext>
            </a:extLst>
          </p:cNvPr>
          <p:cNvSpPr>
            <a:spLocks noGrp="1"/>
          </p:cNvSpPr>
          <p:nvPr>
            <p:custDataLst>
              <p:tags r:id="rId142"/>
            </p:custDataLst>
          </p:nvPr>
        </p:nvSpPr>
        <p:spPr bwMode="gray">
          <a:xfrm>
            <a:off x="6577013" y="4562475"/>
            <a:ext cx="285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443BDD-AF15-4C11-9DE6-6E57DBD2BE9F}" type="datetime'''''1,''''''''''''''''''''5''''''0''5'''">
              <a:rPr lang="ja-JP" altLang="en-US" sz="800" smtClean="0"/>
              <a:pPr/>
              <a:t>1,505</a:t>
            </a:fld>
            <a:endParaRPr lang="ja-JP" altLang="en-US" sz="800" dirty="0">
              <a:sym typeface="+mn-lt"/>
            </a:endParaRPr>
          </a:p>
        </p:txBody>
      </p:sp>
      <p:sp>
        <p:nvSpPr>
          <p:cNvPr id="510" name="テキスト プレースホルダ 9">
            <a:extLst>
              <a:ext uri="{FF2B5EF4-FFF2-40B4-BE49-F238E27FC236}">
                <a16:creationId xmlns:a16="http://schemas.microsoft.com/office/drawing/2014/main" id="{E992998C-A571-275F-ABD9-E72C7F2BDC35}"/>
              </a:ext>
            </a:extLst>
          </p:cNvPr>
          <p:cNvSpPr>
            <a:spLocks noGrp="1"/>
          </p:cNvSpPr>
          <p:nvPr>
            <p:custDataLst>
              <p:tags r:id="rId143"/>
            </p:custDataLst>
          </p:nvPr>
        </p:nvSpPr>
        <p:spPr bwMode="auto">
          <a:xfrm>
            <a:off x="69484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696775-2261-4978-B746-8954E0D70CAE}" type="datetime'''''''''''''''2''''0'''''''''''''''''''''''''">
              <a:rPr kumimoji="0" lang="ja-JP" altLang="en-US" sz="1000" smtClean="0"/>
              <a:pPr/>
              <a:t>20</a:t>
            </a:fld>
            <a:endParaRPr kumimoji="0" lang="ja-JP" altLang="en-US" sz="1000" dirty="0">
              <a:sym typeface="+mn-lt"/>
            </a:endParaRPr>
          </a:p>
        </p:txBody>
      </p:sp>
      <p:sp>
        <p:nvSpPr>
          <p:cNvPr id="511" name="テキスト プレースホルダ 9">
            <a:extLst>
              <a:ext uri="{FF2B5EF4-FFF2-40B4-BE49-F238E27FC236}">
                <a16:creationId xmlns:a16="http://schemas.microsoft.com/office/drawing/2014/main" id="{EEF13376-7EE2-F638-522F-AA1987F9D95D}"/>
              </a:ext>
            </a:extLst>
          </p:cNvPr>
          <p:cNvSpPr>
            <a:spLocks noGrp="1"/>
          </p:cNvSpPr>
          <p:nvPr>
            <p:custDataLst>
              <p:tags r:id="rId144"/>
            </p:custDataLst>
          </p:nvPr>
        </p:nvSpPr>
        <p:spPr bwMode="auto">
          <a:xfrm>
            <a:off x="7253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85764E-7027-4C35-BCF6-0AF78C6A804B}" type="datetime'''''''''''''''''''''''''''''21'''''''''">
              <a:rPr kumimoji="0" lang="ja-JP" altLang="en-US" sz="1000" smtClean="0"/>
              <a:pPr/>
              <a:t>21</a:t>
            </a:fld>
            <a:endParaRPr kumimoji="0" lang="ja-JP" altLang="en-US" sz="1000" dirty="0">
              <a:sym typeface="+mn-lt"/>
            </a:endParaRPr>
          </a:p>
        </p:txBody>
      </p:sp>
      <p:sp>
        <p:nvSpPr>
          <p:cNvPr id="512" name="テキスト プレースホルダ 9">
            <a:extLst>
              <a:ext uri="{FF2B5EF4-FFF2-40B4-BE49-F238E27FC236}">
                <a16:creationId xmlns:a16="http://schemas.microsoft.com/office/drawing/2014/main" id="{28913F51-04FA-B88D-8AE2-9D94DC97F6F7}"/>
              </a:ext>
            </a:extLst>
          </p:cNvPr>
          <p:cNvSpPr>
            <a:spLocks noGrp="1"/>
          </p:cNvSpPr>
          <p:nvPr>
            <p:custDataLst>
              <p:tags r:id="rId145"/>
            </p:custDataLst>
          </p:nvPr>
        </p:nvSpPr>
        <p:spPr bwMode="auto">
          <a:xfrm>
            <a:off x="7558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892CBE-B2D8-4D1E-92A4-A87DEA71DF9E}" type="datetime'''''''''''''2''''''''''''''2'''">
              <a:rPr kumimoji="0" lang="ja-JP" altLang="en-US" sz="1000" smtClean="0"/>
              <a:pPr/>
              <a:t>22</a:t>
            </a:fld>
            <a:endParaRPr kumimoji="0" lang="ja-JP" altLang="en-US" sz="1000" dirty="0">
              <a:sym typeface="+mn-lt"/>
            </a:endParaRPr>
          </a:p>
        </p:txBody>
      </p:sp>
      <p:sp>
        <p:nvSpPr>
          <p:cNvPr id="513" name="テキスト プレースホルダ 9">
            <a:extLst>
              <a:ext uri="{FF2B5EF4-FFF2-40B4-BE49-F238E27FC236}">
                <a16:creationId xmlns:a16="http://schemas.microsoft.com/office/drawing/2014/main" id="{3B19FF56-A6C9-78C0-D5BC-90CE15738379}"/>
              </a:ext>
            </a:extLst>
          </p:cNvPr>
          <p:cNvSpPr>
            <a:spLocks noGrp="1"/>
          </p:cNvSpPr>
          <p:nvPr>
            <p:custDataLst>
              <p:tags r:id="rId146"/>
            </p:custDataLst>
          </p:nvPr>
        </p:nvSpPr>
        <p:spPr bwMode="auto">
          <a:xfrm>
            <a:off x="7862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EEB1DB-E772-4936-88AE-2658E2CA678D}" type="datetime'''''''''''''''''''''''2''''''''''''''3'''''''''''''''''''''''">
              <a:rPr kumimoji="0" lang="ja-JP" altLang="en-US" sz="1000" smtClean="0"/>
              <a:pPr/>
              <a:t>23</a:t>
            </a:fld>
            <a:endParaRPr kumimoji="0" lang="ja-JP" altLang="en-US" sz="1000" dirty="0">
              <a:sym typeface="+mn-lt"/>
            </a:endParaRPr>
          </a:p>
        </p:txBody>
      </p:sp>
      <p:sp>
        <p:nvSpPr>
          <p:cNvPr id="530" name="テキスト プレースホルダ 9">
            <a:extLst>
              <a:ext uri="{FF2B5EF4-FFF2-40B4-BE49-F238E27FC236}">
                <a16:creationId xmlns:a16="http://schemas.microsoft.com/office/drawing/2014/main" id="{52E63744-E5B6-5C46-1335-D6F30772CE8F}"/>
              </a:ext>
            </a:extLst>
          </p:cNvPr>
          <p:cNvSpPr>
            <a:spLocks noGrp="1"/>
          </p:cNvSpPr>
          <p:nvPr>
            <p:custDataLst>
              <p:tags r:id="rId147"/>
            </p:custDataLst>
          </p:nvPr>
        </p:nvSpPr>
        <p:spPr bwMode="gray">
          <a:xfrm>
            <a:off x="6881813" y="5362575"/>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842F16-1FA6-4D0E-956D-1F16CAB8466F}" type="datetime'''''''''''1'''''''''''''',''''''''''''''''''233'''''''''''">
              <a:rPr lang="ja-JP" altLang="en-US" sz="800" smtClean="0">
                <a:effectLst/>
                <a:sym typeface="+mn-lt"/>
              </a:rPr>
              <a:pPr/>
              <a:t>1,233</a:t>
            </a:fld>
            <a:endParaRPr lang="ja-JP" altLang="en-US" sz="800" dirty="0">
              <a:sym typeface="+mn-lt"/>
            </a:endParaRPr>
          </a:p>
        </p:txBody>
      </p:sp>
      <p:sp>
        <p:nvSpPr>
          <p:cNvPr id="220" name="テキスト プレースホルダ 9">
            <a:extLst>
              <a:ext uri="{FF2B5EF4-FFF2-40B4-BE49-F238E27FC236}">
                <a16:creationId xmlns:a16="http://schemas.microsoft.com/office/drawing/2014/main" id="{272F6C8E-9378-4AAB-BACC-7FA5C3ABF44B}"/>
              </a:ext>
            </a:extLst>
          </p:cNvPr>
          <p:cNvSpPr>
            <a:spLocks noGrp="1"/>
          </p:cNvSpPr>
          <p:nvPr>
            <p:custDataLst>
              <p:tags r:id="rId148"/>
            </p:custDataLst>
          </p:nvPr>
        </p:nvSpPr>
        <p:spPr bwMode="gray">
          <a:xfrm>
            <a:off x="6272213" y="4575175"/>
            <a:ext cx="285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6742CD-94BF-4CCA-A33D-CD9D4488B4CA}" type="datetime'''''''1'',''''''4''''89'''''''''''''''''''''''''''''''''''">
              <a:rPr lang="ja-JP" altLang="en-US" sz="800" smtClean="0"/>
              <a:pPr/>
              <a:t>1,489</a:t>
            </a:fld>
            <a:endParaRPr lang="ja-JP" altLang="en-US" sz="800" dirty="0">
              <a:sym typeface="+mn-lt"/>
            </a:endParaRPr>
          </a:p>
        </p:txBody>
      </p:sp>
      <p:sp>
        <p:nvSpPr>
          <p:cNvPr id="534" name="テキスト プレースホルダ 9">
            <a:extLst>
              <a:ext uri="{FF2B5EF4-FFF2-40B4-BE49-F238E27FC236}">
                <a16:creationId xmlns:a16="http://schemas.microsoft.com/office/drawing/2014/main" id="{061AA2FE-034F-194A-21D5-7FBDD98D9A24}"/>
              </a:ext>
            </a:extLst>
          </p:cNvPr>
          <p:cNvSpPr>
            <a:spLocks noGrp="1"/>
          </p:cNvSpPr>
          <p:nvPr>
            <p:custDataLst>
              <p:tags r:id="rId149"/>
            </p:custDataLst>
          </p:nvPr>
        </p:nvSpPr>
        <p:spPr bwMode="gray">
          <a:xfrm>
            <a:off x="7491413" y="5291138"/>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D6D9F6-977B-4C17-A435-CD355D619ED4}" type="datetime'''''1'',''''''''''''''41''''''''''''2'''''">
              <a:rPr lang="ja-JP" altLang="en-US" sz="800" smtClean="0">
                <a:effectLst/>
                <a:sym typeface="+mn-lt"/>
              </a:rPr>
              <a:pPr/>
              <a:t>1,412</a:t>
            </a:fld>
            <a:endParaRPr lang="ja-JP" altLang="en-US" sz="800" dirty="0">
              <a:sym typeface="+mn-lt"/>
            </a:endParaRPr>
          </a:p>
        </p:txBody>
      </p:sp>
      <p:sp>
        <p:nvSpPr>
          <p:cNvPr id="536" name="テキスト プレースホルダ 9">
            <a:extLst>
              <a:ext uri="{FF2B5EF4-FFF2-40B4-BE49-F238E27FC236}">
                <a16:creationId xmlns:a16="http://schemas.microsoft.com/office/drawing/2014/main" id="{9B45C29D-54B0-5539-0BC4-E990EDC99CAD}"/>
              </a:ext>
            </a:extLst>
          </p:cNvPr>
          <p:cNvSpPr>
            <a:spLocks noGrp="1"/>
          </p:cNvSpPr>
          <p:nvPr>
            <p:custDataLst>
              <p:tags r:id="rId150"/>
            </p:custDataLst>
          </p:nvPr>
        </p:nvSpPr>
        <p:spPr bwMode="gray">
          <a:xfrm>
            <a:off x="7796213" y="5287963"/>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7D1C6D-81B2-4672-A8A3-66901BD85A9A}" type="datetime'''''''''1'''''''''',''41''''9'">
              <a:rPr lang="ja-JP" altLang="en-US" sz="800" smtClean="0">
                <a:effectLst/>
                <a:sym typeface="+mn-lt"/>
              </a:rPr>
              <a:pPr/>
              <a:t>1,419</a:t>
            </a:fld>
            <a:endParaRPr lang="ja-JP" altLang="en-US" sz="800" dirty="0">
              <a:sym typeface="+mn-lt"/>
            </a:endParaRPr>
          </a:p>
        </p:txBody>
      </p:sp>
      <p:sp>
        <p:nvSpPr>
          <p:cNvPr id="539" name="テキスト プレースホルダ 9">
            <a:extLst>
              <a:ext uri="{FF2B5EF4-FFF2-40B4-BE49-F238E27FC236}">
                <a16:creationId xmlns:a16="http://schemas.microsoft.com/office/drawing/2014/main" id="{8B7D5C4F-E6D4-33FC-9B4B-226136FF3E63}"/>
              </a:ext>
            </a:extLst>
          </p:cNvPr>
          <p:cNvSpPr>
            <a:spLocks noGrp="1"/>
          </p:cNvSpPr>
          <p:nvPr>
            <p:custDataLst>
              <p:tags r:id="rId151"/>
            </p:custDataLst>
          </p:nvPr>
        </p:nvSpPr>
        <p:spPr bwMode="gray">
          <a:xfrm>
            <a:off x="6881813" y="45053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505FE3-CC30-4E75-916B-03E7A5640B2C}" type="datetime'''''''1'''''''',''''''''5''''7''''''''''''''''''''''5'''''">
              <a:rPr lang="ja-JP" altLang="en-US" sz="800" smtClean="0">
                <a:effectLst/>
                <a:sym typeface="+mn-lt"/>
              </a:rPr>
              <a:pPr marL="0" lvl="0" indent="0" algn="ctr">
                <a:spcBef>
                  <a:spcPct val="0"/>
                </a:spcBef>
                <a:buNone/>
              </a:pPr>
              <a:t>1,575</a:t>
            </a:fld>
            <a:endParaRPr kumimoji="1" lang="ja-JP" altLang="en-US" sz="800" dirty="0">
              <a:sym typeface="+mn-lt"/>
            </a:endParaRPr>
          </a:p>
        </p:txBody>
      </p:sp>
      <p:sp>
        <p:nvSpPr>
          <p:cNvPr id="540" name="テキスト プレースホルダ 9">
            <a:extLst>
              <a:ext uri="{FF2B5EF4-FFF2-40B4-BE49-F238E27FC236}">
                <a16:creationId xmlns:a16="http://schemas.microsoft.com/office/drawing/2014/main" id="{0F23A818-240A-9C4A-3408-A0FA14160F39}"/>
              </a:ext>
            </a:extLst>
          </p:cNvPr>
          <p:cNvSpPr>
            <a:spLocks noGrp="1"/>
          </p:cNvSpPr>
          <p:nvPr>
            <p:custDataLst>
              <p:tags r:id="rId152"/>
            </p:custDataLst>
          </p:nvPr>
        </p:nvSpPr>
        <p:spPr bwMode="gray">
          <a:xfrm>
            <a:off x="7186613" y="44418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899D69-9D62-4FC0-B3BF-AC59900B0D99}" type="datetime'''''''''1,''''''''''''''''''''''6''''55'''''''''''''''''">
              <a:rPr lang="ja-JP" altLang="en-US" sz="800" smtClean="0">
                <a:effectLst/>
                <a:sym typeface="+mn-lt"/>
              </a:rPr>
              <a:pPr marL="0" lvl="0" indent="0" algn="ctr">
                <a:spcBef>
                  <a:spcPct val="0"/>
                </a:spcBef>
                <a:buNone/>
              </a:pPr>
              <a:t>1,655</a:t>
            </a:fld>
            <a:endParaRPr kumimoji="1" lang="ja-JP" altLang="en-US" sz="800" dirty="0">
              <a:sym typeface="+mn-lt"/>
            </a:endParaRPr>
          </a:p>
        </p:txBody>
      </p:sp>
      <p:sp>
        <p:nvSpPr>
          <p:cNvPr id="541" name="テキスト プレースホルダ 9">
            <a:extLst>
              <a:ext uri="{FF2B5EF4-FFF2-40B4-BE49-F238E27FC236}">
                <a16:creationId xmlns:a16="http://schemas.microsoft.com/office/drawing/2014/main" id="{5D2E0F60-120F-C454-32DC-0AEF568E91E1}"/>
              </a:ext>
            </a:extLst>
          </p:cNvPr>
          <p:cNvSpPr>
            <a:spLocks noGrp="1"/>
          </p:cNvSpPr>
          <p:nvPr>
            <p:custDataLst>
              <p:tags r:id="rId153"/>
            </p:custDataLst>
          </p:nvPr>
        </p:nvSpPr>
        <p:spPr bwMode="gray">
          <a:xfrm>
            <a:off x="7491413" y="43005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910812-BA3A-43E4-A6BA-CB26086CB785}" type="datetime'''''''''''''''''''''1,''''8''''''''''''''''''''''''''31'">
              <a:rPr lang="ja-JP" altLang="en-US" sz="800" smtClean="0">
                <a:effectLst/>
                <a:sym typeface="+mn-lt"/>
              </a:rPr>
              <a:pPr marL="0" lvl="0" indent="0" algn="ctr">
                <a:spcBef>
                  <a:spcPct val="0"/>
                </a:spcBef>
                <a:buNone/>
              </a:pPr>
              <a:t>1,831</a:t>
            </a:fld>
            <a:endParaRPr kumimoji="1" lang="ja-JP" altLang="en-US" sz="800" dirty="0">
              <a:sym typeface="+mn-lt"/>
            </a:endParaRPr>
          </a:p>
        </p:txBody>
      </p:sp>
      <p:sp>
        <p:nvSpPr>
          <p:cNvPr id="542" name="テキスト プレースホルダ 9">
            <a:extLst>
              <a:ext uri="{FF2B5EF4-FFF2-40B4-BE49-F238E27FC236}">
                <a16:creationId xmlns:a16="http://schemas.microsoft.com/office/drawing/2014/main" id="{5AAF6330-5086-B7B0-DCA8-EAC76A7F8867}"/>
              </a:ext>
            </a:extLst>
          </p:cNvPr>
          <p:cNvSpPr>
            <a:spLocks noGrp="1"/>
          </p:cNvSpPr>
          <p:nvPr>
            <p:custDataLst>
              <p:tags r:id="rId154"/>
            </p:custDataLst>
          </p:nvPr>
        </p:nvSpPr>
        <p:spPr bwMode="gray">
          <a:xfrm>
            <a:off x="7796213" y="43037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FEB952-B9A3-4955-8818-741D9DFFADA9}" type="datetime'''1'''''''',''''''''8''''''2''''''5'''''''">
              <a:rPr lang="ja-JP" altLang="en-US" sz="800" smtClean="0">
                <a:effectLst/>
                <a:sym typeface="+mn-lt"/>
              </a:rPr>
              <a:pPr marL="0" lvl="0" indent="0" algn="ctr">
                <a:spcBef>
                  <a:spcPct val="0"/>
                </a:spcBef>
                <a:buNone/>
              </a:pPr>
              <a:t>1,825</a:t>
            </a:fld>
            <a:endParaRPr kumimoji="1" lang="ja-JP" altLang="en-US" sz="800" dirty="0">
              <a:sym typeface="+mn-lt"/>
            </a:endParaRPr>
          </a:p>
        </p:txBody>
      </p:sp>
      <p:sp>
        <p:nvSpPr>
          <p:cNvPr id="532" name="テキスト プレースホルダ 9">
            <a:extLst>
              <a:ext uri="{FF2B5EF4-FFF2-40B4-BE49-F238E27FC236}">
                <a16:creationId xmlns:a16="http://schemas.microsoft.com/office/drawing/2014/main" id="{7E1B50FC-F60C-204E-5DD5-891E66D8DD4F}"/>
              </a:ext>
            </a:extLst>
          </p:cNvPr>
          <p:cNvSpPr>
            <a:spLocks noGrp="1"/>
          </p:cNvSpPr>
          <p:nvPr>
            <p:custDataLst>
              <p:tags r:id="rId155"/>
            </p:custDataLst>
          </p:nvPr>
        </p:nvSpPr>
        <p:spPr bwMode="gray">
          <a:xfrm>
            <a:off x="7186613" y="5346700"/>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07899F-4A22-4FCC-8F1E-8B754A292B46}" type="datetime'1'''''''',''''''''''''2''''''''''''''''''''''''74'''''">
              <a:rPr lang="ja-JP" altLang="en-US" sz="800" smtClean="0">
                <a:effectLst/>
                <a:sym typeface="+mn-lt"/>
              </a:rPr>
              <a:pPr/>
              <a:t>1,274</a:t>
            </a:fld>
            <a:endParaRPr lang="ja-JP" altLang="en-US" sz="800" dirty="0">
              <a:sym typeface="+mn-lt"/>
            </a:endParaRPr>
          </a:p>
        </p:txBody>
      </p:sp>
      <p:sp>
        <p:nvSpPr>
          <p:cNvPr id="175" name="Rectangle 174"/>
          <p:cNvSpPr/>
          <p:nvPr>
            <p:custDataLst>
              <p:tags r:id="rId156"/>
            </p:custDataLst>
          </p:nvPr>
        </p:nvSpPr>
        <p:spPr bwMode="gray">
          <a:xfrm>
            <a:off x="8312150" y="2886075"/>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57"/>
            </p:custDataLst>
          </p:nvPr>
        </p:nvSpPr>
        <p:spPr bwMode="gray">
          <a:xfrm>
            <a:off x="8312150" y="3073400"/>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58"/>
            </p:custDataLst>
          </p:nvPr>
        </p:nvSpPr>
        <p:spPr bwMode="auto">
          <a:xfrm>
            <a:off x="8523288" y="288290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7101CB-5A53-4FCC-9099-9177666FCE89}" type="datetime'''''''''''政府以''''外の''''''''''''''''医療''費''''''''''支出'''''''''">
              <a:rPr lang="ja-JP" altLang="en-US" sz="900" smtClean="0"/>
              <a:pPr/>
              <a:t>政府以外の医療費支出</a:t>
            </a:fld>
            <a:endParaRPr kumimoji="0" lang="ja-JP" altLang="en-US" sz="900" dirty="0">
              <a:sym typeface="+mn-lt"/>
            </a:endParaRPr>
          </a:p>
        </p:txBody>
      </p:sp>
      <p:sp>
        <p:nvSpPr>
          <p:cNvPr id="176" name="テキスト プレースホルダ 9"/>
          <p:cNvSpPr>
            <a:spLocks noGrp="1"/>
          </p:cNvSpPr>
          <p:nvPr>
            <p:custDataLst>
              <p:tags r:id="rId159"/>
            </p:custDataLst>
          </p:nvPr>
        </p:nvSpPr>
        <p:spPr bwMode="auto">
          <a:xfrm>
            <a:off x="8523288" y="307022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5F7CDA5-CDC0-4FEF-817B-24DE4C744B12}" type="datetime'''''''''''政府''''''''''''''の''''医療費''支''出'''''">
              <a:rPr lang="ja-JP" altLang="en-US" sz="900" smtClean="0"/>
              <a:pPr/>
              <a:t>政府の医療費支出</a:t>
            </a:fld>
            <a:endParaRPr kumimoji="0" lang="ja-JP" altLang="en-US" sz="900" dirty="0">
              <a:sym typeface="+mn-lt"/>
            </a:endParaRPr>
          </a:p>
        </p:txBody>
      </p:sp>
      <p:sp>
        <p:nvSpPr>
          <p:cNvPr id="278" name="Rectangle 277"/>
          <p:cNvSpPr/>
          <p:nvPr>
            <p:custDataLst>
              <p:tags r:id="rId160"/>
            </p:custDataLst>
          </p:nvPr>
        </p:nvSpPr>
        <p:spPr bwMode="gray">
          <a:xfrm>
            <a:off x="8459788" y="518795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61"/>
            </p:custDataLst>
          </p:nvPr>
        </p:nvSpPr>
        <p:spPr bwMode="gray">
          <a:xfrm>
            <a:off x="8459788" y="539115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62"/>
            </p:custDataLst>
          </p:nvPr>
        </p:nvSpPr>
        <p:spPr bwMode="auto">
          <a:xfrm>
            <a:off x="8689975" y="51831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63"/>
            </p:custDataLst>
          </p:nvPr>
        </p:nvSpPr>
        <p:spPr bwMode="auto">
          <a:xfrm>
            <a:off x="8689975" y="53863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8" name="Straight Connector 17">
            <a:extLst>
              <a:ext uri="{FF2B5EF4-FFF2-40B4-BE49-F238E27FC236}">
                <a16:creationId xmlns:a16="http://schemas.microsoft.com/office/drawing/2014/main" id="{123642A3-2AA0-4F40-96E4-DDEACDBEDDFD}"/>
              </a:ext>
            </a:extLst>
          </p:cNvPr>
          <p:cNvCxnSpPr/>
          <p:nvPr>
            <p:custDataLst>
              <p:tags r:id="rId164"/>
            </p:custDataLst>
          </p:nvPr>
        </p:nvCxnSpPr>
        <p:spPr bwMode="gray">
          <a:xfrm>
            <a:off x="8382000" y="3454400"/>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65"/>
            </p:custDataLst>
          </p:nvPr>
        </p:nvSpPr>
        <p:spPr bwMode="gray">
          <a:xfrm>
            <a:off x="8453438" y="34163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66"/>
            </p:custDataLst>
          </p:nvPr>
        </p:nvSpPr>
        <p:spPr bwMode="auto">
          <a:xfrm>
            <a:off x="8656638" y="339725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904288" y="6268888"/>
            <a:ext cx="3744416"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テキスト ボックス 3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おり、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政府が捻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046169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2" imgW="360" imgH="360" progId="TCLayout.ActiveDocument.1">
                  <p:embed/>
                </p:oleObj>
              </mc:Choice>
              <mc:Fallback>
                <p:oleObj name="think-cellスライド" r:id="rId22" imgW="360" imgH="360" progId="TCLayout.ActiveDocument.1">
                  <p:embed/>
                  <p:pic>
                    <p:nvPicPr>
                      <p:cNvPr id="9" name="Object 8"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noProof="1"/>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noProof="1"/>
              <a:t>疾病構造・死亡要因【大分類】</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 </a:t>
            </a:r>
            <a:r>
              <a:rPr lang="ja-JP" altLang="en-US" noProof="1">
                <a:solidFill>
                  <a:srgbClr val="000000"/>
                </a:solidFill>
                <a:latin typeface="Arial Black" pitchFamily="34" charset="0"/>
                <a:ea typeface="HGP創英角ｺﾞｼｯｸUB" pitchFamily="50" charset="-128"/>
              </a:rPr>
              <a:t>(1990年⇒2021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2021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3"/>
            </p:custDataLst>
          </p:nvPr>
        </p:nvGraphicFramePr>
        <p:xfrm>
          <a:off x="401638" y="3092450"/>
          <a:ext cx="3784600" cy="2325688"/>
        </p:xfrm>
        <a:graphic>
          <a:graphicData uri="http://schemas.openxmlformats.org/drawingml/2006/chart">
            <c:chart xmlns:c="http://schemas.openxmlformats.org/drawingml/2006/chart" xmlns:r="http://schemas.openxmlformats.org/officeDocument/2006/relationships" r:id="rId24"/>
          </a:graphicData>
        </a:graphic>
      </p:graphicFrame>
      <p:sp>
        <p:nvSpPr>
          <p:cNvPr id="13" name="Rectangle 12"/>
          <p:cNvSpPr/>
          <p:nvPr>
            <p:custDataLst>
              <p:tags r:id="rId4"/>
            </p:custDataLst>
          </p:nvPr>
        </p:nvSpPr>
        <p:spPr bwMode="gray">
          <a:xfrm>
            <a:off x="809625" y="577532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5"/>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114617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8"/>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9"/>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08212"/>
            <a:ext cx="9505056" cy="707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2021年において、サウジアラビアでの死亡要因は、「非感染性疾患」の割合が最も高く、約67%となっている。また、他国と比較して突出して「事故等」の割合が大きい</a:t>
            </a:r>
            <a:r>
              <a:rPr lang="ja-JP" altLang="en-US" sz="1400" noProof="1">
                <a:latin typeface="MS PGothic (headings)"/>
                <a:ea typeface="ＭＳ Ｐゴシック" panose="020B0600070205080204" pitchFamily="50" charset="-128"/>
                <a:cs typeface="Arial" panose="020B0604020202020204" pitchFamily="34" charset="0"/>
              </a:rPr>
              <a:t>。</a:t>
            </a:r>
            <a:endParaRPr lang="en-US" altLang="ja-JP" sz="1400" dirty="0">
              <a:latin typeface="MS PGothic (headings)"/>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headings)"/>
                <a:ea typeface="ＭＳ Ｐゴシック" panose="020B0600070205080204" pitchFamily="50" charset="-128"/>
                <a:cs typeface="Arial" panose="020B0604020202020204" pitchFamily="34" charset="0"/>
              </a:rPr>
              <a:t>先進国の構造(非感染性疾患の割合が大きい)に近づいているが、先進国と比較すると依然として「感染症」の割合が大きい。</a:t>
            </a:r>
            <a:endParaRPr lang="en-US" altLang="ja-JP" sz="1400" dirty="0">
              <a:latin typeface="MS PGothic (headings)"/>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025" y="6541982"/>
            <a:ext cx="8856984" cy="123111"/>
          </a:xfrm>
          <a:prstGeom prst="rect">
            <a:avLst/>
          </a:prstGeom>
          <a:noFill/>
        </p:spPr>
        <p:txBody>
          <a:bodyPr wrap="square" lIns="0" tIns="0" rIns="0" bIns="0" rtlCol="0">
            <a:sp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Disease Study」(2019年)、WHO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Chart 42">
            <a:extLst>
              <a:ext uri="{FF2B5EF4-FFF2-40B4-BE49-F238E27FC236}">
                <a16:creationId xmlns:a16="http://schemas.microsoft.com/office/drawing/2014/main" id="{4B84B220-32A9-DE03-17DF-0C8B9A856B65}"/>
              </a:ext>
            </a:extLst>
          </p:cNvPr>
          <p:cNvGraphicFramePr/>
          <p:nvPr>
            <p:custDataLst>
              <p:tags r:id="rId10"/>
            </p:custData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4" name="テキスト プレースホルダ 9">
            <a:extLst>
              <a:ext uri="{FF2B5EF4-FFF2-40B4-BE49-F238E27FC236}">
                <a16:creationId xmlns:a16="http://schemas.microsoft.com/office/drawing/2014/main" id="{3BD98824-1192-DF5C-6736-86A917AD8930}"/>
              </a:ext>
            </a:extLst>
          </p:cNvPr>
          <p:cNvSpPr>
            <a:spLocks noGrp="1"/>
          </p:cNvSpPr>
          <p:nvPr>
            <p:custDataLst>
              <p:tags r:id="rId11"/>
            </p:custDataLst>
          </p:nvPr>
        </p:nvSpPr>
        <p:spPr bwMode="gray">
          <a:xfrm>
            <a:off x="6437313" y="3487738"/>
            <a:ext cx="619125"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3F9BA0-2CD8-4459-94F5-5104BED3BBC4}" type="datetime'''''''''''''''''1''''''''''''1''''''.''''''''''''8''''''''%'''">
              <a:rPr lang="en-US" altLang="en-US" smtClean="0"/>
              <a:pPr/>
              <a:t>11.8%</a:t>
            </a:fld>
            <a:endParaRPr kumimoji="1" lang="ja-JP" altLang="en-US" dirty="0">
              <a:sym typeface="+mn-lt"/>
            </a:endParaRPr>
          </a:p>
        </p:txBody>
      </p:sp>
      <p:sp>
        <p:nvSpPr>
          <p:cNvPr id="7" name="テキスト プレースホルダ 9">
            <a:extLst>
              <a:ext uri="{FF2B5EF4-FFF2-40B4-BE49-F238E27FC236}">
                <a16:creationId xmlns:a16="http://schemas.microsoft.com/office/drawing/2014/main" id="{757B5BC9-305F-0515-ADCB-C45BCD8FECF5}"/>
              </a:ext>
            </a:extLst>
          </p:cNvPr>
          <p:cNvSpPr>
            <a:spLocks noGrp="1"/>
          </p:cNvSpPr>
          <p:nvPr>
            <p:custDataLst>
              <p:tags r:id="rId12"/>
            </p:custDataLst>
          </p:nvPr>
        </p:nvSpPr>
        <p:spPr bwMode="gray">
          <a:xfrm>
            <a:off x="6835775" y="3241675"/>
            <a:ext cx="520700" cy="244475"/>
          </a:xfrm>
          <a:prstGeom prst="rect">
            <a:avLst/>
          </a:prstGeom>
          <a:solidFill>
            <a:srgbClr val="79A2B3"/>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3404B8-D055-4A32-90A1-DD369A3B2114}" type="datetime'''''''4''''''''''.''1''''''''''''''''''''''''%'''">
              <a:rPr lang="en-US" altLang="en-US" smtClean="0"/>
              <a:pPr/>
              <a:t>4.1%</a:t>
            </a:fld>
            <a:endParaRPr lang="ja-JP" altLang="en-US" dirty="0">
              <a:sym typeface="+mn-lt"/>
            </a:endParaRPr>
          </a:p>
        </p:txBody>
      </p:sp>
      <p:sp>
        <p:nvSpPr>
          <p:cNvPr id="10" name="Rectangle 9">
            <a:extLst>
              <a:ext uri="{FF2B5EF4-FFF2-40B4-BE49-F238E27FC236}">
                <a16:creationId xmlns:a16="http://schemas.microsoft.com/office/drawing/2014/main" id="{D16E86D8-F822-918B-E395-7000192322DB}"/>
              </a:ext>
            </a:extLst>
          </p:cNvPr>
          <p:cNvSpPr/>
          <p:nvPr>
            <p:custDataLst>
              <p:tags r:id="rId13"/>
            </p:custDataLst>
          </p:nvPr>
        </p:nvSpPr>
        <p:spPr bwMode="auto">
          <a:xfrm>
            <a:off x="6486525" y="5573713"/>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 name="Rectangle 10">
            <a:extLst>
              <a:ext uri="{FF2B5EF4-FFF2-40B4-BE49-F238E27FC236}">
                <a16:creationId xmlns:a16="http://schemas.microsoft.com/office/drawing/2014/main" id="{E97DE752-DD77-2AA5-CA08-6E009EB74C8D}"/>
              </a:ext>
            </a:extLst>
          </p:cNvPr>
          <p:cNvSpPr/>
          <p:nvPr>
            <p:custDataLst>
              <p:tags r:id="rId14"/>
            </p:custDataLst>
          </p:nvPr>
        </p:nvSpPr>
        <p:spPr bwMode="auto">
          <a:xfrm>
            <a:off x="6486525" y="57769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Rectangle 11">
            <a:extLst>
              <a:ext uri="{FF2B5EF4-FFF2-40B4-BE49-F238E27FC236}">
                <a16:creationId xmlns:a16="http://schemas.microsoft.com/office/drawing/2014/main" id="{E4DAEF09-E10B-58B5-11FF-02DFB2681B3E}"/>
              </a:ext>
            </a:extLst>
          </p:cNvPr>
          <p:cNvSpPr/>
          <p:nvPr>
            <p:custDataLst>
              <p:tags r:id="rId15"/>
            </p:custDataLst>
          </p:nvPr>
        </p:nvSpPr>
        <p:spPr bwMode="auto">
          <a:xfrm>
            <a:off x="6486525" y="59801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 name="Rectangle 14">
            <a:extLst>
              <a:ext uri="{FF2B5EF4-FFF2-40B4-BE49-F238E27FC236}">
                <a16:creationId xmlns:a16="http://schemas.microsoft.com/office/drawing/2014/main" id="{A1440111-5A15-0A35-AC30-C572D880E4FD}"/>
              </a:ext>
            </a:extLst>
          </p:cNvPr>
          <p:cNvSpPr/>
          <p:nvPr>
            <p:custDataLst>
              <p:tags r:id="rId16"/>
            </p:custDataLst>
          </p:nvPr>
        </p:nvSpPr>
        <p:spPr bwMode="auto">
          <a:xfrm>
            <a:off x="6486525" y="6183313"/>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テキスト プレースホルダ 9">
            <a:extLst>
              <a:ext uri="{FF2B5EF4-FFF2-40B4-BE49-F238E27FC236}">
                <a16:creationId xmlns:a16="http://schemas.microsoft.com/office/drawing/2014/main" id="{B4D1C46F-E97E-DE25-23F0-C1DE0300933F}"/>
              </a:ext>
            </a:extLst>
          </p:cNvPr>
          <p:cNvSpPr>
            <a:spLocks noGrp="1"/>
          </p:cNvSpPr>
          <p:nvPr>
            <p:custDataLst>
              <p:tags r:id="rId17"/>
            </p:custDataLst>
          </p:nvPr>
        </p:nvSpPr>
        <p:spPr bwMode="auto">
          <a:xfrm>
            <a:off x="6716713" y="55689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4D45DA9-6ECD-4856-B9E5-4C86B443CB7F}" type="datetime'''''''''非感''''''染''''''性''疾''''''''''''''''患'''''">
              <a:rPr lang="ja-JP" altLang="en-US" sz="1000" smtClean="0"/>
              <a:pPr/>
              <a:t>非感染性疾患</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805EC718-70DD-A1F9-89F0-23B4B6FA38BD}"/>
              </a:ext>
            </a:extLst>
          </p:cNvPr>
          <p:cNvSpPr>
            <a:spLocks noGrp="1"/>
          </p:cNvSpPr>
          <p:nvPr>
            <p:custDataLst>
              <p:tags r:id="rId18"/>
            </p:custDataLst>
          </p:nvPr>
        </p:nvSpPr>
        <p:spPr bwMode="auto">
          <a:xfrm>
            <a:off x="6716713" y="5772150"/>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40F263E-8A79-46EA-9CFB-859D04787033}" type="datetime'''感染症''''''、''''''''''''母''体、周''''''''''産''''''期''''、栄養状態'''''">
              <a:rPr lang="zh-TW" altLang="en-US" sz="1000" smtClean="0"/>
              <a:pPr/>
              <a:t>感染症、母体、周産期、栄養状態</a:t>
            </a:fld>
            <a:endParaRPr kumimoji="1" lang="ja-JP" altLang="en-US" sz="1000" dirty="0">
              <a:sym typeface="+mn-lt"/>
            </a:endParaRPr>
          </a:p>
        </p:txBody>
      </p:sp>
      <p:sp>
        <p:nvSpPr>
          <p:cNvPr id="19" name="テキスト プレースホルダ 9">
            <a:extLst>
              <a:ext uri="{FF2B5EF4-FFF2-40B4-BE49-F238E27FC236}">
                <a16:creationId xmlns:a16="http://schemas.microsoft.com/office/drawing/2014/main" id="{FBEE6109-68F6-A468-9AE6-E04C217D0FFE}"/>
              </a:ext>
            </a:extLst>
          </p:cNvPr>
          <p:cNvSpPr>
            <a:spLocks noGrp="1"/>
          </p:cNvSpPr>
          <p:nvPr>
            <p:custDataLst>
              <p:tags r:id="rId19"/>
            </p:custDataLst>
          </p:nvPr>
        </p:nvSpPr>
        <p:spPr bwMode="auto">
          <a:xfrm>
            <a:off x="6716713" y="59753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5A268BD-3BB6-499D-9783-7CFAF509D452}" type="datetime'''''''怪''我'">
              <a:rPr lang="ja-JP" altLang="en-US" sz="1000" smtClean="0"/>
              <a:pPr/>
              <a:t>怪我</a:t>
            </a:fld>
            <a:endParaRPr kumimoji="1" lang="ja-JP" altLang="en-US" sz="1000" dirty="0">
              <a:sym typeface="+mn-lt"/>
            </a:endParaRPr>
          </a:p>
        </p:txBody>
      </p:sp>
      <p:sp>
        <p:nvSpPr>
          <p:cNvPr id="21" name="テキスト プレースホルダ 9">
            <a:extLst>
              <a:ext uri="{FF2B5EF4-FFF2-40B4-BE49-F238E27FC236}">
                <a16:creationId xmlns:a16="http://schemas.microsoft.com/office/drawing/2014/main" id="{8BB9852C-FD87-6F5B-D631-4C98C088C521}"/>
              </a:ext>
            </a:extLst>
          </p:cNvPr>
          <p:cNvSpPr>
            <a:spLocks noGrp="1"/>
          </p:cNvSpPr>
          <p:nvPr>
            <p:custDataLst>
              <p:tags r:id="rId20"/>
            </p:custDataLst>
          </p:nvPr>
        </p:nvSpPr>
        <p:spPr bwMode="auto">
          <a:xfrm>
            <a:off x="6716713" y="6178550"/>
            <a:ext cx="2579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0678CDD-02CA-410D-980D-4DC092D3985D}" type="datetime'C''O''''VI''D''''-19パンデミ''ック''''''''''に''''関''連''するその他の結果'''">
              <a:rPr lang="en-US" altLang="en-US" sz="1000" smtClean="0"/>
              <a:pPr/>
              <a:t>COVID-19パンデミックに関連するその他の結果</a:t>
            </a:fld>
            <a:endParaRPr kumimoji="1" lang="ja-JP" altLang="en-US" sz="1000" dirty="0">
              <a:sym typeface="+mn-lt"/>
            </a:endParaRPr>
          </a:p>
        </p:txBody>
      </p:sp>
    </p:spTree>
    <p:extLst>
      <p:ext uri="{BB962C8B-B14F-4D97-AF65-F5344CB8AC3E}">
        <p14:creationId xmlns:p14="http://schemas.microsoft.com/office/powerpoint/2010/main" val="12267832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noProof="1"/>
              <a:t>サウジアラビ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0807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2021</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年の主な死亡原因は、虚血性心疾患、次いで</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COVID-19</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腎臓病で</a:t>
            </a:r>
            <a:r>
              <a:rPr lang="ja-JP" altLang="en-US" sz="1400" noProof="1">
                <a:solidFill>
                  <a:srgbClr val="000000"/>
                </a:solidFill>
                <a:latin typeface="MS PGothic (headings)"/>
                <a:ea typeface="ＭＳ Ｐゴシック"/>
              </a:rPr>
              <a:t>あった</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a:endParaRP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7314" y="6597444"/>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Content Placeholder 4">
            <a:extLst>
              <a:ext uri="{FF2B5EF4-FFF2-40B4-BE49-F238E27FC236}">
                <a16:creationId xmlns:a16="http://schemas.microsoft.com/office/drawing/2014/main" id="{0DC6524F-3A9B-6457-AE0B-543FE9728E98}"/>
              </a:ext>
            </a:extLst>
          </p:cNvPr>
          <p:cNvGraphicFramePr>
            <a:graphicFrameLocks/>
          </p:cNvGraphicFramePr>
          <p:nvPr>
            <p:extLst>
              <p:ext uri="{D42A27DB-BD31-4B8C-83A1-F6EECF244321}">
                <p14:modId xmlns:p14="http://schemas.microsoft.com/office/powerpoint/2010/main" val="54649452"/>
              </p:ext>
            </p:extLst>
          </p:nvPr>
        </p:nvGraphicFramePr>
        <p:xfrm>
          <a:off x="225666" y="1919919"/>
          <a:ext cx="2988000" cy="453327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13703">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COVID-19</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76556">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腎臓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高血圧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交通外傷</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脳卒中</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肝硬変</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76556">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下気道感染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76556">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a:t>
                      </a:r>
                      <a:r>
                        <a:rPr kumimoji="1" lang="ja-JP" altLang="en-US" sz="1000" b="0" i="0" u="none" strike="noStrike" kern="1200" noProof="1">
                          <a:solidFill>
                            <a:srgbClr val="000000"/>
                          </a:solidFill>
                          <a:effectLst/>
                          <a:latin typeface="MS PGothic (headings)"/>
                          <a:ea typeface="+mn-ea"/>
                          <a:cs typeface="+mn-cs"/>
                        </a:rPr>
                        <a:t>先天異常</a:t>
                      </a:r>
                      <a:endParaRPr kumimoji="1" lang="en-US" sz="1000" b="0" i="0" u="none" strike="noStrike" kern="1200" noProof="1">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2" name="Rectangle 11">
            <a:extLst>
              <a:ext uri="{FF2B5EF4-FFF2-40B4-BE49-F238E27FC236}">
                <a16:creationId xmlns:a16="http://schemas.microsoft.com/office/drawing/2014/main" id="{25B8203E-AFD6-F040-1DEB-CEBEB2A16338}"/>
              </a:ext>
            </a:extLst>
          </p:cNvPr>
          <p:cNvSpPr/>
          <p:nvPr/>
        </p:nvSpPr>
        <p:spPr>
          <a:xfrm>
            <a:off x="201603" y="16033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IN" sz="1200" b="1" noProof="1">
                <a:latin typeface="MS PGothic (headings)"/>
                <a:ea typeface="MS PGothic" panose="020B0600070205080204" pitchFamily="34" charset="-128"/>
              </a:rPr>
              <a:t>合計</a:t>
            </a:r>
          </a:p>
        </p:txBody>
      </p:sp>
      <p:graphicFrame>
        <p:nvGraphicFramePr>
          <p:cNvPr id="14" name="Content Placeholder 4">
            <a:extLst>
              <a:ext uri="{FF2B5EF4-FFF2-40B4-BE49-F238E27FC236}">
                <a16:creationId xmlns:a16="http://schemas.microsoft.com/office/drawing/2014/main" id="{05CF123E-0601-F780-C9B6-68AD6BF077CF}"/>
              </a:ext>
            </a:extLst>
          </p:cNvPr>
          <p:cNvGraphicFramePr>
            <a:graphicFrameLocks/>
          </p:cNvGraphicFramePr>
          <p:nvPr>
            <p:extLst>
              <p:ext uri="{D42A27DB-BD31-4B8C-83A1-F6EECF244321}">
                <p14:modId xmlns:p14="http://schemas.microsoft.com/office/powerpoint/2010/main" val="3554594728"/>
              </p:ext>
            </p:extLst>
          </p:nvPr>
        </p:nvGraphicFramePr>
        <p:xfrm>
          <a:off x="3474104" y="1919919"/>
          <a:ext cx="2988000" cy="4533268"/>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10264">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8.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交通事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5.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7133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COVID-19</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5.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高血圧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腎臓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38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肝硬変</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脳梗塞</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7133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苓下気道感染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71332">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a:t>
                      </a:r>
                      <a:r>
                        <a:rPr kumimoji="1" lang="ja-JP" altLang="en-US" sz="1000" b="0" i="0" u="none" strike="noStrike" kern="1200" noProof="1">
                          <a:solidFill>
                            <a:srgbClr val="000000"/>
                          </a:solidFill>
                          <a:effectLst/>
                          <a:latin typeface="MS PGothic (headings)"/>
                          <a:ea typeface="+mn-ea"/>
                          <a:cs typeface="+mn-cs"/>
                        </a:rPr>
                        <a:t>先天異常</a:t>
                      </a:r>
                      <a:endParaRPr kumimoji="1" lang="en-US" sz="1000" b="0" i="0" u="none" strike="noStrike" kern="1200" noProof="1">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17" name="Content Placeholder 4">
            <a:extLst>
              <a:ext uri="{FF2B5EF4-FFF2-40B4-BE49-F238E27FC236}">
                <a16:creationId xmlns:a16="http://schemas.microsoft.com/office/drawing/2014/main" id="{920143DC-66C7-37A5-90C0-520027A9DE4B}"/>
              </a:ext>
            </a:extLst>
          </p:cNvPr>
          <p:cNvGraphicFramePr>
            <a:graphicFrameLocks/>
          </p:cNvGraphicFramePr>
          <p:nvPr>
            <p:extLst>
              <p:ext uri="{D42A27DB-BD31-4B8C-83A1-F6EECF244321}">
                <p14:modId xmlns:p14="http://schemas.microsoft.com/office/powerpoint/2010/main" val="892130281"/>
              </p:ext>
            </p:extLst>
          </p:nvPr>
        </p:nvGraphicFramePr>
        <p:xfrm>
          <a:off x="6722542" y="1919919"/>
          <a:ext cx="2988000" cy="4533269"/>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00734">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COVID-19</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9.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56854">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腎臓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高血圧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五十二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脳卒中</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肝硬変</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下気道感染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56854">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先天異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56854">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道路での負傷</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8" name="Rectangle 17">
            <a:extLst>
              <a:ext uri="{FF2B5EF4-FFF2-40B4-BE49-F238E27FC236}">
                <a16:creationId xmlns:a16="http://schemas.microsoft.com/office/drawing/2014/main" id="{AF279FB2-D8AA-064B-14FD-5EE9EDD3FB5D}"/>
              </a:ext>
            </a:extLst>
          </p:cNvPr>
          <p:cNvSpPr/>
          <p:nvPr/>
        </p:nvSpPr>
        <p:spPr>
          <a:xfrm>
            <a:off x="3452834" y="16033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IN" sz="1200" b="1" noProof="1">
                <a:latin typeface="MS PGothic (headings)"/>
                <a:ea typeface="MS PGothic" panose="020B0600070205080204" pitchFamily="34" charset="-128"/>
              </a:rPr>
              <a:t>男性</a:t>
            </a:r>
          </a:p>
        </p:txBody>
      </p:sp>
      <p:sp>
        <p:nvSpPr>
          <p:cNvPr id="19" name="Rectangle 18">
            <a:extLst>
              <a:ext uri="{FF2B5EF4-FFF2-40B4-BE49-F238E27FC236}">
                <a16:creationId xmlns:a16="http://schemas.microsoft.com/office/drawing/2014/main" id="{3DE82C8F-49D2-C9A9-210D-2CABF2B2E8CC}"/>
              </a:ext>
            </a:extLst>
          </p:cNvPr>
          <p:cNvSpPr/>
          <p:nvPr/>
        </p:nvSpPr>
        <p:spPr>
          <a:xfrm>
            <a:off x="6700164" y="16033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200" b="1" noProof="1">
                <a:latin typeface="MS PGothic (headings)"/>
                <a:ea typeface="MS PGothic" panose="020B0600070205080204" pitchFamily="34" charset="-128"/>
              </a:rPr>
              <a:t>女性</a:t>
            </a:r>
          </a:p>
        </p:txBody>
      </p:sp>
    </p:spTree>
    <p:extLst>
      <p:ext uri="{BB962C8B-B14F-4D97-AF65-F5344CB8AC3E}">
        <p14:creationId xmlns:p14="http://schemas.microsoft.com/office/powerpoint/2010/main" val="1259682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B0F1EF-FF44-4698-B5C9-5970D6B9666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C6B0F1EF-FF44-4698-B5C9-5970D6B96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600258324"/>
              </p:ext>
            </p:extLst>
          </p:nvPr>
        </p:nvGraphicFramePr>
        <p:xfrm>
          <a:off x="200025" y="980728"/>
          <a:ext cx="4500000" cy="507701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813">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サービス</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zh-TW" altLang="en-US" sz="1050" dirty="0">
                          <a:latin typeface="+mn-lt"/>
                        </a:rPr>
                        <a:t>業界構造 </a:t>
                      </a:r>
                      <a:r>
                        <a:rPr lang="en-US" altLang="zh-TW" sz="1050" dirty="0">
                          <a:latin typeface="+mn-lt"/>
                        </a:rPr>
                        <a:t>– </a:t>
                      </a:r>
                      <a:r>
                        <a:rPr lang="zh-TW" altLang="en-US" sz="1050" dirty="0">
                          <a:latin typeface="+mn-lt"/>
                        </a:rPr>
                        <a:t>主要企業（日本企業以外）</a:t>
                      </a:r>
                      <a:endParaRPr lang="ja-JP" altLang="en-US" sz="1050" dirty="0">
                        <a:latin typeface="+mn-lt"/>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機器</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4</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9703688"/>
                  </a:ext>
                </a:extLst>
              </a:tr>
              <a:tr h="151363">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897496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683836897"/>
              </p:ext>
            </p:extLst>
          </p:nvPr>
        </p:nvGraphicFramePr>
        <p:xfrm>
          <a:off x="5205599" y="980729"/>
          <a:ext cx="4643939" cy="5649994"/>
        </p:xfrm>
        <a:graphic>
          <a:graphicData uri="http://schemas.openxmlformats.org/drawingml/2006/table">
            <a:tbl>
              <a:tblPr firstRow="1" bandRow="1">
                <a:tableStyleId>{5940675A-B579-460E-94D1-54222C63F5DA}</a:tableStyleId>
              </a:tblPr>
              <a:tblGrid>
                <a:gridCol w="222909">
                  <a:extLst>
                    <a:ext uri="{9D8B030D-6E8A-4147-A177-3AD203B41FA5}">
                      <a16:colId xmlns:a16="http://schemas.microsoft.com/office/drawing/2014/main" val="20000"/>
                    </a:ext>
                  </a:extLst>
                </a:gridCol>
                <a:gridCol w="222909">
                  <a:extLst>
                    <a:ext uri="{9D8B030D-6E8A-4147-A177-3AD203B41FA5}">
                      <a16:colId xmlns:a16="http://schemas.microsoft.com/office/drawing/2014/main" val="20001"/>
                    </a:ext>
                  </a:extLst>
                </a:gridCol>
                <a:gridCol w="3603697">
                  <a:extLst>
                    <a:ext uri="{9D8B030D-6E8A-4147-A177-3AD203B41FA5}">
                      <a16:colId xmlns:a16="http://schemas.microsoft.com/office/drawing/2014/main" val="20002"/>
                    </a:ext>
                  </a:extLst>
                </a:gridCol>
                <a:gridCol w="297212">
                  <a:extLst>
                    <a:ext uri="{9D8B030D-6E8A-4147-A177-3AD203B41FA5}">
                      <a16:colId xmlns:a16="http://schemas.microsoft.com/office/drawing/2014/main" val="20003"/>
                    </a:ext>
                  </a:extLst>
                </a:gridCol>
                <a:gridCol w="297212">
                  <a:extLst>
                    <a:ext uri="{9D8B030D-6E8A-4147-A177-3AD203B41FA5}">
                      <a16:colId xmlns:a16="http://schemas.microsoft.com/office/drawing/2014/main" val="20004"/>
                    </a:ext>
                  </a:extLst>
                </a:gridCol>
              </a:tblGrid>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その他</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rowSpan="2">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8440667"/>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solidFill>
                            <a:schemeClr val="tx1"/>
                          </a:solidFill>
                        </a:rPr>
                        <a:t>オンライン診療の主要プラットフォーマー</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412096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薬品・医療機器関連イベント</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学会および業界団体</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0</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1</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日本の医療に対する印象、ニーズ</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2</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他国（韓国）の参入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政策動向</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5</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サウジアラビアの医療課題に対処するための主要政策と</a:t>
                      </a:r>
                      <a:endParaRPr lang="en-US" altLang="ja-JP" sz="1050" dirty="0"/>
                    </a:p>
                    <a:p>
                      <a:pPr>
                        <a:lnSpc>
                          <a:spcPct val="85000"/>
                        </a:lnSpc>
                      </a:pPr>
                      <a:r>
                        <a:rPr lang="ja-JP" altLang="en-US" sz="1050" dirty="0"/>
                        <a:t>プログラムのリスト </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1</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4372209"/>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産業振興政策の将来動向</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外交関係／日・サウジ・ビジョン</a:t>
                      </a:r>
                      <a:r>
                        <a:rPr lang="en-US" altLang="ja-JP" sz="1050" dirty="0"/>
                        <a:t>2030</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011254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医療国際化関連事業</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2</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とサウジアラビア保健省の協力覚書</a:t>
                      </a:r>
                      <a:r>
                        <a:rPr lang="ja-JP" altLang="en-US" sz="1050" dirty="0">
                          <a:solidFill>
                            <a:schemeClr val="tx1"/>
                          </a:solidFill>
                        </a:rPr>
                        <a:t>（</a:t>
                      </a:r>
                      <a:r>
                        <a:rPr lang="en-US" altLang="ja-JP" sz="1050" dirty="0">
                          <a:solidFill>
                            <a:schemeClr val="tx1"/>
                          </a:solidFill>
                        </a:rPr>
                        <a:t>MOC</a:t>
                      </a:r>
                      <a:r>
                        <a:rPr lang="ja-JP" altLang="en-US" sz="1050" dirty="0">
                          <a:solidFill>
                            <a:schemeClr val="tx1"/>
                          </a:solidFill>
                        </a:rPr>
                        <a:t>）</a:t>
                      </a:r>
                      <a:r>
                        <a:rPr lang="ja-JP" altLang="en-US" sz="1050" dirty="0"/>
                        <a:t>締結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4</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厚生労働省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5</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文部科学省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6</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cxnSp>
        <p:nvCxnSpPr>
          <p:cNvPr id="9" name="Straight Connector 8">
            <a:extLst>
              <a:ext uri="{FF2B5EF4-FFF2-40B4-BE49-F238E27FC236}">
                <a16:creationId xmlns:a16="http://schemas.microsoft.com/office/drawing/2014/main" id="{2EDD0C64-4958-4CD4-90CD-20CD128450BC}"/>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2658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18B33-4DE8-995B-3177-7873B52DF806}"/>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975FC8-B9BF-78BA-68AE-77F70723147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2E975FC8-B9BF-78BA-68AE-77F7072314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748AB6DF-D81C-EA22-748C-B6E92DF2CFE8}"/>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11A79C98-BBC3-99F9-1FCB-99E89BFB64E8}"/>
              </a:ext>
            </a:extLst>
          </p:cNvPr>
          <p:cNvSpPr>
            <a:spLocks noGrp="1"/>
          </p:cNvSpPr>
          <p:nvPr>
            <p:ph type="title"/>
          </p:nvPr>
        </p:nvSpPr>
        <p:spPr/>
        <p:txBody>
          <a:bodyPr vert="horz">
            <a:normAutofit/>
          </a:bodyPr>
          <a:lstStyle/>
          <a:p>
            <a:r>
              <a:rPr lang="ja-JP" altLang="en-US" noProof="1"/>
              <a:t>サウジアラビ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49280D22-DC87-F1A3-3411-3E9F71656BE5}"/>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sp>
        <p:nvSpPr>
          <p:cNvPr id="57" name="テキスト ボックス 56">
            <a:extLst>
              <a:ext uri="{FF2B5EF4-FFF2-40B4-BE49-F238E27FC236}">
                <a16:creationId xmlns:a16="http://schemas.microsoft.com/office/drawing/2014/main" id="{1DE6FCF4-CD65-3D8A-B982-B5024115743B}"/>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2000年から2021年にかけて、死因の第1位は循環器疾患、第2位は呼吸器感染症、第3位は悪性新生物となっています。</a:t>
            </a:r>
          </a:p>
        </p:txBody>
      </p:sp>
      <p:sp>
        <p:nvSpPr>
          <p:cNvPr id="104" name="テキスト ボックス 74">
            <a:extLst>
              <a:ext uri="{FF2B5EF4-FFF2-40B4-BE49-F238E27FC236}">
                <a16:creationId xmlns:a16="http://schemas.microsoft.com/office/drawing/2014/main" id="{D724E5A5-DD19-4D77-288F-622046923DC4}"/>
              </a:ext>
            </a:extLst>
          </p:cNvPr>
          <p:cNvSpPr txBox="1"/>
          <p:nvPr/>
        </p:nvSpPr>
        <p:spPr>
          <a:xfrm>
            <a:off x="219150" y="6620269"/>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3" name="Table 52">
            <a:extLst>
              <a:ext uri="{FF2B5EF4-FFF2-40B4-BE49-F238E27FC236}">
                <a16:creationId xmlns:a16="http://schemas.microsoft.com/office/drawing/2014/main" id="{B7B67AEC-0369-0542-840C-5DEBF7FD322C}"/>
              </a:ext>
            </a:extLst>
          </p:cNvPr>
          <p:cNvGraphicFramePr>
            <a:graphicFrameLocks noGrp="1"/>
          </p:cNvGraphicFramePr>
          <p:nvPr>
            <p:extLst>
              <p:ext uri="{D42A27DB-BD31-4B8C-83A1-F6EECF244321}">
                <p14:modId xmlns:p14="http://schemas.microsoft.com/office/powerpoint/2010/main" val="970924234"/>
              </p:ext>
            </p:extLst>
          </p:nvPr>
        </p:nvGraphicFramePr>
        <p:xfrm>
          <a:off x="5757825" y="1864479"/>
          <a:ext cx="2088080" cy="4429860"/>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2292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循環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意図しない損傷</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105570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神経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先天異常</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新生児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感染症および寄生虫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graphicFrame>
        <p:nvGraphicFramePr>
          <p:cNvPr id="55" name="Table 54">
            <a:extLst>
              <a:ext uri="{FF2B5EF4-FFF2-40B4-BE49-F238E27FC236}">
                <a16:creationId xmlns:a16="http://schemas.microsoft.com/office/drawing/2014/main" id="{AE6F15A2-1A1C-5E90-6C1C-0DE624EA1D54}"/>
              </a:ext>
            </a:extLst>
          </p:cNvPr>
          <p:cNvGraphicFramePr>
            <a:graphicFrameLocks noGrp="1"/>
          </p:cNvGraphicFramePr>
          <p:nvPr>
            <p:extLst>
              <p:ext uri="{D42A27DB-BD31-4B8C-83A1-F6EECF244321}">
                <p14:modId xmlns:p14="http://schemas.microsoft.com/office/powerpoint/2010/main" val="1271513664"/>
              </p:ext>
            </p:extLst>
          </p:nvPr>
        </p:nvGraphicFramePr>
        <p:xfrm>
          <a:off x="2008247" y="1864479"/>
          <a:ext cx="2088080" cy="4429860"/>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2292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不慮の外傷</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先天異常</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105570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感染症および寄生虫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神経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sp>
        <p:nvSpPr>
          <p:cNvPr id="56" name="TextBox 55">
            <a:extLst>
              <a:ext uri="{FF2B5EF4-FFF2-40B4-BE49-F238E27FC236}">
                <a16:creationId xmlns:a16="http://schemas.microsoft.com/office/drawing/2014/main" id="{EF9AFB11-B5A2-185C-AEC5-6560A3543708}"/>
              </a:ext>
            </a:extLst>
          </p:cNvPr>
          <p:cNvSpPr txBox="1"/>
          <p:nvPr/>
        </p:nvSpPr>
        <p:spPr>
          <a:xfrm>
            <a:off x="2008247" y="1652693"/>
            <a:ext cx="2088000" cy="259879"/>
          </a:xfrm>
          <a:prstGeom prst="rect">
            <a:avLst/>
          </a:prstGeom>
          <a:noFill/>
        </p:spPr>
        <p:txBody>
          <a:bodyPr wrap="square" rtlCol="0">
            <a:spAutoFit/>
          </a:bodyPr>
          <a:lstStyle/>
          <a:p>
            <a:pPr algn="ctr">
              <a:lnSpc>
                <a:spcPct val="120000"/>
              </a:lnSpc>
            </a:pPr>
            <a:r>
              <a:rPr kumimoji="1" lang="en-IN" altLang="ja-JP" sz="1000" b="1" noProof="1"/>
              <a:t>2000</a:t>
            </a:r>
            <a:endParaRPr kumimoji="1" lang="ja-JP" altLang="en-US" sz="1000" b="1" dirty="0"/>
          </a:p>
        </p:txBody>
      </p:sp>
      <p:sp>
        <p:nvSpPr>
          <p:cNvPr id="58" name="TextBox 57">
            <a:extLst>
              <a:ext uri="{FF2B5EF4-FFF2-40B4-BE49-F238E27FC236}">
                <a16:creationId xmlns:a16="http://schemas.microsoft.com/office/drawing/2014/main" id="{036878A2-566A-AEA5-46F8-55758512D503}"/>
              </a:ext>
            </a:extLst>
          </p:cNvPr>
          <p:cNvSpPr txBox="1"/>
          <p:nvPr/>
        </p:nvSpPr>
        <p:spPr>
          <a:xfrm>
            <a:off x="4097326" y="1882427"/>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59" name="TextBox 58">
            <a:extLst>
              <a:ext uri="{FF2B5EF4-FFF2-40B4-BE49-F238E27FC236}">
                <a16:creationId xmlns:a16="http://schemas.microsoft.com/office/drawing/2014/main" id="{7ED41FEE-3B3A-C531-EBD2-92386B4B632A}"/>
              </a:ext>
            </a:extLst>
          </p:cNvPr>
          <p:cNvSpPr txBox="1"/>
          <p:nvPr/>
        </p:nvSpPr>
        <p:spPr>
          <a:xfrm>
            <a:off x="5166280" y="1882427"/>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60" name="TextBox 59">
            <a:extLst>
              <a:ext uri="{FF2B5EF4-FFF2-40B4-BE49-F238E27FC236}">
                <a16:creationId xmlns:a16="http://schemas.microsoft.com/office/drawing/2014/main" id="{826A85C2-AE6A-796C-8EDD-D7C8C4ABE1DF}"/>
              </a:ext>
            </a:extLst>
          </p:cNvPr>
          <p:cNvSpPr txBox="1"/>
          <p:nvPr/>
        </p:nvSpPr>
        <p:spPr>
          <a:xfrm>
            <a:off x="5661870" y="1652693"/>
            <a:ext cx="2099442" cy="259879"/>
          </a:xfrm>
          <a:prstGeom prst="rect">
            <a:avLst/>
          </a:prstGeom>
          <a:noFill/>
        </p:spPr>
        <p:txBody>
          <a:bodyPr wrap="square" rtlCol="0">
            <a:spAutoFit/>
          </a:bodyPr>
          <a:lstStyle/>
          <a:p>
            <a:pPr algn="ctr">
              <a:lnSpc>
                <a:spcPct val="120000"/>
              </a:lnSpc>
            </a:pPr>
            <a:r>
              <a:rPr kumimoji="1" lang="en-IN" altLang="ja-JP" sz="1000" b="1" noProof="1"/>
              <a:t>2021</a:t>
            </a:r>
            <a:endParaRPr kumimoji="1" lang="ja-JP" altLang="en-US" sz="1000" b="1" dirty="0"/>
          </a:p>
        </p:txBody>
      </p:sp>
      <p:sp>
        <p:nvSpPr>
          <p:cNvPr id="67" name="Oval 66">
            <a:extLst>
              <a:ext uri="{FF2B5EF4-FFF2-40B4-BE49-F238E27FC236}">
                <a16:creationId xmlns:a16="http://schemas.microsoft.com/office/drawing/2014/main" id="{687CDE32-AF36-B734-3FF5-47881C3961AC}"/>
              </a:ext>
            </a:extLst>
          </p:cNvPr>
          <p:cNvSpPr/>
          <p:nvPr/>
        </p:nvSpPr>
        <p:spPr>
          <a:xfrm>
            <a:off x="4174232" y="2508655"/>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68" name="Oval 67">
            <a:extLst>
              <a:ext uri="{FF2B5EF4-FFF2-40B4-BE49-F238E27FC236}">
                <a16:creationId xmlns:a16="http://schemas.microsoft.com/office/drawing/2014/main" id="{61624164-43C4-4067-842B-DB264A1A5653}"/>
              </a:ext>
            </a:extLst>
          </p:cNvPr>
          <p:cNvSpPr/>
          <p:nvPr/>
        </p:nvSpPr>
        <p:spPr>
          <a:xfrm>
            <a:off x="4175278" y="3204369"/>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4</a:t>
            </a:r>
            <a:endParaRPr kumimoji="1" lang="en-IN" sz="1000" dirty="0">
              <a:solidFill>
                <a:schemeClr val="bg1"/>
              </a:solidFill>
            </a:endParaRPr>
          </a:p>
        </p:txBody>
      </p:sp>
      <p:sp>
        <p:nvSpPr>
          <p:cNvPr id="69" name="Oval 68">
            <a:extLst>
              <a:ext uri="{FF2B5EF4-FFF2-40B4-BE49-F238E27FC236}">
                <a16:creationId xmlns:a16="http://schemas.microsoft.com/office/drawing/2014/main" id="{3DAEEA4E-F986-0D04-D6BF-ADDB2A772C51}"/>
              </a:ext>
            </a:extLst>
          </p:cNvPr>
          <p:cNvSpPr/>
          <p:nvPr/>
        </p:nvSpPr>
        <p:spPr>
          <a:xfrm>
            <a:off x="4176324" y="2160798"/>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70" name="Oval 69">
            <a:extLst>
              <a:ext uri="{FF2B5EF4-FFF2-40B4-BE49-F238E27FC236}">
                <a16:creationId xmlns:a16="http://schemas.microsoft.com/office/drawing/2014/main" id="{FAD06E92-6888-E0C8-C091-326044183DAD}"/>
              </a:ext>
            </a:extLst>
          </p:cNvPr>
          <p:cNvSpPr/>
          <p:nvPr/>
        </p:nvSpPr>
        <p:spPr>
          <a:xfrm>
            <a:off x="4177370" y="2856512"/>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71" name="Oval 70">
            <a:extLst>
              <a:ext uri="{FF2B5EF4-FFF2-40B4-BE49-F238E27FC236}">
                <a16:creationId xmlns:a16="http://schemas.microsoft.com/office/drawing/2014/main" id="{C12B20D2-2814-0990-8BE9-68F870F4BAF8}"/>
              </a:ext>
            </a:extLst>
          </p:cNvPr>
          <p:cNvSpPr/>
          <p:nvPr/>
        </p:nvSpPr>
        <p:spPr>
          <a:xfrm>
            <a:off x="4178416" y="3552226"/>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72" name="Oval 71">
            <a:extLst>
              <a:ext uri="{FF2B5EF4-FFF2-40B4-BE49-F238E27FC236}">
                <a16:creationId xmlns:a16="http://schemas.microsoft.com/office/drawing/2014/main" id="{4CD8D2DA-A462-79CA-BCEB-59D216C94691}"/>
              </a:ext>
            </a:extLst>
          </p:cNvPr>
          <p:cNvSpPr/>
          <p:nvPr/>
        </p:nvSpPr>
        <p:spPr>
          <a:xfrm>
            <a:off x="4179462" y="3902417"/>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73" name="Oval 72">
            <a:extLst>
              <a:ext uri="{FF2B5EF4-FFF2-40B4-BE49-F238E27FC236}">
                <a16:creationId xmlns:a16="http://schemas.microsoft.com/office/drawing/2014/main" id="{8381E89A-A39E-06FA-9DE6-B8918CB8596B}"/>
              </a:ext>
            </a:extLst>
          </p:cNvPr>
          <p:cNvSpPr/>
          <p:nvPr/>
        </p:nvSpPr>
        <p:spPr>
          <a:xfrm>
            <a:off x="4180508" y="4252608"/>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74" name="Oval 73">
            <a:extLst>
              <a:ext uri="{FF2B5EF4-FFF2-40B4-BE49-F238E27FC236}">
                <a16:creationId xmlns:a16="http://schemas.microsoft.com/office/drawing/2014/main" id="{C1A299AD-39DF-CD7B-71C9-60926B6ACD50}"/>
              </a:ext>
            </a:extLst>
          </p:cNvPr>
          <p:cNvSpPr/>
          <p:nvPr/>
        </p:nvSpPr>
        <p:spPr>
          <a:xfrm>
            <a:off x="4181554" y="4600465"/>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75" name="Oval 74">
            <a:extLst>
              <a:ext uri="{FF2B5EF4-FFF2-40B4-BE49-F238E27FC236}">
                <a16:creationId xmlns:a16="http://schemas.microsoft.com/office/drawing/2014/main" id="{20C6DBFA-2118-E588-4134-26BF9DD369A2}"/>
              </a:ext>
            </a:extLst>
          </p:cNvPr>
          <p:cNvSpPr/>
          <p:nvPr/>
        </p:nvSpPr>
        <p:spPr>
          <a:xfrm>
            <a:off x="4182600" y="4950656"/>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76" name="Oval 75">
            <a:extLst>
              <a:ext uri="{FF2B5EF4-FFF2-40B4-BE49-F238E27FC236}">
                <a16:creationId xmlns:a16="http://schemas.microsoft.com/office/drawing/2014/main" id="{8814F4F4-4D3E-E3AF-C548-DBAFF6F46389}"/>
              </a:ext>
            </a:extLst>
          </p:cNvPr>
          <p:cNvSpPr/>
          <p:nvPr/>
        </p:nvSpPr>
        <p:spPr>
          <a:xfrm>
            <a:off x="4183646" y="5298513"/>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0</a:t>
            </a:r>
            <a:endParaRPr kumimoji="1" lang="en-IN" sz="1000" dirty="0">
              <a:solidFill>
                <a:schemeClr val="bg1"/>
              </a:solidFill>
            </a:endParaRPr>
          </a:p>
        </p:txBody>
      </p:sp>
      <p:sp>
        <p:nvSpPr>
          <p:cNvPr id="77" name="Oval 76">
            <a:extLst>
              <a:ext uri="{FF2B5EF4-FFF2-40B4-BE49-F238E27FC236}">
                <a16:creationId xmlns:a16="http://schemas.microsoft.com/office/drawing/2014/main" id="{E6F22A85-68A0-77F2-8BA6-84CC6FC6AA09}"/>
              </a:ext>
            </a:extLst>
          </p:cNvPr>
          <p:cNvSpPr/>
          <p:nvPr/>
        </p:nvSpPr>
        <p:spPr>
          <a:xfrm>
            <a:off x="4184692" y="5648704"/>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1</a:t>
            </a:r>
            <a:endParaRPr kumimoji="1" lang="en-IN" sz="1000" dirty="0">
              <a:solidFill>
                <a:schemeClr val="bg1"/>
              </a:solidFill>
            </a:endParaRPr>
          </a:p>
        </p:txBody>
      </p:sp>
      <p:sp>
        <p:nvSpPr>
          <p:cNvPr id="78" name="Oval 77">
            <a:extLst>
              <a:ext uri="{FF2B5EF4-FFF2-40B4-BE49-F238E27FC236}">
                <a16:creationId xmlns:a16="http://schemas.microsoft.com/office/drawing/2014/main" id="{13994F9B-F42F-AE67-0FB1-03067DEF47A8}"/>
              </a:ext>
            </a:extLst>
          </p:cNvPr>
          <p:cNvSpPr/>
          <p:nvPr/>
        </p:nvSpPr>
        <p:spPr>
          <a:xfrm>
            <a:off x="4185734" y="5998899"/>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2</a:t>
            </a:r>
            <a:endParaRPr kumimoji="1" lang="en-IN" sz="1000" dirty="0">
              <a:solidFill>
                <a:schemeClr val="bg1"/>
              </a:solidFill>
            </a:endParaRPr>
          </a:p>
        </p:txBody>
      </p:sp>
      <p:sp>
        <p:nvSpPr>
          <p:cNvPr id="79" name="Oval 78">
            <a:extLst>
              <a:ext uri="{FF2B5EF4-FFF2-40B4-BE49-F238E27FC236}">
                <a16:creationId xmlns:a16="http://schemas.microsoft.com/office/drawing/2014/main" id="{89AA73BA-172E-D493-B813-135F4B9B293A}"/>
              </a:ext>
            </a:extLst>
          </p:cNvPr>
          <p:cNvSpPr/>
          <p:nvPr/>
        </p:nvSpPr>
        <p:spPr>
          <a:xfrm>
            <a:off x="5250166" y="2508655"/>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80" name="Oval 79">
            <a:extLst>
              <a:ext uri="{FF2B5EF4-FFF2-40B4-BE49-F238E27FC236}">
                <a16:creationId xmlns:a16="http://schemas.microsoft.com/office/drawing/2014/main" id="{952C339B-B753-19A5-D6CA-1825C49D52D6}"/>
              </a:ext>
            </a:extLst>
          </p:cNvPr>
          <p:cNvSpPr/>
          <p:nvPr/>
        </p:nvSpPr>
        <p:spPr>
          <a:xfrm>
            <a:off x="5251212" y="3204369"/>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4</a:t>
            </a:r>
            <a:endParaRPr kumimoji="1" lang="en-IN" sz="1000" dirty="0">
              <a:solidFill>
                <a:schemeClr val="bg1"/>
              </a:solidFill>
            </a:endParaRPr>
          </a:p>
        </p:txBody>
      </p:sp>
      <p:sp>
        <p:nvSpPr>
          <p:cNvPr id="81" name="Oval 80">
            <a:extLst>
              <a:ext uri="{FF2B5EF4-FFF2-40B4-BE49-F238E27FC236}">
                <a16:creationId xmlns:a16="http://schemas.microsoft.com/office/drawing/2014/main" id="{54A7469E-85A6-C19A-F658-C5122B958C1F}"/>
              </a:ext>
            </a:extLst>
          </p:cNvPr>
          <p:cNvSpPr/>
          <p:nvPr/>
        </p:nvSpPr>
        <p:spPr>
          <a:xfrm>
            <a:off x="5252258" y="2160798"/>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82" name="Oval 81">
            <a:extLst>
              <a:ext uri="{FF2B5EF4-FFF2-40B4-BE49-F238E27FC236}">
                <a16:creationId xmlns:a16="http://schemas.microsoft.com/office/drawing/2014/main" id="{85DAF216-DD30-A456-F63C-F7D2FA3056FE}"/>
              </a:ext>
            </a:extLst>
          </p:cNvPr>
          <p:cNvSpPr/>
          <p:nvPr/>
        </p:nvSpPr>
        <p:spPr>
          <a:xfrm>
            <a:off x="5253304" y="2856512"/>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83" name="Oval 82">
            <a:extLst>
              <a:ext uri="{FF2B5EF4-FFF2-40B4-BE49-F238E27FC236}">
                <a16:creationId xmlns:a16="http://schemas.microsoft.com/office/drawing/2014/main" id="{7C715E8A-626E-CC40-F634-C6AD080EA932}"/>
              </a:ext>
            </a:extLst>
          </p:cNvPr>
          <p:cNvSpPr/>
          <p:nvPr/>
        </p:nvSpPr>
        <p:spPr>
          <a:xfrm>
            <a:off x="5254350" y="3552226"/>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84" name="Oval 83">
            <a:extLst>
              <a:ext uri="{FF2B5EF4-FFF2-40B4-BE49-F238E27FC236}">
                <a16:creationId xmlns:a16="http://schemas.microsoft.com/office/drawing/2014/main" id="{A8FE1DB5-E831-6390-D85E-DA82DD5FAEFB}"/>
              </a:ext>
            </a:extLst>
          </p:cNvPr>
          <p:cNvSpPr/>
          <p:nvPr/>
        </p:nvSpPr>
        <p:spPr>
          <a:xfrm>
            <a:off x="5255396" y="3902417"/>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85" name="Oval 84">
            <a:extLst>
              <a:ext uri="{FF2B5EF4-FFF2-40B4-BE49-F238E27FC236}">
                <a16:creationId xmlns:a16="http://schemas.microsoft.com/office/drawing/2014/main" id="{F1C57D7A-BD28-3C1E-5B7D-BD3B59A167B1}"/>
              </a:ext>
            </a:extLst>
          </p:cNvPr>
          <p:cNvSpPr/>
          <p:nvPr/>
        </p:nvSpPr>
        <p:spPr>
          <a:xfrm>
            <a:off x="5256442" y="4252608"/>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86" name="Oval 85">
            <a:extLst>
              <a:ext uri="{FF2B5EF4-FFF2-40B4-BE49-F238E27FC236}">
                <a16:creationId xmlns:a16="http://schemas.microsoft.com/office/drawing/2014/main" id="{A362850D-2456-807D-076B-7835EC09E543}"/>
              </a:ext>
            </a:extLst>
          </p:cNvPr>
          <p:cNvSpPr/>
          <p:nvPr/>
        </p:nvSpPr>
        <p:spPr>
          <a:xfrm>
            <a:off x="5257488" y="4600465"/>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87" name="Oval 86">
            <a:extLst>
              <a:ext uri="{FF2B5EF4-FFF2-40B4-BE49-F238E27FC236}">
                <a16:creationId xmlns:a16="http://schemas.microsoft.com/office/drawing/2014/main" id="{CB8B069B-5804-FAF4-03FE-478281DB947E}"/>
              </a:ext>
            </a:extLst>
          </p:cNvPr>
          <p:cNvSpPr/>
          <p:nvPr/>
        </p:nvSpPr>
        <p:spPr>
          <a:xfrm>
            <a:off x="5258534" y="4950656"/>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88" name="Oval 87">
            <a:extLst>
              <a:ext uri="{FF2B5EF4-FFF2-40B4-BE49-F238E27FC236}">
                <a16:creationId xmlns:a16="http://schemas.microsoft.com/office/drawing/2014/main" id="{EDDE0F6A-49FB-64A7-4B64-79B6E30AA9B2}"/>
              </a:ext>
            </a:extLst>
          </p:cNvPr>
          <p:cNvSpPr/>
          <p:nvPr/>
        </p:nvSpPr>
        <p:spPr>
          <a:xfrm>
            <a:off x="5259580" y="5298513"/>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0</a:t>
            </a:r>
            <a:endParaRPr kumimoji="1" lang="en-IN" sz="1000" dirty="0">
              <a:solidFill>
                <a:schemeClr val="bg1"/>
              </a:solidFill>
            </a:endParaRPr>
          </a:p>
        </p:txBody>
      </p:sp>
      <p:sp>
        <p:nvSpPr>
          <p:cNvPr id="89" name="Oval 88">
            <a:extLst>
              <a:ext uri="{FF2B5EF4-FFF2-40B4-BE49-F238E27FC236}">
                <a16:creationId xmlns:a16="http://schemas.microsoft.com/office/drawing/2014/main" id="{E14E204A-801D-2A94-3747-9803B8A20F1F}"/>
              </a:ext>
            </a:extLst>
          </p:cNvPr>
          <p:cNvSpPr/>
          <p:nvPr/>
        </p:nvSpPr>
        <p:spPr>
          <a:xfrm>
            <a:off x="5260626" y="5648704"/>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1</a:t>
            </a:r>
            <a:endParaRPr kumimoji="1" lang="en-IN" sz="1000" dirty="0">
              <a:solidFill>
                <a:schemeClr val="bg1"/>
              </a:solidFill>
            </a:endParaRPr>
          </a:p>
        </p:txBody>
      </p:sp>
      <p:sp>
        <p:nvSpPr>
          <p:cNvPr id="90" name="Oval 89">
            <a:extLst>
              <a:ext uri="{FF2B5EF4-FFF2-40B4-BE49-F238E27FC236}">
                <a16:creationId xmlns:a16="http://schemas.microsoft.com/office/drawing/2014/main" id="{FA47B0B4-AF95-3A45-79E5-6CC94B98238D}"/>
              </a:ext>
            </a:extLst>
          </p:cNvPr>
          <p:cNvSpPr/>
          <p:nvPr/>
        </p:nvSpPr>
        <p:spPr>
          <a:xfrm>
            <a:off x="5261668" y="5998899"/>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2</a:t>
            </a:r>
            <a:endParaRPr kumimoji="1" lang="en-IN" sz="1000" dirty="0">
              <a:solidFill>
                <a:schemeClr val="bg1"/>
              </a:solidFill>
            </a:endParaRPr>
          </a:p>
        </p:txBody>
      </p:sp>
      <p:cxnSp>
        <p:nvCxnSpPr>
          <p:cNvPr id="91" name="Connector: Curved 90">
            <a:extLst>
              <a:ext uri="{FF2B5EF4-FFF2-40B4-BE49-F238E27FC236}">
                <a16:creationId xmlns:a16="http://schemas.microsoft.com/office/drawing/2014/main" id="{81409E7A-20C8-F2A7-F7D0-F85AB5D57A40}"/>
              </a:ext>
            </a:extLst>
          </p:cNvPr>
          <p:cNvCxnSpPr>
            <a:cxnSpLocks/>
            <a:stCxn id="69" idx="6"/>
            <a:endCxn id="81" idx="2"/>
          </p:cNvCxnSpPr>
          <p:nvPr/>
        </p:nvCxnSpPr>
        <p:spPr>
          <a:xfrm>
            <a:off x="4536364" y="2277498"/>
            <a:ext cx="715894" cy="12700"/>
          </a:xfrm>
          <a:prstGeom prst="curvedConnector3">
            <a:avLst>
              <a:gd name="adj1" fmla="val 7696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Curved 91">
            <a:extLst>
              <a:ext uri="{FF2B5EF4-FFF2-40B4-BE49-F238E27FC236}">
                <a16:creationId xmlns:a16="http://schemas.microsoft.com/office/drawing/2014/main" id="{AD7F58EE-BD23-E8DD-2A0D-DCC7DA04997E}"/>
              </a:ext>
            </a:extLst>
          </p:cNvPr>
          <p:cNvCxnSpPr>
            <a:cxnSpLocks/>
            <a:stCxn id="68" idx="6"/>
            <a:endCxn id="89" idx="2"/>
          </p:cNvCxnSpPr>
          <p:nvPr/>
        </p:nvCxnSpPr>
        <p:spPr>
          <a:xfrm>
            <a:off x="4535318" y="3321069"/>
            <a:ext cx="725308" cy="2445502"/>
          </a:xfrm>
          <a:prstGeom prst="curvedConnector3">
            <a:avLst>
              <a:gd name="adj1" fmla="val 20288"/>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or: Curved 92">
            <a:extLst>
              <a:ext uri="{FF2B5EF4-FFF2-40B4-BE49-F238E27FC236}">
                <a16:creationId xmlns:a16="http://schemas.microsoft.com/office/drawing/2014/main" id="{9B0B8CFB-6872-9D2C-F59A-F92F02935072}"/>
              </a:ext>
            </a:extLst>
          </p:cNvPr>
          <p:cNvCxnSpPr>
            <a:cxnSpLocks/>
            <a:stCxn id="67" idx="6"/>
            <a:endCxn id="80" idx="2"/>
          </p:cNvCxnSpPr>
          <p:nvPr/>
        </p:nvCxnSpPr>
        <p:spPr>
          <a:xfrm>
            <a:off x="4534272" y="2625355"/>
            <a:ext cx="716940" cy="69571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Connector: Curved 93">
            <a:extLst>
              <a:ext uri="{FF2B5EF4-FFF2-40B4-BE49-F238E27FC236}">
                <a16:creationId xmlns:a16="http://schemas.microsoft.com/office/drawing/2014/main" id="{E268AC84-A419-381C-9C0A-6FC504A32C90}"/>
              </a:ext>
            </a:extLst>
          </p:cNvPr>
          <p:cNvCxnSpPr>
            <a:cxnSpLocks/>
            <a:stCxn id="70" idx="6"/>
            <a:endCxn id="82" idx="2"/>
          </p:cNvCxnSpPr>
          <p:nvPr/>
        </p:nvCxnSpPr>
        <p:spPr>
          <a:xfrm>
            <a:off x="4537410" y="2973212"/>
            <a:ext cx="715894"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Connector: Curved 94">
            <a:extLst>
              <a:ext uri="{FF2B5EF4-FFF2-40B4-BE49-F238E27FC236}">
                <a16:creationId xmlns:a16="http://schemas.microsoft.com/office/drawing/2014/main" id="{A464A172-2371-7BA0-E22A-BBDA8847B1D9}"/>
              </a:ext>
            </a:extLst>
          </p:cNvPr>
          <p:cNvCxnSpPr>
            <a:cxnSpLocks/>
            <a:stCxn id="71" idx="6"/>
            <a:endCxn id="87" idx="2"/>
          </p:cNvCxnSpPr>
          <p:nvPr/>
        </p:nvCxnSpPr>
        <p:spPr>
          <a:xfrm>
            <a:off x="4538456" y="3670093"/>
            <a:ext cx="720078" cy="1397263"/>
          </a:xfrm>
          <a:prstGeom prst="curvedConnector3">
            <a:avLst>
              <a:gd name="adj1" fmla="val 7398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nector: Curved 95">
            <a:extLst>
              <a:ext uri="{FF2B5EF4-FFF2-40B4-BE49-F238E27FC236}">
                <a16:creationId xmlns:a16="http://schemas.microsoft.com/office/drawing/2014/main" id="{5B29B99E-AD86-088F-7FA2-A9E2D71FB751}"/>
              </a:ext>
            </a:extLst>
          </p:cNvPr>
          <p:cNvCxnSpPr>
            <a:cxnSpLocks/>
            <a:stCxn id="72" idx="6"/>
            <a:endCxn id="83" idx="2"/>
          </p:cNvCxnSpPr>
          <p:nvPr/>
        </p:nvCxnSpPr>
        <p:spPr>
          <a:xfrm flipV="1">
            <a:off x="4539502" y="3670093"/>
            <a:ext cx="714848" cy="350191"/>
          </a:xfrm>
          <a:prstGeom prst="curvedConnector3">
            <a:avLst>
              <a:gd name="adj1" fmla="val 3365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Curved 96">
            <a:extLst>
              <a:ext uri="{FF2B5EF4-FFF2-40B4-BE49-F238E27FC236}">
                <a16:creationId xmlns:a16="http://schemas.microsoft.com/office/drawing/2014/main" id="{66BC2A84-FBE6-0B58-BDBB-614BB469D2F5}"/>
              </a:ext>
            </a:extLst>
          </p:cNvPr>
          <p:cNvCxnSpPr>
            <a:cxnSpLocks/>
            <a:stCxn id="73" idx="6"/>
            <a:endCxn id="79" idx="2"/>
          </p:cNvCxnSpPr>
          <p:nvPr/>
        </p:nvCxnSpPr>
        <p:spPr>
          <a:xfrm flipV="1">
            <a:off x="4540548" y="2625355"/>
            <a:ext cx="709618" cy="1743953"/>
          </a:xfrm>
          <a:prstGeom prst="curvedConnector3">
            <a:avLst>
              <a:gd name="adj1" fmla="val 63602"/>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Curved 97">
            <a:extLst>
              <a:ext uri="{FF2B5EF4-FFF2-40B4-BE49-F238E27FC236}">
                <a16:creationId xmlns:a16="http://schemas.microsoft.com/office/drawing/2014/main" id="{D2DDFC14-5CC9-99C0-A18D-5E9635728521}"/>
              </a:ext>
            </a:extLst>
          </p:cNvPr>
          <p:cNvCxnSpPr>
            <a:cxnSpLocks/>
            <a:stCxn id="74" idx="6"/>
            <a:endCxn id="85" idx="2"/>
          </p:cNvCxnSpPr>
          <p:nvPr/>
        </p:nvCxnSpPr>
        <p:spPr>
          <a:xfrm flipV="1">
            <a:off x="4541594" y="4369308"/>
            <a:ext cx="714848" cy="349024"/>
          </a:xfrm>
          <a:prstGeom prst="curvedConnector3">
            <a:avLst>
              <a:gd name="adj1" fmla="val 58528"/>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Curved 98">
            <a:extLst>
              <a:ext uri="{FF2B5EF4-FFF2-40B4-BE49-F238E27FC236}">
                <a16:creationId xmlns:a16="http://schemas.microsoft.com/office/drawing/2014/main" id="{D4499B09-5FBD-024E-13F6-464C82FE7AA4}"/>
              </a:ext>
            </a:extLst>
          </p:cNvPr>
          <p:cNvCxnSpPr>
            <a:cxnSpLocks/>
            <a:stCxn id="75" idx="6"/>
            <a:endCxn id="90" idx="2"/>
          </p:cNvCxnSpPr>
          <p:nvPr/>
        </p:nvCxnSpPr>
        <p:spPr>
          <a:xfrm>
            <a:off x="4542640" y="5067356"/>
            <a:ext cx="719028" cy="1049410"/>
          </a:xfrm>
          <a:prstGeom prst="curvedConnector3">
            <a:avLst>
              <a:gd name="adj1" fmla="val 23859"/>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Curved 99">
            <a:extLst>
              <a:ext uri="{FF2B5EF4-FFF2-40B4-BE49-F238E27FC236}">
                <a16:creationId xmlns:a16="http://schemas.microsoft.com/office/drawing/2014/main" id="{7428E69D-657D-562D-2DA4-D8C6B7BC0171}"/>
              </a:ext>
            </a:extLst>
          </p:cNvPr>
          <p:cNvCxnSpPr>
            <a:cxnSpLocks/>
            <a:stCxn id="76" idx="6"/>
            <a:endCxn id="84" idx="2"/>
          </p:cNvCxnSpPr>
          <p:nvPr/>
        </p:nvCxnSpPr>
        <p:spPr>
          <a:xfrm flipV="1">
            <a:off x="4543686" y="4020284"/>
            <a:ext cx="711710" cy="1396096"/>
          </a:xfrm>
          <a:prstGeom prst="curvedConnector3">
            <a:avLst>
              <a:gd name="adj1" fmla="val 3572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or: Curved 100">
            <a:extLst>
              <a:ext uri="{FF2B5EF4-FFF2-40B4-BE49-F238E27FC236}">
                <a16:creationId xmlns:a16="http://schemas.microsoft.com/office/drawing/2014/main" id="{2E1D2598-68A5-16AC-79E2-7136920D6AFA}"/>
              </a:ext>
            </a:extLst>
          </p:cNvPr>
          <p:cNvCxnSpPr>
            <a:cxnSpLocks/>
            <a:stCxn id="77" idx="6"/>
            <a:endCxn id="86" idx="2"/>
          </p:cNvCxnSpPr>
          <p:nvPr/>
        </p:nvCxnSpPr>
        <p:spPr>
          <a:xfrm flipV="1">
            <a:off x="4544732" y="4718332"/>
            <a:ext cx="712756" cy="1048239"/>
          </a:xfrm>
          <a:prstGeom prst="curvedConnector3">
            <a:avLst>
              <a:gd name="adj1" fmla="val 5285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Connector: Curved 101">
            <a:extLst>
              <a:ext uri="{FF2B5EF4-FFF2-40B4-BE49-F238E27FC236}">
                <a16:creationId xmlns:a16="http://schemas.microsoft.com/office/drawing/2014/main" id="{2307E89C-9D83-1513-5C16-26FE7C5D98C9}"/>
              </a:ext>
            </a:extLst>
          </p:cNvPr>
          <p:cNvCxnSpPr>
            <a:cxnSpLocks/>
            <a:stCxn id="78" idx="6"/>
            <a:endCxn id="88" idx="2"/>
          </p:cNvCxnSpPr>
          <p:nvPr/>
        </p:nvCxnSpPr>
        <p:spPr>
          <a:xfrm flipV="1">
            <a:off x="4545774" y="5416380"/>
            <a:ext cx="713806" cy="70038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00961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15" name="テキスト ボックス 1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また同じく心血管疾患の「脳血管疾患」も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上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ではないが、糖尿病、肥満等の生活習慣病の罹患率が高い</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され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6"/>
          <p:cNvSpPr>
            <a:spLocks noChangeArrowheads="1"/>
          </p:cNvSpPr>
          <p:nvPr/>
        </p:nvSpPr>
        <p:spPr bwMode="auto">
          <a:xfrm>
            <a:off x="1651000" y="211465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22" name="グループ化 7"/>
          <p:cNvGrpSpPr/>
          <p:nvPr/>
        </p:nvGrpSpPr>
        <p:grpSpPr>
          <a:xfrm>
            <a:off x="1651000" y="1844375"/>
            <a:ext cx="6048672" cy="288032"/>
            <a:chOff x="4803499" y="217002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499" y="217002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に見る主要疾患の内訳</a:t>
              </a:r>
              <a:r>
                <a:rPr lang="en-US" altLang="ja-JP" sz="1400" baseline="30000" dirty="0">
                  <a:solidFill>
                    <a:srgbClr val="000000"/>
                  </a:solidFill>
                  <a:latin typeface="Arial Black" pitchFamily="34" charset="0"/>
                  <a:ea typeface="HGP創英角ｺﾞｼｯｸUB" pitchFamily="50" charset="-128"/>
                </a:rPr>
                <a:t>※2</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25" name="表 24"/>
          <p:cNvGraphicFramePr>
            <a:graphicFrameLocks noGrp="1"/>
          </p:cNvGraphicFramePr>
          <p:nvPr>
            <p:extLst>
              <p:ext uri="{D42A27DB-BD31-4B8C-83A1-F6EECF244321}">
                <p14:modId xmlns:p14="http://schemas.microsoft.com/office/powerpoint/2010/main" val="3577395735"/>
              </p:ext>
            </p:extLst>
          </p:nvPr>
        </p:nvGraphicFramePr>
        <p:xfrm>
          <a:off x="2284552" y="2153886"/>
          <a:ext cx="2016224" cy="435240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26" name="Rectangle 6"/>
          <p:cNvSpPr>
            <a:spLocks noChangeArrowheads="1"/>
          </p:cNvSpPr>
          <p:nvPr/>
        </p:nvSpPr>
        <p:spPr bwMode="auto">
          <a:xfrm>
            <a:off x="4664968" y="2142518"/>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27" name="表 26"/>
          <p:cNvGraphicFramePr>
            <a:graphicFrameLocks noGrp="1"/>
          </p:cNvGraphicFramePr>
          <p:nvPr>
            <p:extLst>
              <p:ext uri="{D42A27DB-BD31-4B8C-83A1-F6EECF244321}">
                <p14:modId xmlns:p14="http://schemas.microsoft.com/office/powerpoint/2010/main" val="3888210102"/>
              </p:ext>
            </p:extLst>
          </p:nvPr>
        </p:nvGraphicFramePr>
        <p:xfrm>
          <a:off x="5683448" y="2181751"/>
          <a:ext cx="2016224" cy="173298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23.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9.8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7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6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28" name="Rectangle 6"/>
          <p:cNvSpPr>
            <a:spLocks noChangeArrowheads="1"/>
          </p:cNvSpPr>
          <p:nvPr/>
        </p:nvSpPr>
        <p:spPr bwMode="auto">
          <a:xfrm>
            <a:off x="4679485" y="4590481"/>
            <a:ext cx="2098600" cy="288032"/>
          </a:xfrm>
          <a:prstGeom prst="rect">
            <a:avLst/>
          </a:prstGeom>
          <a:noFill/>
          <a:ln w="9525">
            <a:noFill/>
            <a:miter lim="800000"/>
            <a:headEnd/>
            <a:tailEnd/>
          </a:ln>
        </p:spPr>
        <p:txBody>
          <a:bodyPr wrap="square" lIns="0" tIns="46800" rIns="0" bIns="7200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a:t>
            </a:r>
            <a:br>
              <a:rPr lang="ja-JP" altLang="en-US"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腎臓疾患</a:t>
            </a:r>
          </a:p>
        </p:txBody>
      </p:sp>
      <p:graphicFrame>
        <p:nvGraphicFramePr>
          <p:cNvPr id="29" name="表 28"/>
          <p:cNvGraphicFramePr>
            <a:graphicFrameLocks noGrp="1"/>
          </p:cNvGraphicFramePr>
          <p:nvPr>
            <p:extLst>
              <p:ext uri="{D42A27DB-BD31-4B8C-83A1-F6EECF244321}">
                <p14:modId xmlns:p14="http://schemas.microsoft.com/office/powerpoint/2010/main" val="2002707522"/>
              </p:ext>
            </p:extLst>
          </p:nvPr>
        </p:nvGraphicFramePr>
        <p:xfrm>
          <a:off x="5697965" y="4629714"/>
          <a:ext cx="2016224" cy="5804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5.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2.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31" name="テキスト ボックス 30"/>
          <p:cNvSpPr txBox="1"/>
          <p:nvPr/>
        </p:nvSpPr>
        <p:spPr>
          <a:xfrm>
            <a:off x="4808984" y="6165304"/>
            <a:ext cx="4902418" cy="461665"/>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ウジアラビア政府によると、糖尿病の罹患率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程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人程度の患者がいるとされ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肥満の人の割合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9.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割合は、全体の死亡要因を分母にしたもので、各特定疾患内における割合ではない。</a:t>
            </a:r>
          </a:p>
        </p:txBody>
      </p:sp>
      <p:sp>
        <p:nvSpPr>
          <p:cNvPr id="16" name="テキスト ボックス 115"/>
          <p:cNvSpPr txBox="1"/>
          <p:nvPr/>
        </p:nvSpPr>
        <p:spPr>
          <a:xfrm>
            <a:off x="198418" y="6618963"/>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639580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13" name="オブジェクト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費支払いプロセス</a:t>
            </a:r>
            <a:endParaRPr lang="en-US" altLang="ja-JP" dirty="0"/>
          </a:p>
        </p:txBody>
      </p:sp>
      <p:sp>
        <p:nvSpPr>
          <p:cNvPr id="25" name="テキスト ボックス 24"/>
          <p:cNvSpPr txBox="1"/>
          <p:nvPr/>
        </p:nvSpPr>
        <p:spPr>
          <a:xfrm>
            <a:off x="200472" y="1124744"/>
            <a:ext cx="9505056" cy="18887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サウジアラビア国内の民間企業に勤務するサウジアラビア人とその扶養家族は、医療費が有料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前は、全てのサウジアラビア人は、公的医療機関での受診は無料（民間医療機関での受診は有料）とされてい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しかし、後述の通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段階的に、民間企業に勤務するサウジアラビア人の健康保険が義務化されたことを受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は、サウジアラビア人であっても、健康保険対象者は、公的医療機関での医療費も有料となっ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務員やその家族等、健康保険の対象となっていないサウジアラビア人は、依然として公的医療機関では、無料で受診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は、有料で民間医療機関を受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では、加入する健康保険のグレードに応じて、受診可能な病院が定められており、保険のグレードに応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あたりの受診の際の支払額も定められている場合が多い（支払額は、定率ではなく定額とする健康保険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cs typeface="Arial" panose="020B0604020202020204" pitchFamily="34" charset="0"/>
              </a:rPr>
              <a:t>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1136650" y="3471180"/>
            <a:ext cx="7632698" cy="288032"/>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般的な健康保険サービスメニュー</a:t>
              </a:r>
            </a:p>
          </p:txBody>
        </p:sp>
      </p:grpSp>
      <p:sp>
        <p:nvSpPr>
          <p:cNvPr id="12" name="角丸四角形 11"/>
          <p:cNvSpPr/>
          <p:nvPr/>
        </p:nvSpPr>
        <p:spPr>
          <a:xfrm>
            <a:off x="1136651" y="3831220"/>
            <a:ext cx="7632698" cy="2118060"/>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サービスのグレードは</a:t>
            </a:r>
            <a:r>
              <a:rPr lang="en-US" altLang="ja-JP" sz="1200" dirty="0"/>
              <a:t>4 </a:t>
            </a:r>
            <a:r>
              <a:rPr lang="ja-JP" altLang="en-US" sz="1200" dirty="0"/>
              <a:t>段階（保険料は段階により、異な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最低年間上限額は、</a:t>
            </a:r>
            <a:r>
              <a:rPr lang="en-US" altLang="ja-JP" sz="1200" dirty="0"/>
              <a:t>250,000</a:t>
            </a:r>
            <a:r>
              <a:rPr lang="ja-JP" altLang="en-US" sz="1200" dirty="0"/>
              <a:t>リヤルで、最高額は</a:t>
            </a:r>
            <a:r>
              <a:rPr lang="en-US" altLang="ja-JP" sz="1200" dirty="0"/>
              <a:t>1,000,0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高いグレードのサービスでは、国内のみならず、国外でも保険が適用され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高いグレードのサービスでは個室（最高グレードではスイート）となり、安いサービスは共有部屋となる。</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入院限度額は年間上限額により決定され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t>12</a:t>
            </a:r>
            <a:r>
              <a:rPr lang="ja-JP" altLang="en-US" sz="1200" dirty="0"/>
              <a:t>歳以下の子供の付添も保障対象、妊娠、出産は期間内で上限</a:t>
            </a:r>
            <a:r>
              <a:rPr lang="en-US" altLang="ja-JP" sz="1200" dirty="0"/>
              <a:t>15,000</a:t>
            </a:r>
            <a:r>
              <a:rPr lang="ja-JP" altLang="en-US" sz="1200" dirty="0"/>
              <a:t>リヤルとなる点は、グレードを問わず共通である。</a:t>
            </a:r>
          </a:p>
        </p:txBody>
      </p:sp>
      <p:sp>
        <p:nvSpPr>
          <p:cNvPr id="14" name="正方形/長方形 10"/>
          <p:cNvSpPr/>
          <p:nvPr/>
        </p:nvSpPr>
        <p:spPr>
          <a:xfrm>
            <a:off x="7401270" y="652592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205001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13" name="オブジェクト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診療価格</a:t>
            </a:r>
            <a:endParaRPr lang="en-US" altLang="ja-JP" dirty="0"/>
          </a:p>
        </p:txBody>
      </p:sp>
      <p:sp>
        <p:nvSpPr>
          <p:cNvPr id="25" name="テキスト ボックス 24"/>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療価格は、</a:t>
            </a:r>
            <a:r>
              <a:rPr lang="ja-JP" altLang="en-US" sz="1400" dirty="0"/>
              <a:t>病院によって異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会社や病院によっても異なるため、一概には言えないが、民間医療機関における診療価格は、日本とほぼ同程度かそれ以上と認識している駐在員が多い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述の通り、民間医療機関では、加入する健康保険のグレードに応じて、受診可能な病院が定められており、保険のグレードに応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あたりの受診の際の支払額も定められている場合が多い（支払額は、定率ではなく定額とする健康保険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アイテックコンソーシアム「サウジアラビア王国 リヤド市における救急医療実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テルモコンソーシアム「中東地域日本式心臓カテーテル治療の海外展開事業化実証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8" name="グループ化 7"/>
          <p:cNvGrpSpPr/>
          <p:nvPr/>
        </p:nvGrpSpPr>
        <p:grpSpPr>
          <a:xfrm>
            <a:off x="2936774" y="3068960"/>
            <a:ext cx="4032450"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における診療価格の例</a:t>
              </a:r>
            </a:p>
          </p:txBody>
        </p:sp>
      </p:grpSp>
      <p:sp>
        <p:nvSpPr>
          <p:cNvPr id="11" name="角丸四角形 10"/>
          <p:cNvSpPr/>
          <p:nvPr/>
        </p:nvSpPr>
        <p:spPr>
          <a:xfrm>
            <a:off x="2936775" y="3429000"/>
            <a:ext cx="4032449" cy="1116340"/>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外来診療費：</a:t>
            </a:r>
            <a:r>
              <a:rPr lang="en-US" altLang="ja-JP" sz="1200" dirty="0"/>
              <a:t> 200</a:t>
            </a:r>
            <a:r>
              <a:rPr lang="ja-JP" altLang="en-US" sz="1200" dirty="0"/>
              <a:t>～</a:t>
            </a:r>
            <a:r>
              <a:rPr lang="en-US" altLang="ja-JP" sz="1200" dirty="0"/>
              <a:t>3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検査費（血液検査／回）：</a:t>
            </a:r>
            <a:r>
              <a:rPr lang="en-US" altLang="ja-JP" sz="1200" dirty="0"/>
              <a:t> 1,500</a:t>
            </a:r>
            <a:r>
              <a:rPr lang="ja-JP" altLang="en-US" sz="1200" dirty="0"/>
              <a:t>～</a:t>
            </a:r>
            <a:r>
              <a:rPr lang="en-US" altLang="ja-JP" sz="1200" dirty="0"/>
              <a:t>2,0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入院室費</a:t>
            </a:r>
            <a:r>
              <a:rPr lang="ja-JP" altLang="en-US" sz="1200" dirty="0">
                <a:solidFill>
                  <a:srgbClr val="000000"/>
                </a:solidFill>
                <a:sym typeface="Wingdings" panose="05000000000000000000" pitchFamily="2" charset="2"/>
              </a:rPr>
              <a:t>（</a:t>
            </a:r>
            <a:r>
              <a:rPr lang="en-US" altLang="ja-JP" sz="1200" dirty="0">
                <a:solidFill>
                  <a:srgbClr val="000000"/>
                </a:solidFill>
                <a:sym typeface="Wingdings" panose="05000000000000000000" pitchFamily="2" charset="2"/>
              </a:rPr>
              <a:t>1</a:t>
            </a:r>
            <a:r>
              <a:rPr lang="ja-JP" altLang="en-US" sz="1200" dirty="0">
                <a:solidFill>
                  <a:srgbClr val="000000"/>
                </a:solidFill>
                <a:sym typeface="Wingdings" panose="05000000000000000000" pitchFamily="2" charset="2"/>
              </a:rPr>
              <a:t>泊</a:t>
            </a:r>
            <a:r>
              <a:rPr lang="ja-JP" altLang="en-US" sz="1200" dirty="0">
                <a:solidFill>
                  <a:srgbClr val="000000"/>
                </a:solidFill>
              </a:rPr>
              <a:t>）：</a:t>
            </a:r>
            <a:r>
              <a:rPr lang="en-US" altLang="ja-JP" sz="1200" dirty="0"/>
              <a:t> 500</a:t>
            </a:r>
            <a:r>
              <a:rPr lang="ja-JP" altLang="en-US" sz="1200" dirty="0"/>
              <a:t>～</a:t>
            </a:r>
            <a:r>
              <a:rPr lang="en-US" altLang="ja-JP" sz="1200" dirty="0"/>
              <a:t>700</a:t>
            </a:r>
            <a:r>
              <a:rPr lang="ja-JP" altLang="en-US" sz="1200" dirty="0"/>
              <a:t>リヤル</a:t>
            </a:r>
            <a:endParaRPr lang="en-US" altLang="ja-JP" sz="1200" dirty="0">
              <a:solidFill>
                <a:srgbClr val="000000"/>
              </a:solidFill>
            </a:endParaRPr>
          </a:p>
        </p:txBody>
      </p:sp>
      <p:sp>
        <p:nvSpPr>
          <p:cNvPr id="14" name="正方形/長方形 10"/>
          <p:cNvSpPr/>
          <p:nvPr/>
        </p:nvSpPr>
        <p:spPr>
          <a:xfrm>
            <a:off x="7401270" y="664255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4021956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1"/>
            </p:custDataLst>
            <p:extLst>
              <p:ext uri="{D42A27DB-BD31-4B8C-83A1-F6EECF244321}">
                <p14:modId xmlns:p14="http://schemas.microsoft.com/office/powerpoint/2010/main" val="3841845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 imgW="360" imgH="360" progId="TCLayout.ActiveDocument.1">
                  <p:embed/>
                </p:oleObj>
              </mc:Choice>
              <mc:Fallback>
                <p:oleObj name="think-cellスライド" r:id="rId11" imgW="360" imgH="360" progId="TCLayout.ActiveDocument.1">
                  <p:embed/>
                  <p:pic>
                    <p:nvPicPr>
                      <p:cNvPr id="13" name="オブジェクト 1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公的病院は、「</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管轄病院」と「その他公的病院」に区分され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病院のうち、施設数では約</a:t>
            </a:r>
            <a:r>
              <a:rPr lang="en-US" altLang="ja-JP" sz="1400" dirty="0">
                <a:solidFill>
                  <a:srgbClr val="000000"/>
                </a:solidFill>
                <a:cs typeface="Arial" panose="020B0604020202020204" pitchFamily="34" charset="0"/>
              </a:rPr>
              <a:t>74%</a:t>
            </a:r>
            <a:r>
              <a:rPr lang="ja-JP" altLang="en-US" sz="1400" dirty="0">
                <a:solidFill>
                  <a:srgbClr val="000000"/>
                </a:solidFill>
                <a:cs typeface="Arial" panose="020B0604020202020204" pitchFamily="34" charset="0"/>
              </a:rPr>
              <a:t>、病床数では約</a:t>
            </a:r>
            <a:r>
              <a:rPr lang="en-US" altLang="ja-JP" sz="1400" dirty="0">
                <a:solidFill>
                  <a:srgbClr val="000000"/>
                </a:solidFill>
                <a:cs typeface="Arial" panose="020B0604020202020204" pitchFamily="34" charset="0"/>
              </a:rPr>
              <a:t>75%</a:t>
            </a:r>
            <a:r>
              <a:rPr lang="ja-JP" altLang="en-US" sz="1400" dirty="0">
                <a:solidFill>
                  <a:srgbClr val="000000"/>
                </a:solidFill>
                <a:cs typeface="Arial" panose="020B0604020202020204" pitchFamily="34" charset="0"/>
              </a:rPr>
              <a:t>を公的病院が占めている。</a:t>
            </a:r>
            <a:endParaRPr lang="en-US" altLang="ja-JP" sz="1400" dirty="0">
              <a:solidFill>
                <a:srgbClr val="000000"/>
              </a:solidFill>
              <a:cs typeface="Arial" panose="020B0604020202020204" pitchFamily="34" charset="0"/>
            </a:endParaRPr>
          </a:p>
        </p:txBody>
      </p:sp>
      <p:sp>
        <p:nvSpPr>
          <p:cNvPr id="37" name="テキスト ボックス 36"/>
          <p:cNvSpPr txBox="1"/>
          <p:nvPr/>
        </p:nvSpPr>
        <p:spPr>
          <a:xfrm>
            <a:off x="200025" y="6541982"/>
            <a:ext cx="6912768" cy="123111"/>
          </a:xfrm>
          <a:prstGeom prst="rect">
            <a:avLst/>
          </a:prstGeom>
          <a:noFill/>
        </p:spPr>
        <p:txBody>
          <a:bodyPr wrap="square" lIns="0" tIns="0" rIns="0" bIns="0" rtlCol="0">
            <a:spAutoFit/>
          </a:bodyPr>
          <a:lstStyle/>
          <a:p>
            <a:pPr marL="323850" indent="-323850"/>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4</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 JETRO</a:t>
            </a:r>
            <a:r>
              <a:rPr lang="ja-JP" altLang="en-US" sz="800" dirty="0">
                <a:solidFill>
                  <a:srgbClr val="000000"/>
                </a:solidFill>
                <a:cs typeface="Arial" panose="020B0604020202020204" pitchFamily="34" charset="0"/>
              </a:rPr>
              <a:t>「サウジアラビアの医療機器市場」（</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solidFill>
                <a:srgbClr val="000000"/>
              </a:solidFill>
              <a:cs typeface="Arial" panose="020B0604020202020204" pitchFamily="34" charset="0"/>
            </a:endParaRPr>
          </a:p>
        </p:txBody>
      </p:sp>
      <p:sp>
        <p:nvSpPr>
          <p:cNvPr id="29" name="正方形/長方形 28"/>
          <p:cNvSpPr/>
          <p:nvPr/>
        </p:nvSpPr>
        <p:spPr>
          <a:xfrm>
            <a:off x="200472" y="2132856"/>
            <a:ext cx="2592288" cy="4331006"/>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その他政府機関の病院には、大学病院や軍事病院、国家警備隊病院等が含まれる。</a:t>
            </a:r>
            <a:endParaRPr lang="en-US" altLang="ja-JP" sz="115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病院以外にも、プライマリヘルスケアセンター（</a:t>
            </a:r>
            <a:r>
              <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PHC</a:t>
            </a: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センター）や、透析センター、歯科センター、糖尿病センター等の機関がある。</a:t>
            </a:r>
            <a:endPar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公的病院は、</a:t>
            </a:r>
            <a:r>
              <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PHC</a:t>
            </a: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センターからの照会により治療を提供する。</a:t>
            </a:r>
            <a:endPar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8" name="片側の 2 つの角を丸めた四角形 37"/>
          <p:cNvSpPr/>
          <p:nvPr/>
        </p:nvSpPr>
        <p:spPr bwMode="auto">
          <a:xfrm>
            <a:off x="200472" y="1772816"/>
            <a:ext cx="2592288"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的医療機関</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9" name="片側の 2 つの角を丸めた四角形 38"/>
          <p:cNvSpPr/>
          <p:nvPr/>
        </p:nvSpPr>
        <p:spPr bwMode="auto">
          <a:xfrm>
            <a:off x="2864768" y="1772816"/>
            <a:ext cx="2592288"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0" name="正方形/長方形 39"/>
          <p:cNvSpPr/>
          <p:nvPr/>
        </p:nvSpPr>
        <p:spPr>
          <a:xfrm>
            <a:off x="2864768" y="2132856"/>
            <a:ext cx="2592288" cy="237626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3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rPr>
              <a:t>民間病院は、</a:t>
            </a:r>
            <a:r>
              <a:rPr lang="en-US" altLang="ja-JP" sz="1150" dirty="0">
                <a:solidFill>
                  <a:schemeClr val="tx1"/>
                </a:solidFill>
                <a:latin typeface="ＭＳ Ｐゴシック" panose="020B0600070205080204" pitchFamily="50" charset="-128"/>
                <a:ea typeface="ＭＳ Ｐゴシック" panose="020B0600070205080204" pitchFamily="50" charset="-128"/>
              </a:rPr>
              <a:t>167</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であり、民間病院の割合は、総病院数</a:t>
            </a:r>
            <a:r>
              <a:rPr lang="en-US" altLang="ja-JP" sz="1150" dirty="0">
                <a:solidFill>
                  <a:schemeClr val="tx1"/>
                </a:solidFill>
                <a:latin typeface="ＭＳ Ｐゴシック" panose="020B0600070205080204" pitchFamily="50" charset="-128"/>
                <a:ea typeface="ＭＳ Ｐゴシック" panose="020B0600070205080204" pitchFamily="50" charset="-128"/>
              </a:rPr>
              <a:t>504</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のうち</a:t>
            </a:r>
            <a:r>
              <a:rPr lang="en-US" altLang="ja-JP" sz="1150" dirty="0">
                <a:solidFill>
                  <a:schemeClr val="tx1"/>
                </a:solidFill>
                <a:latin typeface="ＭＳ Ｐゴシック" panose="020B0600070205080204" pitchFamily="50" charset="-128"/>
                <a:ea typeface="ＭＳ Ｐゴシック" panose="020B0600070205080204" pitchFamily="50" charset="-128"/>
              </a:rPr>
              <a:t>33%</a:t>
            </a:r>
            <a:r>
              <a:rPr lang="ja-JP" altLang="en-US" sz="1150" dirty="0">
                <a:solidFill>
                  <a:schemeClr val="tx1"/>
                </a:solidFill>
                <a:latin typeface="ＭＳ Ｐゴシック" panose="020B0600070205080204" pitchFamily="50" charset="-128"/>
                <a:ea typeface="ＭＳ Ｐゴシック" panose="020B0600070205080204" pitchFamily="50" charset="-128"/>
              </a:rPr>
              <a:t>を占めるにすぎない。</a:t>
            </a:r>
            <a:endParaRPr lang="en-US" altLang="ja-JP" sz="1150" dirty="0">
              <a:solidFill>
                <a:schemeClr val="tx1"/>
              </a:solidFill>
              <a:latin typeface="ＭＳ Ｐゴシック" panose="020B0600070205080204" pitchFamily="50" charset="-128"/>
              <a:ea typeface="ＭＳ Ｐゴシック" panose="020B0600070205080204" pitchFamily="50" charset="-128"/>
            </a:endParaRPr>
          </a:p>
          <a:p>
            <a:pPr marL="177800" indent="-177800" algn="just" fontAlgn="ctr">
              <a:lnSpc>
                <a:spcPct val="113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rPr>
              <a:t>診療所は、リヤドやジッダを中心に</a:t>
            </a:r>
            <a:r>
              <a:rPr lang="en-US" altLang="ja-JP" sz="1150" dirty="0">
                <a:solidFill>
                  <a:schemeClr val="tx1"/>
                </a:solidFill>
                <a:latin typeface="ＭＳ Ｐゴシック" panose="020B0600070205080204" pitchFamily="50" charset="-128"/>
                <a:ea typeface="ＭＳ Ｐゴシック" panose="020B0600070205080204" pitchFamily="50" charset="-128"/>
              </a:rPr>
              <a:t>3,005</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ある。</a:t>
            </a:r>
            <a:endParaRPr lang="en-US" altLang="ja-JP"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45" name="片側の 2 つの角を丸めた四角形 44"/>
          <p:cNvSpPr/>
          <p:nvPr/>
        </p:nvSpPr>
        <p:spPr>
          <a:xfrm>
            <a:off x="344488" y="4085044"/>
            <a:ext cx="2304256" cy="288032"/>
          </a:xfrm>
          <a:prstGeom prst="round2SameRect">
            <a:avLst/>
          </a:prstGeom>
          <a:solidFill>
            <a:srgbClr val="5F8AC3"/>
          </a:solidFill>
          <a:ln cmpd="sng">
            <a:noFill/>
          </a:ln>
        </p:spPr>
        <p:txBody>
          <a:bodyPr wrap="none" lIns="72000" tIns="0" rIns="72000" bIns="0" anchor="ctr" anchorCtr="0">
            <a:noAutofit/>
          </a:bodyPr>
          <a:lstStyle/>
          <a:p>
            <a:pPr algn="ctr" defTabSz="955675" fontAlgn="ctr">
              <a:buSzPct val="120000"/>
            </a:pPr>
            <a:r>
              <a:rPr lang="en-IN" altLang="ja-JP" sz="1200" b="1" dirty="0">
                <a:solidFill>
                  <a:schemeClr val="bg1"/>
                </a:solidFill>
                <a:latin typeface="ＭＳ Ｐゴシック" panose="020B0600070205080204" pitchFamily="50" charset="-128"/>
                <a:ea typeface="ＭＳ Ｐゴシック" panose="020B0600070205080204" pitchFamily="50" charset="-128"/>
              </a:rPr>
              <a:t>2024 </a:t>
            </a:r>
            <a:r>
              <a:rPr lang="ja-JP" altLang="en-US" sz="1200" b="1" dirty="0">
                <a:solidFill>
                  <a:schemeClr val="bg1"/>
                </a:solidFill>
                <a:latin typeface="ＭＳ Ｐゴシック" panose="020B0600070205080204" pitchFamily="50" charset="-128"/>
                <a:ea typeface="ＭＳ Ｐゴシック" panose="020B0600070205080204" pitchFamily="50" charset="-128"/>
              </a:rPr>
              <a:t>区分別公的医療施設数</a:t>
            </a:r>
            <a:r>
              <a:rPr lang="en-US" altLang="ja-JP" sz="1200" b="1" baseline="30000" dirty="0">
                <a:solidFill>
                  <a:schemeClr val="bg1"/>
                </a:solidFill>
                <a:latin typeface="ＭＳ Ｐゴシック" panose="020B0600070205080204" pitchFamily="50" charset="-128"/>
                <a:ea typeface="ＭＳ Ｐゴシック" panose="020B0600070205080204" pitchFamily="50" charset="-128"/>
              </a:rPr>
              <a:t>※1</a:t>
            </a:r>
            <a:endParaRPr lang="en-US" altLang="ko-KR" sz="1200" b="1" baseline="30000" dirty="0">
              <a:solidFill>
                <a:schemeClr val="bg1"/>
              </a:solidFill>
              <a:latin typeface="ＭＳ Ｐゴシック" panose="020B0600070205080204" pitchFamily="50" charset="-128"/>
              <a:ea typeface="ＭＳ Ｐゴシック" panose="020B0600070205080204" pitchFamily="50" charset="-128"/>
            </a:endParaRPr>
          </a:p>
        </p:txBody>
      </p:sp>
      <p:grpSp>
        <p:nvGrpSpPr>
          <p:cNvPr id="11" name="グループ化 10"/>
          <p:cNvGrpSpPr/>
          <p:nvPr/>
        </p:nvGrpSpPr>
        <p:grpSpPr>
          <a:xfrm>
            <a:off x="3006252" y="4085044"/>
            <a:ext cx="2309320" cy="864096"/>
            <a:chOff x="3008784" y="4077072"/>
            <a:chExt cx="2309320" cy="864096"/>
          </a:xfrm>
        </p:grpSpPr>
        <p:sp>
          <p:nvSpPr>
            <p:cNvPr id="41" name="Rectangle 13"/>
            <p:cNvSpPr>
              <a:spLocks noChangeArrowheads="1"/>
            </p:cNvSpPr>
            <p:nvPr/>
          </p:nvSpPr>
          <p:spPr bwMode="blackWhite">
            <a:xfrm>
              <a:off x="3008784" y="4365104"/>
              <a:ext cx="1152128" cy="28906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IN" altLang="ja-JP" sz="1050" b="1" dirty="0">
                  <a:latin typeface="+mn-ea"/>
                  <a:ea typeface="+mn-ea"/>
                </a:rPr>
                <a:t>(2024) </a:t>
              </a:r>
              <a:r>
                <a:rPr lang="ja-JP" altLang="en-US" sz="1050" b="1" dirty="0">
                  <a:latin typeface="+mn-ea"/>
                  <a:ea typeface="+mn-ea"/>
                </a:rPr>
                <a:t>病院</a:t>
              </a:r>
            </a:p>
          </p:txBody>
        </p:sp>
        <p:sp>
          <p:nvSpPr>
            <p:cNvPr id="42" name="Rectangle 13"/>
            <p:cNvSpPr>
              <a:spLocks noChangeArrowheads="1"/>
            </p:cNvSpPr>
            <p:nvPr/>
          </p:nvSpPr>
          <p:spPr bwMode="blackWhite">
            <a:xfrm>
              <a:off x="3008784" y="4653136"/>
              <a:ext cx="1152128"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IN" altLang="ja-JP" sz="1050" b="1" dirty="0">
                  <a:latin typeface="+mn-ea"/>
                  <a:ea typeface="+mn-ea"/>
                </a:rPr>
                <a:t>(2020)</a:t>
              </a:r>
              <a:r>
                <a:rPr lang="ja-JP" altLang="en-US" sz="1050" b="1" dirty="0">
                  <a:latin typeface="+mn-ea"/>
                  <a:ea typeface="+mn-ea"/>
                </a:rPr>
                <a:t>診療所</a:t>
              </a:r>
              <a:r>
                <a:rPr lang="en-US" altLang="ja-JP" sz="1050" b="1" baseline="30000" dirty="0">
                  <a:latin typeface="+mn-ea"/>
                  <a:ea typeface="+mn-ea"/>
                </a:rPr>
                <a:t>※2</a:t>
              </a:r>
              <a:endParaRPr lang="ja-JP" altLang="en-US" sz="1050" b="1" baseline="30000" dirty="0">
                <a:latin typeface="+mn-ea"/>
                <a:ea typeface="+mn-ea"/>
              </a:endParaRPr>
            </a:p>
          </p:txBody>
        </p:sp>
        <p:sp>
          <p:nvSpPr>
            <p:cNvPr id="43" name="正方形/長方形 42"/>
            <p:cNvSpPr/>
            <p:nvPr/>
          </p:nvSpPr>
          <p:spPr>
            <a:xfrm>
              <a:off x="4165976" y="4365104"/>
              <a:ext cx="1152128" cy="288000"/>
            </a:xfrm>
            <a:prstGeom prst="rect">
              <a:avLst/>
            </a:prstGeom>
            <a:solidFill>
              <a:srgbClr val="E8E8E8"/>
            </a:solidFill>
            <a:ln cmpd="sng">
              <a:noFill/>
            </a:ln>
          </p:spPr>
          <p:txBody>
            <a:bodyPr wrap="square" rtlCol="0" anchor="ctr">
              <a:noAutofit/>
            </a:bodyPr>
            <a:lstStyle/>
            <a:p>
              <a:pPr algn="r"/>
              <a:r>
                <a:rPr lang="en-US" altLang="ja-JP" sz="1200" dirty="0"/>
                <a:t>166</a:t>
              </a:r>
            </a:p>
          </p:txBody>
        </p:sp>
        <p:sp>
          <p:nvSpPr>
            <p:cNvPr id="44" name="正方形/長方形 43"/>
            <p:cNvSpPr/>
            <p:nvPr/>
          </p:nvSpPr>
          <p:spPr>
            <a:xfrm>
              <a:off x="4165976" y="4653136"/>
              <a:ext cx="1152128" cy="288000"/>
            </a:xfrm>
            <a:prstGeom prst="rect">
              <a:avLst/>
            </a:prstGeom>
            <a:solidFill>
              <a:srgbClr val="E8E8E8"/>
            </a:solidFill>
            <a:ln cmpd="sng">
              <a:noFill/>
            </a:ln>
          </p:spPr>
          <p:txBody>
            <a:bodyPr wrap="square" rtlCol="0" anchor="ctr">
              <a:noAutofit/>
            </a:bodyPr>
            <a:lstStyle/>
            <a:p>
              <a:pPr algn="r"/>
              <a:r>
                <a:rPr lang="en-US" altLang="ja-JP" sz="1200" dirty="0"/>
                <a:t>3,005</a:t>
              </a:r>
              <a:endParaRPr kumimoji="1"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片側の 2 つの角を丸めた四角形 46"/>
            <p:cNvSpPr/>
            <p:nvPr/>
          </p:nvSpPr>
          <p:spPr>
            <a:xfrm>
              <a:off x="3008784" y="4077072"/>
              <a:ext cx="2304256" cy="288032"/>
            </a:xfrm>
            <a:prstGeom prst="round2SameRect">
              <a:avLst/>
            </a:prstGeom>
            <a:solidFill>
              <a:srgbClr val="5F8AC3"/>
            </a:solidFill>
            <a:ln cmpd="sng">
              <a:noFill/>
            </a:ln>
          </p:spPr>
          <p:txBody>
            <a:bodyPr wrap="none" lIns="72000" tIns="0" rIns="72000" bIns="0" anchor="ctr" anchorCtr="0">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区分別民間医療機関数</a:t>
              </a:r>
              <a:r>
                <a:rPr lang="en-US" altLang="ja-JP" sz="1200" b="1" baseline="30000" dirty="0">
                  <a:solidFill>
                    <a:schemeClr val="bg1"/>
                  </a:solidFill>
                  <a:latin typeface="ＭＳ Ｐゴシック" panose="020B0600070205080204" pitchFamily="50" charset="-128"/>
                  <a:ea typeface="ＭＳ Ｐゴシック" panose="020B0600070205080204" pitchFamily="50" charset="-128"/>
                </a:rPr>
                <a:t>※1</a:t>
              </a:r>
              <a:endParaRPr lang="en-US" altLang="ko-KR" sz="1200" b="1" baseline="30000" dirty="0">
                <a:solidFill>
                  <a:schemeClr val="bg1"/>
                </a:solidFill>
                <a:latin typeface="ＭＳ Ｐゴシック" panose="020B0600070205080204" pitchFamily="50" charset="-128"/>
                <a:ea typeface="ＭＳ Ｐゴシック" panose="020B0600070205080204" pitchFamily="50" charset="-128"/>
              </a:endParaRPr>
            </a:p>
          </p:txBody>
        </p:sp>
      </p:grpSp>
      <p:graphicFrame>
        <p:nvGraphicFramePr>
          <p:cNvPr id="48" name="表 47"/>
          <p:cNvGraphicFramePr>
            <a:graphicFrameLocks noGrp="1"/>
          </p:cNvGraphicFramePr>
          <p:nvPr>
            <p:extLst>
              <p:ext uri="{D42A27DB-BD31-4B8C-83A1-F6EECF244321}">
                <p14:modId xmlns:p14="http://schemas.microsoft.com/office/powerpoint/2010/main" val="3167910222"/>
              </p:ext>
            </p:extLst>
          </p:nvPr>
        </p:nvGraphicFramePr>
        <p:xfrm>
          <a:off x="344488" y="4373076"/>
          <a:ext cx="2276315" cy="2080260"/>
        </p:xfrm>
        <a:graphic>
          <a:graphicData uri="http://schemas.openxmlformats.org/drawingml/2006/table">
            <a:tbl>
              <a:tblPr firstRow="1" bandRow="1">
                <a:tableStyleId>{2D5ABB26-0587-4C30-8999-92F81FD0307C}</a:tableStyleId>
              </a:tblPr>
              <a:tblGrid>
                <a:gridCol w="437688">
                  <a:extLst>
                    <a:ext uri="{9D8B030D-6E8A-4147-A177-3AD203B41FA5}">
                      <a16:colId xmlns:a16="http://schemas.microsoft.com/office/drawing/2014/main" val="20000"/>
                    </a:ext>
                  </a:extLst>
                </a:gridCol>
                <a:gridCol w="1094912">
                  <a:extLst>
                    <a:ext uri="{9D8B030D-6E8A-4147-A177-3AD203B41FA5}">
                      <a16:colId xmlns:a16="http://schemas.microsoft.com/office/drawing/2014/main" val="20001"/>
                    </a:ext>
                  </a:extLst>
                </a:gridCol>
                <a:gridCol w="743715">
                  <a:extLst>
                    <a:ext uri="{9D8B030D-6E8A-4147-A177-3AD203B41FA5}">
                      <a16:colId xmlns:a16="http://schemas.microsoft.com/office/drawing/2014/main" val="20002"/>
                    </a:ext>
                  </a:extLst>
                </a:gridCol>
              </a:tblGrid>
              <a:tr h="60317">
                <a:tc rowSpan="2">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ja-JP" altLang="en-US" sz="1050" b="1" kern="1200" dirty="0">
                          <a:solidFill>
                            <a:schemeClr val="tx1"/>
                          </a:solidFill>
                          <a:latin typeface="+mn-ea"/>
                          <a:ea typeface="+mn-ea"/>
                          <a:cs typeface="+mn-cs"/>
                        </a:rPr>
                        <a:t>病院</a:t>
                      </a: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A2BBDC"/>
                    </a:solidFill>
                  </a:tcPr>
                </a:tc>
                <a:tc>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en-US" altLang="ja-JP" sz="1050" b="1" kern="1200" noProof="0" dirty="0">
                          <a:solidFill>
                            <a:schemeClr val="tx1"/>
                          </a:solidFill>
                          <a:latin typeface="+mn-ea"/>
                          <a:ea typeface="+mn-ea"/>
                          <a:cs typeface="+mn-cs"/>
                        </a:rPr>
                        <a:t>MOH</a:t>
                      </a:r>
                      <a:r>
                        <a:rPr kumimoji="1" lang="ja-JP" altLang="en-US" sz="1050" b="1" kern="1200" noProof="0" dirty="0">
                          <a:solidFill>
                            <a:schemeClr val="tx1"/>
                          </a:solidFill>
                          <a:latin typeface="+mn-ea"/>
                          <a:ea typeface="+mn-ea"/>
                          <a:cs typeface="+mn-cs"/>
                        </a:rPr>
                        <a:t>管轄</a:t>
                      </a: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297</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60317">
                <a:tc vMerge="1">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ja-JP" altLang="en-US" sz="1050" b="1" kern="1200" dirty="0">
                          <a:solidFill>
                            <a:schemeClr val="tx1"/>
                          </a:solidFill>
                          <a:latin typeface="+mn-ea"/>
                          <a:ea typeface="+mn-ea"/>
                          <a:cs typeface="+mn-cs"/>
                        </a:rPr>
                        <a:t>その他政府機関</a:t>
                      </a: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60</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60317">
                <a:tc gridSpan="2">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en-US" altLang="ja-JP" sz="1050" b="1" kern="1200" dirty="0">
                          <a:solidFill>
                            <a:schemeClr val="tx1"/>
                          </a:solidFill>
                          <a:latin typeface="+mn-ea"/>
                          <a:ea typeface="+mn-ea"/>
                          <a:cs typeface="+mn-cs"/>
                        </a:rPr>
                        <a:t>PHC</a:t>
                      </a:r>
                      <a:r>
                        <a:rPr kumimoji="1" lang="ja-JP" altLang="en-US" sz="1050" b="1" kern="1200" dirty="0">
                          <a:solidFill>
                            <a:schemeClr val="tx1"/>
                          </a:solidFill>
                          <a:latin typeface="+mn-ea"/>
                          <a:ea typeface="+mn-ea"/>
                          <a:cs typeface="+mn-cs"/>
                        </a:rPr>
                        <a:t>センター</a:t>
                      </a: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2,172</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透析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25</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禁煙クリニック</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608</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歯科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44</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入国時保健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41</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糖尿病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31</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法医学</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0</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リハビリ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1</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中央研究所</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7</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48329">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心臓病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2</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がん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8</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solidFill>
                      <a:srgbClr val="E8E8E8"/>
                    </a:solidFill>
                  </a:tcPr>
                </a:tc>
                <a:extLst>
                  <a:ext uri="{0D108BD9-81ED-4DB2-BD59-A6C34878D82A}">
                    <a16:rowId xmlns:a16="http://schemas.microsoft.com/office/drawing/2014/main" val="10012"/>
                  </a:ext>
                </a:extLst>
              </a:tr>
            </a:tbl>
          </a:graphicData>
        </a:graphic>
      </p:graphicFrame>
      <p:grpSp>
        <p:nvGrpSpPr>
          <p:cNvPr id="49" name="グループ化 48"/>
          <p:cNvGrpSpPr/>
          <p:nvPr/>
        </p:nvGrpSpPr>
        <p:grpSpPr>
          <a:xfrm>
            <a:off x="5601073" y="1844824"/>
            <a:ext cx="4104456" cy="288032"/>
            <a:chOff x="4803500" y="2113806"/>
            <a:chExt cx="2954133" cy="288032"/>
          </a:xfrm>
        </p:grpSpPr>
        <p:cxnSp>
          <p:nvCxnSpPr>
            <p:cNvPr id="50" name="直線コネクタ 4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区分別の病床数（</a:t>
              </a:r>
              <a:r>
                <a:rPr lang="en-US" altLang="ja-JP" sz="1400" dirty="0">
                  <a:solidFill>
                    <a:srgbClr val="000000"/>
                  </a:solidFill>
                  <a:latin typeface="Arial Black" pitchFamily="34" charset="0"/>
                  <a:ea typeface="HGP創英角ｺﾞｼｯｸUB" pitchFamily="50" charset="-128"/>
                </a:rPr>
                <a:t>2024</a:t>
              </a:r>
              <a:r>
                <a:rPr lang="ja-JP" altLang="en-US" sz="1400" dirty="0">
                  <a:solidFill>
                    <a:srgbClr val="000000"/>
                  </a:solidFill>
                  <a:latin typeface="Arial Black" pitchFamily="34" charset="0"/>
                  <a:ea typeface="HGP創英角ｺﾞｼｯｸUB" pitchFamily="50" charset="-128"/>
                </a:rPr>
                <a:t>年時点）</a:t>
              </a:r>
              <a:endParaRPr lang="en-US" altLang="ko-KR" sz="1400" dirty="0">
                <a:solidFill>
                  <a:srgbClr val="000000"/>
                </a:solidFill>
                <a:latin typeface="Arial Black" pitchFamily="34" charset="0"/>
                <a:ea typeface="HGP創英角ｺﾞｼｯｸUB" pitchFamily="50" charset="-128"/>
              </a:endParaRPr>
            </a:p>
          </p:txBody>
        </p:sp>
      </p:grpSp>
      <p:sp>
        <p:nvSpPr>
          <p:cNvPr id="25" name="テキスト ボックス 24"/>
          <p:cNvSpPr txBox="1"/>
          <p:nvPr/>
        </p:nvSpPr>
        <p:spPr>
          <a:xfrm>
            <a:off x="2896303" y="6207115"/>
            <a:ext cx="3712881" cy="246221"/>
          </a:xfrm>
          <a:prstGeom prst="rect">
            <a:avLst/>
          </a:prstGeom>
          <a:noFill/>
        </p:spPr>
        <p:txBody>
          <a:bodyPr wrap="square" lIns="0" tIns="0" rIns="0" bIns="0" rtlCol="0">
            <a:spAutoFit/>
          </a:bodyPr>
          <a:lstStyle/>
          <a:p>
            <a:r>
              <a:rPr lang="en-US" altLang="ja-JP" sz="800" dirty="0">
                <a:solidFill>
                  <a:srgbClr val="000000"/>
                </a:solidFill>
                <a:cs typeface="Arial" panose="020B0604020202020204" pitchFamily="34" charset="0"/>
              </a:rPr>
              <a:t>※1</a:t>
            </a:r>
            <a:r>
              <a:rPr lang="en-US" altLang="ja-JP" sz="800" dirty="0">
                <a:solidFill>
                  <a:srgbClr val="000000"/>
                </a:solidFill>
              </a:rPr>
              <a:t> </a:t>
            </a:r>
            <a:r>
              <a:rPr lang="ja-JP" altLang="en-US" sz="800" dirty="0">
                <a:solidFill>
                  <a:srgbClr val="000000"/>
                </a:solidFill>
              </a:rPr>
              <a:t>公的医療施設数、民間医療機関数は、いずれも</a:t>
            </a:r>
            <a:r>
              <a:rPr lang="en-US" altLang="ja-JP" sz="800" dirty="0">
                <a:solidFill>
                  <a:srgbClr val="000000"/>
                </a:solidFill>
              </a:rPr>
              <a:t>2020</a:t>
            </a:r>
            <a:r>
              <a:rPr lang="ja-JP" altLang="en-US" sz="800" dirty="0">
                <a:solidFill>
                  <a:srgbClr val="000000"/>
                </a:solidFill>
              </a:rPr>
              <a:t>年時点のもの。</a:t>
            </a:r>
            <a:endParaRPr lang="en-US" altLang="ja-JP" sz="800" dirty="0">
              <a:solidFill>
                <a:srgbClr val="000000"/>
              </a:solidFill>
            </a:endParaRPr>
          </a:p>
          <a:p>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病院と診療所違いは、入院施設（病床）の有無で、診療所には入院施設がない。</a:t>
            </a:r>
          </a:p>
        </p:txBody>
      </p:sp>
      <p:graphicFrame>
        <p:nvGraphicFramePr>
          <p:cNvPr id="46" name="Chart 45">
            <a:extLst>
              <a:ext uri="{FF2B5EF4-FFF2-40B4-BE49-F238E27FC236}">
                <a16:creationId xmlns:a16="http://schemas.microsoft.com/office/drawing/2014/main" id="{B923A47A-91C4-E9A7-06EC-63B0F056A558}"/>
              </a:ext>
            </a:extLst>
          </p:cNvPr>
          <p:cNvGraphicFramePr/>
          <p:nvPr>
            <p:custDataLst>
              <p:tags r:id="rId2"/>
            </p:custDataLst>
            <p:extLst>
              <p:ext uri="{D42A27DB-BD31-4B8C-83A1-F6EECF244321}">
                <p14:modId xmlns:p14="http://schemas.microsoft.com/office/powerpoint/2010/main" val="1269684661"/>
              </p:ext>
            </p:extLst>
          </p:nvPr>
        </p:nvGraphicFramePr>
        <p:xfrm>
          <a:off x="6094413" y="2649538"/>
          <a:ext cx="3022600" cy="3022600"/>
        </p:xfrm>
        <a:graphic>
          <a:graphicData uri="http://schemas.openxmlformats.org/drawingml/2006/chart">
            <c:chart xmlns:c="http://schemas.openxmlformats.org/drawingml/2006/chart" xmlns:r="http://schemas.openxmlformats.org/officeDocument/2006/relationships" r:id="rId13"/>
          </a:graphicData>
        </a:graphic>
      </p:graphicFrame>
      <p:sp>
        <p:nvSpPr>
          <p:cNvPr id="72" name="テキスト プレースホルダ 9">
            <a:extLst>
              <a:ext uri="{FF2B5EF4-FFF2-40B4-BE49-F238E27FC236}">
                <a16:creationId xmlns:a16="http://schemas.microsoft.com/office/drawing/2014/main" id="{D7D8A891-4AB4-45CA-A0B6-4602D49E6FB8}"/>
              </a:ext>
            </a:extLst>
          </p:cNvPr>
          <p:cNvSpPr>
            <a:spLocks noGrp="1"/>
          </p:cNvSpPr>
          <p:nvPr>
            <p:custDataLst>
              <p:tags r:id="rId3"/>
            </p:custDataLst>
          </p:nvPr>
        </p:nvSpPr>
        <p:spPr bwMode="gray">
          <a:xfrm>
            <a:off x="8307388" y="4171950"/>
            <a:ext cx="6715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57A282-D28F-4454-9338-9CC26219A2F9}" type="datetime'4''''''6'''',''''9''''''''''''''''0''''''''''''3'">
              <a:rPr lang="en-US" altLang="en-US" sz="1400" smtClean="0">
                <a:solidFill>
                  <a:schemeClr val="bg1"/>
                </a:solidFill>
              </a:rPr>
              <a:pPr/>
              <a:t>46,903</a:t>
            </a:fld>
            <a:br>
              <a:rPr lang="en-US" altLang="en-US" sz="1400">
                <a:solidFill>
                  <a:schemeClr val="bg1"/>
                </a:solidFill>
                <a:effectLst/>
              </a:rPr>
            </a:br>
            <a:r>
              <a:rPr lang="en-US" altLang="en-US" sz="1400">
                <a:solidFill>
                  <a:schemeClr val="bg1"/>
                </a:solidFill>
                <a:effectLst/>
              </a:rPr>
              <a:t>(</a:t>
            </a:r>
            <a:fld id="{37C45DA0-C8A1-482E-B823-5751992E104E}" type="datetime'''''''5''''''''''6''.''''''''''7''''''''''''''''''''%'''">
              <a:rPr lang="en-US" altLang="en-US" sz="1400" smtClean="0">
                <a:solidFill>
                  <a:schemeClr val="bg1"/>
                </a:solidFill>
              </a:rPr>
              <a:pPr/>
              <a:t>56.7%</a:t>
            </a:fld>
            <a:r>
              <a:rPr lang="en-US" altLang="ja-JP" sz="1400">
                <a:solidFill>
                  <a:schemeClr val="bg1"/>
                </a:solidFill>
              </a:rPr>
              <a:t>)</a:t>
            </a:r>
            <a:endParaRPr lang="ja-JP" altLang="en-US" sz="1400" dirty="0">
              <a:solidFill>
                <a:schemeClr val="bg1"/>
              </a:solidFill>
            </a:endParaRPr>
          </a:p>
        </p:txBody>
      </p:sp>
      <p:sp>
        <p:nvSpPr>
          <p:cNvPr id="26" name="テキスト プレースホルダ 9">
            <a:extLst>
              <a:ext uri="{FF2B5EF4-FFF2-40B4-BE49-F238E27FC236}">
                <a16:creationId xmlns:a16="http://schemas.microsoft.com/office/drawing/2014/main" id="{C4784EFC-9560-4D4A-A94F-6C24076F1010}"/>
              </a:ext>
            </a:extLst>
          </p:cNvPr>
          <p:cNvSpPr>
            <a:spLocks noGrp="1"/>
          </p:cNvSpPr>
          <p:nvPr>
            <p:custDataLst>
              <p:tags r:id="rId4"/>
            </p:custDataLst>
          </p:nvPr>
        </p:nvSpPr>
        <p:spPr bwMode="auto">
          <a:xfrm>
            <a:off x="9061450" y="4398963"/>
            <a:ext cx="660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7E8318-5077-4F9D-AB31-330D51A4B456}" type="datetime'M''OH''''''''''''''''''管轄'''''''''''''">
              <a:rPr lang="en-US" altLang="en-US" sz="1200" smtClean="0"/>
              <a:pPr marL="0" indent="0">
                <a:spcBef>
                  <a:spcPct val="0"/>
                </a:spcBef>
                <a:buNone/>
              </a:pPr>
              <a:t>MOH管轄</a:t>
            </a:fld>
            <a:endParaRPr lang="ja-JP" altLang="en-US" sz="1200" dirty="0"/>
          </a:p>
        </p:txBody>
      </p:sp>
      <p:sp>
        <p:nvSpPr>
          <p:cNvPr id="73" name="テキスト プレースホルダ 9">
            <a:extLst>
              <a:ext uri="{FF2B5EF4-FFF2-40B4-BE49-F238E27FC236}">
                <a16:creationId xmlns:a16="http://schemas.microsoft.com/office/drawing/2014/main" id="{E9A284CA-E15B-4734-8828-578CA653F024}"/>
              </a:ext>
            </a:extLst>
          </p:cNvPr>
          <p:cNvSpPr>
            <a:spLocks noGrp="1"/>
          </p:cNvSpPr>
          <p:nvPr>
            <p:custDataLst>
              <p:tags r:id="rId5"/>
            </p:custDataLst>
          </p:nvPr>
        </p:nvSpPr>
        <p:spPr bwMode="gray">
          <a:xfrm>
            <a:off x="6394450" y="4510088"/>
            <a:ext cx="671513" cy="42545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A8C1F3-590A-4D8F-A1D1-0401628CE7B2}" type="datetime'''''''''''''1''''5'',''''''''''''''1''3''''''''''8'">
              <a:rPr lang="en-US" altLang="en-US" sz="1400" smtClean="0"/>
              <a:pPr/>
              <a:t>15,138</a:t>
            </a:fld>
            <a:br>
              <a:rPr lang="en-US" altLang="en-US" sz="1400">
                <a:effectLst/>
              </a:rPr>
            </a:br>
            <a:r>
              <a:rPr lang="en-US" altLang="en-US" sz="1400">
                <a:effectLst/>
              </a:rPr>
              <a:t>(</a:t>
            </a:r>
            <a:fld id="{E962F0B2-03E3-442B-AE16-C18D80698EDD}" type="datetime'''''1''''''''8''''''''.''''3%'''''''''''">
              <a:rPr lang="en-US" altLang="en-US" sz="1400" smtClean="0"/>
              <a:pPr/>
              <a:t>18.3%</a:t>
            </a:fld>
            <a:r>
              <a:rPr lang="en-US" altLang="ja-JP" sz="1400"/>
              <a:t>)</a:t>
            </a:r>
            <a:endParaRPr lang="ja-JP" altLang="en-US" sz="1400" dirty="0"/>
          </a:p>
        </p:txBody>
      </p:sp>
      <p:sp>
        <p:nvSpPr>
          <p:cNvPr id="27" name="テキスト プレースホルダ 9">
            <a:extLst>
              <a:ext uri="{FF2B5EF4-FFF2-40B4-BE49-F238E27FC236}">
                <a16:creationId xmlns:a16="http://schemas.microsoft.com/office/drawing/2014/main" id="{619CDD6C-DDAD-47E1-9FF0-0E92F3537C21}"/>
              </a:ext>
            </a:extLst>
          </p:cNvPr>
          <p:cNvSpPr>
            <a:spLocks noGrp="1"/>
          </p:cNvSpPr>
          <p:nvPr>
            <p:custDataLst>
              <p:tags r:id="rId6"/>
            </p:custDataLst>
          </p:nvPr>
        </p:nvSpPr>
        <p:spPr bwMode="auto">
          <a:xfrm>
            <a:off x="5602288" y="4924425"/>
            <a:ext cx="750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28520B5-8F95-4080-B239-A405911907E6}" type="datetime'そ''の''''他''''''''''''''''''''''''''公''''''''的'''''">
              <a:rPr lang="ja-JP" altLang="en-US" sz="1200" smtClean="0"/>
              <a:pPr marL="0" indent="0" algn="r">
                <a:spcBef>
                  <a:spcPct val="0"/>
                </a:spcBef>
                <a:buNone/>
              </a:pPr>
              <a:t>その他公的</a:t>
            </a:fld>
            <a:endParaRPr lang="ja-JP" altLang="en-US" sz="1200" dirty="0"/>
          </a:p>
        </p:txBody>
      </p:sp>
      <p:sp>
        <p:nvSpPr>
          <p:cNvPr id="74" name="テキスト プレースホルダ 9">
            <a:extLst>
              <a:ext uri="{FF2B5EF4-FFF2-40B4-BE49-F238E27FC236}">
                <a16:creationId xmlns:a16="http://schemas.microsoft.com/office/drawing/2014/main" id="{31CC8F24-6C9C-4E04-8D33-0ECF403E82B5}"/>
              </a:ext>
            </a:extLst>
          </p:cNvPr>
          <p:cNvSpPr>
            <a:spLocks noGrp="1"/>
          </p:cNvSpPr>
          <p:nvPr>
            <p:custDataLst>
              <p:tags r:id="rId7"/>
            </p:custDataLst>
          </p:nvPr>
        </p:nvSpPr>
        <p:spPr bwMode="gray">
          <a:xfrm>
            <a:off x="6534150" y="3206750"/>
            <a:ext cx="671513" cy="42545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B29B85-EED3-4BE8-BBA6-6596A40BF078}" type="datetime'2''''''''0'',''''5''''''''''''''''''''98'''''''">
              <a:rPr lang="en-US" altLang="en-US" sz="1400" smtClean="0"/>
              <a:pPr/>
              <a:t>20,598</a:t>
            </a:fld>
            <a:br>
              <a:rPr lang="en-US" altLang="en-US" sz="1400">
                <a:effectLst/>
              </a:rPr>
            </a:br>
            <a:r>
              <a:rPr lang="en-US" altLang="en-US" sz="1400">
                <a:effectLst/>
              </a:rPr>
              <a:t>(</a:t>
            </a:r>
            <a:fld id="{5913162E-D1D3-427F-8963-4F3644E79C6E}" type="datetime'''''''2''''''''''4''.''''9''''''''''''''''''''%'''''''''">
              <a:rPr lang="en-US" altLang="en-US" sz="1400" smtClean="0"/>
              <a:pPr/>
              <a:t>24.9%</a:t>
            </a:fld>
            <a:r>
              <a:rPr lang="en-US" altLang="ja-JP" sz="1400"/>
              <a:t>)</a:t>
            </a:r>
            <a:endParaRPr lang="ja-JP" altLang="en-US" sz="1400" dirty="0"/>
          </a:p>
        </p:txBody>
      </p:sp>
      <p:sp>
        <p:nvSpPr>
          <p:cNvPr id="28" name="テキスト プレースホルダ 9">
            <a:extLst>
              <a:ext uri="{FF2B5EF4-FFF2-40B4-BE49-F238E27FC236}">
                <a16:creationId xmlns:a16="http://schemas.microsoft.com/office/drawing/2014/main" id="{81ABC251-E697-4AAA-974F-B214E73B2CC5}"/>
              </a:ext>
            </a:extLst>
          </p:cNvPr>
          <p:cNvSpPr>
            <a:spLocks noGrp="1"/>
          </p:cNvSpPr>
          <p:nvPr>
            <p:custDataLst>
              <p:tags r:id="rId8"/>
            </p:custDataLst>
          </p:nvPr>
        </p:nvSpPr>
        <p:spPr bwMode="auto">
          <a:xfrm>
            <a:off x="6267450" y="2947988"/>
            <a:ext cx="304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AF84FF-8708-45A0-9F25-01FE2E8BE7E4}" type="datetime'''''''''''''''''民''間'''''''''">
              <a:rPr lang="ja-JP" altLang="en-US" sz="1200" smtClean="0"/>
              <a:pPr marL="0" indent="0" algn="r">
                <a:spcBef>
                  <a:spcPct val="0"/>
                </a:spcBef>
                <a:buNone/>
              </a:pPr>
              <a:t>民間</a:t>
            </a:fld>
            <a:endParaRPr lang="ja-JP" altLang="en-US" sz="1200" dirty="0"/>
          </a:p>
        </p:txBody>
      </p:sp>
    </p:spTree>
    <p:extLst>
      <p:ext uri="{BB962C8B-B14F-4D97-AF65-F5344CB8AC3E}">
        <p14:creationId xmlns:p14="http://schemas.microsoft.com/office/powerpoint/2010/main" val="18136995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2181587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 imgW="270" imgH="270" progId="TCLayout.ActiveDocument.1">
                  <p:embed/>
                </p:oleObj>
              </mc:Choice>
              <mc:Fallback>
                <p:oleObj name="think-cellスライド" r:id="rId30" imgW="270" imgH="270" progId="TCLayout.ActiveDocument.1">
                  <p:embed/>
                  <p:pic>
                    <p:nvPicPr>
                      <p:cNvPr id="7" name="オブジェクト 6"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669629"/>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数の推移</a:t>
              </a:r>
            </a:p>
          </p:txBody>
        </p:sp>
      </p:grpSp>
      <p:grpSp>
        <p:nvGrpSpPr>
          <p:cNvPr id="21" name="グループ化 7"/>
          <p:cNvGrpSpPr/>
          <p:nvPr/>
        </p:nvGrpSpPr>
        <p:grpSpPr>
          <a:xfrm>
            <a:off x="5102225" y="1669629"/>
            <a:ext cx="4537075"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以降増加傾向に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私立病院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減少していたが、</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大幅に増加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193073"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30" name="テキスト ボックス 29"/>
          <p:cNvSpPr txBox="1"/>
          <p:nvPr/>
        </p:nvSpPr>
        <p:spPr>
          <a:xfrm>
            <a:off x="200025" y="6541982"/>
            <a:ext cx="9289032"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政府統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S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AST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cs typeface="Arial" panose="020B0604020202020204" pitchFamily="34" charset="0"/>
              </a:rPr>
              <a:t> 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4</a:t>
            </a:r>
            <a:r>
              <a:rPr lang="ja-JP" altLang="en-US" sz="800" dirty="0">
                <a:solidFill>
                  <a:srgbClr val="000000"/>
                </a:solidFill>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sp>
        <p:nvSpPr>
          <p:cNvPr id="84" name="Rectangle 83"/>
          <p:cNvSpPr/>
          <p:nvPr>
            <p:custDataLst>
              <p:tags r:id="rId3"/>
            </p:custDataLst>
          </p:nvPr>
        </p:nvSpPr>
        <p:spPr bwMode="gray">
          <a:xfrm>
            <a:off x="6365875" y="611028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0" name="Straight Connector 49">
            <a:extLst>
              <a:ext uri="{FF2B5EF4-FFF2-40B4-BE49-F238E27FC236}">
                <a16:creationId xmlns:a16="http://schemas.microsoft.com/office/drawing/2014/main" id="{6AC13B11-6AFC-4215-923B-B8534D5B7EA6}"/>
              </a:ext>
            </a:extLst>
          </p:cNvPr>
          <p:cNvCxnSpPr/>
          <p:nvPr>
            <p:custDataLst>
              <p:tags r:id="rId4"/>
            </p:custDataLst>
          </p:nvPr>
        </p:nvCxnSpPr>
        <p:spPr bwMode="gray">
          <a:xfrm>
            <a:off x="6284913" y="6380163"/>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Oval 84"/>
          <p:cNvSpPr/>
          <p:nvPr>
            <p:custDataLst>
              <p:tags r:id="rId5"/>
            </p:custDataLst>
          </p:nvPr>
        </p:nvSpPr>
        <p:spPr bwMode="gray">
          <a:xfrm>
            <a:off x="6373813" y="63420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テキスト プレースホルダ 9"/>
          <p:cNvSpPr>
            <a:spLocks noGrp="1"/>
          </p:cNvSpPr>
          <p:nvPr>
            <p:custDataLst>
              <p:tags r:id="rId6"/>
            </p:custDataLst>
          </p:nvPr>
        </p:nvSpPr>
        <p:spPr bwMode="auto">
          <a:xfrm>
            <a:off x="6596063" y="6105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87" name="テキスト プレースホルダ 9"/>
          <p:cNvSpPr>
            <a:spLocks noGrp="1"/>
          </p:cNvSpPr>
          <p:nvPr>
            <p:custDataLst>
              <p:tags r:id="rId7"/>
            </p:custDataLst>
          </p:nvPr>
        </p:nvSpPr>
        <p:spPr bwMode="auto">
          <a:xfrm>
            <a:off x="6596063" y="6308725"/>
            <a:ext cx="11541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graphicFrame>
        <p:nvGraphicFramePr>
          <p:cNvPr id="77" name="Chart 76">
            <a:extLst>
              <a:ext uri="{FF2B5EF4-FFF2-40B4-BE49-F238E27FC236}">
                <a16:creationId xmlns:a16="http://schemas.microsoft.com/office/drawing/2014/main" id="{F2276DA4-C39C-BE8D-98F0-011EC9628DAC}"/>
              </a:ext>
            </a:extLst>
          </p:cNvPr>
          <p:cNvGraphicFramePr/>
          <p:nvPr>
            <p:custDataLst>
              <p:tags r:id="rId8"/>
            </p:custDataLst>
            <p:extLst>
              <p:ext uri="{D42A27DB-BD31-4B8C-83A1-F6EECF244321}">
                <p14:modId xmlns:p14="http://schemas.microsoft.com/office/powerpoint/2010/main" val="59231554"/>
              </p:ext>
            </p:extLst>
          </p:nvPr>
        </p:nvGraphicFramePr>
        <p:xfrm>
          <a:off x="155575" y="2168525"/>
          <a:ext cx="4664075" cy="3646488"/>
        </p:xfrm>
        <a:graphic>
          <a:graphicData uri="http://schemas.openxmlformats.org/drawingml/2006/chart">
            <c:chart xmlns:c="http://schemas.openxmlformats.org/drawingml/2006/chart" xmlns:r="http://schemas.openxmlformats.org/officeDocument/2006/relationships" r:id="rId32"/>
          </a:graphicData>
        </a:graphic>
      </p:graphicFrame>
      <p:sp>
        <p:nvSpPr>
          <p:cNvPr id="68" name="テキスト プレースホルダ 9">
            <a:extLst>
              <a:ext uri="{FF2B5EF4-FFF2-40B4-BE49-F238E27FC236}">
                <a16:creationId xmlns:a16="http://schemas.microsoft.com/office/drawing/2014/main" id="{38B5B861-2637-9DA9-7E76-05223825CBB9}"/>
              </a:ext>
            </a:extLst>
          </p:cNvPr>
          <p:cNvSpPr>
            <a:spLocks noGrp="1"/>
          </p:cNvSpPr>
          <p:nvPr>
            <p:custDataLst>
              <p:tags r:id="rId9"/>
            </p:custDataLst>
          </p:nvPr>
        </p:nvSpPr>
        <p:spPr bwMode="auto">
          <a:xfrm>
            <a:off x="863600" y="5675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F46858-0602-47F6-8014-ABC18A62BF64}" type="datetime'''20''''''''''2''''''''''''''''''''''''''''''''''0'''">
              <a:rPr lang="ja-JP" altLang="en-US" sz="1000" smtClean="0">
                <a:effectLst/>
                <a:sym typeface="+mn-lt"/>
              </a:rPr>
              <a:pPr marL="0" lvl="0" indent="0" algn="ctr">
                <a:spcBef>
                  <a:spcPct val="0"/>
                </a:spcBef>
                <a:buNone/>
              </a:pPr>
              <a:t>2020</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79DBD594-2151-8227-F715-BAAE6F9F1E85}"/>
              </a:ext>
            </a:extLst>
          </p:cNvPr>
          <p:cNvSpPr>
            <a:spLocks noGrp="1"/>
          </p:cNvSpPr>
          <p:nvPr>
            <p:custDataLst>
              <p:tags r:id="rId10"/>
            </p:custDataLst>
          </p:nvPr>
        </p:nvSpPr>
        <p:spPr bwMode="auto">
          <a:xfrm>
            <a:off x="1762125" y="5675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E7FB42-789D-46D1-9E8E-0B1AC96ADA77}"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5CF940F0-37E9-01B5-ED3D-47EACDAD8FE2}"/>
              </a:ext>
            </a:extLst>
          </p:cNvPr>
          <p:cNvSpPr>
            <a:spLocks noGrp="1"/>
          </p:cNvSpPr>
          <p:nvPr>
            <p:custDataLst>
              <p:tags r:id="rId11"/>
            </p:custDataLst>
          </p:nvPr>
        </p:nvSpPr>
        <p:spPr bwMode="auto">
          <a:xfrm>
            <a:off x="2589213" y="5675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7F6AB6-BB15-4005-BA07-16F4DF9CF1A8}"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59DDFD17-7F07-BC38-FF3D-F157A6280471}"/>
              </a:ext>
            </a:extLst>
          </p:cNvPr>
          <p:cNvSpPr>
            <a:spLocks noGrp="1"/>
          </p:cNvSpPr>
          <p:nvPr>
            <p:custDataLst>
              <p:tags r:id="rId12"/>
            </p:custDataLst>
          </p:nvPr>
        </p:nvSpPr>
        <p:spPr bwMode="auto">
          <a:xfrm>
            <a:off x="3417888" y="5675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9D91D7-9F1C-4CFC-8194-930200A47957}"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98F73B8E-5847-0191-158B-24D71F311C67}"/>
              </a:ext>
            </a:extLst>
          </p:cNvPr>
          <p:cNvSpPr>
            <a:spLocks noGrp="1"/>
          </p:cNvSpPr>
          <p:nvPr>
            <p:custDataLst>
              <p:tags r:id="rId13"/>
            </p:custDataLst>
          </p:nvPr>
        </p:nvSpPr>
        <p:spPr bwMode="auto">
          <a:xfrm>
            <a:off x="4244975" y="5675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62DBA4-7F23-4D33-8393-0A67CC41D437}"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26AB7CF7-61AE-CB95-2416-26052875C468}"/>
              </a:ext>
            </a:extLst>
          </p:cNvPr>
          <p:cNvSpPr>
            <a:spLocks noGrp="1"/>
          </p:cNvSpPr>
          <p:nvPr>
            <p:custDataLst>
              <p:tags r:id="rId14"/>
            </p:custDataLst>
          </p:nvPr>
        </p:nvSpPr>
        <p:spPr bwMode="gray">
          <a:xfrm>
            <a:off x="887413" y="2447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81B6F-B7A8-43D7-A75A-0DE24B9F5B15}" type="datetime'5''''''''''''''''''1''''''''''''''''''''0'''''''''''">
              <a:rPr lang="ja-JP" altLang="en-US" sz="1000" smtClean="0">
                <a:effectLst/>
                <a:sym typeface="+mn-lt"/>
              </a:rPr>
              <a:pPr marL="0" lvl="0" indent="0" algn="ctr">
                <a:spcBef>
                  <a:spcPct val="0"/>
                </a:spcBef>
                <a:buNone/>
              </a:pPr>
              <a:t>510</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E4C84C2A-7584-1205-CB79-F5FDC2F749F4}"/>
              </a:ext>
            </a:extLst>
          </p:cNvPr>
          <p:cNvSpPr>
            <a:spLocks noGrp="1"/>
          </p:cNvSpPr>
          <p:nvPr>
            <p:custDataLst>
              <p:tags r:id="rId15"/>
            </p:custDataLst>
          </p:nvPr>
        </p:nvSpPr>
        <p:spPr bwMode="gray">
          <a:xfrm>
            <a:off x="1716088" y="24892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9969C-80A4-4636-8E3F-2C9E61091B42}" type="datetime'''''''''''''''''''5''0''''''''''''''''''''''3'''''''''''''''">
              <a:rPr lang="ja-JP" altLang="en-US" sz="1000" smtClean="0">
                <a:effectLst/>
                <a:sym typeface="+mn-lt"/>
              </a:rPr>
              <a:pPr marL="0" lvl="0" indent="0" algn="ctr">
                <a:spcBef>
                  <a:spcPct val="0"/>
                </a:spcBef>
                <a:buNone/>
              </a:pPr>
              <a:t>50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9468A18B-3A05-1A13-4A43-F50B15A04A93}"/>
              </a:ext>
            </a:extLst>
          </p:cNvPr>
          <p:cNvSpPr>
            <a:spLocks noGrp="1"/>
          </p:cNvSpPr>
          <p:nvPr>
            <p:custDataLst>
              <p:tags r:id="rId16"/>
            </p:custDataLst>
          </p:nvPr>
        </p:nvSpPr>
        <p:spPr bwMode="gray">
          <a:xfrm>
            <a:off x="2543175" y="2511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BDFBBF-2E3E-491F-BD17-78D56EC11E24}" type="datetime'4''''''''''''''''''''''''''''''''''''9''9'''''''''''''''''">
              <a:rPr lang="ja-JP" altLang="en-US" sz="1000" smtClean="0">
                <a:effectLst/>
                <a:sym typeface="+mn-lt"/>
              </a:rPr>
              <a:pPr marL="0" lvl="0" indent="0" algn="ctr">
                <a:spcBef>
                  <a:spcPct val="0"/>
                </a:spcBef>
                <a:buNone/>
              </a:pPr>
              <a:t>499</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8D8DD523-ECB3-2786-219E-8DC837F8FEA3}"/>
              </a:ext>
            </a:extLst>
          </p:cNvPr>
          <p:cNvSpPr>
            <a:spLocks noGrp="1"/>
          </p:cNvSpPr>
          <p:nvPr>
            <p:custDataLst>
              <p:tags r:id="rId17"/>
            </p:custDataLst>
          </p:nvPr>
        </p:nvSpPr>
        <p:spPr bwMode="gray">
          <a:xfrm>
            <a:off x="3371850" y="2511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AE3E82-5593-489A-9354-EC40F319084B}" type="datetime'''''''49''''''''''''''''''9'''">
              <a:rPr lang="ja-JP" altLang="en-US" sz="1000" smtClean="0">
                <a:effectLst/>
                <a:sym typeface="+mn-lt"/>
              </a:rPr>
              <a:pPr marL="0" lvl="0" indent="0" algn="ctr">
                <a:spcBef>
                  <a:spcPct val="0"/>
                </a:spcBef>
                <a:buNone/>
              </a:pPr>
              <a:t>499</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D96480E7-EE1D-E7AF-DA64-5CF80EBF15EA}"/>
              </a:ext>
            </a:extLst>
          </p:cNvPr>
          <p:cNvSpPr>
            <a:spLocks noGrp="1"/>
          </p:cNvSpPr>
          <p:nvPr>
            <p:custDataLst>
              <p:tags r:id="rId18"/>
            </p:custDataLst>
          </p:nvPr>
        </p:nvSpPr>
        <p:spPr bwMode="gray">
          <a:xfrm>
            <a:off x="4198938" y="24130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44A8C8-0AD2-4C07-994E-28B0A2B41F66}" type="datetime'''5''''16'''''''''''''''''''''''''''''''''''''''''''">
              <a:rPr lang="ja-JP" altLang="en-US" sz="1000" smtClean="0">
                <a:effectLst/>
                <a:sym typeface="+mn-lt"/>
              </a:rPr>
              <a:pPr marL="0" lvl="0" indent="0" algn="ctr">
                <a:spcBef>
                  <a:spcPct val="0"/>
                </a:spcBef>
                <a:buNone/>
              </a:pPr>
              <a:t>516</a:t>
            </a:fld>
            <a:endParaRPr kumimoji="1" lang="ja-JP" altLang="en-US" sz="1000" dirty="0">
              <a:sym typeface="+mn-lt"/>
            </a:endParaRPr>
          </a:p>
        </p:txBody>
      </p:sp>
      <p:graphicFrame>
        <p:nvGraphicFramePr>
          <p:cNvPr id="12" name="Chart 11">
            <a:extLst>
              <a:ext uri="{FF2B5EF4-FFF2-40B4-BE49-F238E27FC236}">
                <a16:creationId xmlns:a16="http://schemas.microsoft.com/office/drawing/2014/main" id="{77B45F76-A42E-799B-EE53-A3E39A1667CB}"/>
              </a:ext>
            </a:extLst>
          </p:cNvPr>
          <p:cNvGraphicFramePr/>
          <p:nvPr>
            <p:custDataLst>
              <p:tags r:id="rId19"/>
            </p:custDataLst>
            <p:extLst>
              <p:ext uri="{D42A27DB-BD31-4B8C-83A1-F6EECF244321}">
                <p14:modId xmlns:p14="http://schemas.microsoft.com/office/powerpoint/2010/main" val="309656331"/>
              </p:ext>
            </p:extLst>
          </p:nvPr>
        </p:nvGraphicFramePr>
        <p:xfrm>
          <a:off x="4991100" y="2124075"/>
          <a:ext cx="4760913" cy="3690938"/>
        </p:xfrm>
        <a:graphic>
          <a:graphicData uri="http://schemas.openxmlformats.org/drawingml/2006/chart">
            <c:chart xmlns:c="http://schemas.openxmlformats.org/drawingml/2006/chart" xmlns:r="http://schemas.openxmlformats.org/officeDocument/2006/relationships" r:id="rId33"/>
          </a:graphicData>
        </a:graphic>
      </p:graphicFrame>
      <p:sp>
        <p:nvSpPr>
          <p:cNvPr id="38" name="テキスト プレースホルダ 9">
            <a:extLst>
              <a:ext uri="{FF2B5EF4-FFF2-40B4-BE49-F238E27FC236}">
                <a16:creationId xmlns:a16="http://schemas.microsoft.com/office/drawing/2014/main" id="{8175D67C-553C-663B-C5BA-94348B11605D}"/>
              </a:ext>
            </a:extLst>
          </p:cNvPr>
          <p:cNvSpPr>
            <a:spLocks noGrp="1"/>
          </p:cNvSpPr>
          <p:nvPr>
            <p:custDataLst>
              <p:tags r:id="rId20"/>
            </p:custDataLst>
          </p:nvPr>
        </p:nvSpPr>
        <p:spPr bwMode="auto">
          <a:xfrm>
            <a:off x="5834063" y="56753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88A4F44-10BB-44CF-B739-1B6BAE3A902E}" type="datetime'''''''2''''''''''0''''''''2''''0'">
              <a:rPr lang="ja-JP" altLang="en-US" sz="1000" smtClean="0"/>
              <a:pPr/>
              <a:t>2020</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28D0A9B1-DEB5-6709-BE19-15B34EFB6D4B}"/>
              </a:ext>
            </a:extLst>
          </p:cNvPr>
          <p:cNvSpPr>
            <a:spLocks noGrp="1"/>
          </p:cNvSpPr>
          <p:nvPr>
            <p:custDataLst>
              <p:tags r:id="rId21"/>
            </p:custDataLst>
          </p:nvPr>
        </p:nvSpPr>
        <p:spPr bwMode="auto">
          <a:xfrm>
            <a:off x="6651625" y="5675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6AB219-5F9D-4F94-8DEF-158FFA022512}" type="datetime'''''''''''2''''''''''''''''''''''''''''''''''''1'''''''''''''">
              <a:rPr lang="ja-JP" altLang="en-US" sz="1000" smtClean="0"/>
              <a:pPr/>
              <a:t>21</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2DFD6AD0-44F0-5E1D-A72C-3117C91DBF5C}"/>
              </a:ext>
            </a:extLst>
          </p:cNvPr>
          <p:cNvSpPr>
            <a:spLocks noGrp="1"/>
          </p:cNvSpPr>
          <p:nvPr>
            <p:custDataLst>
              <p:tags r:id="rId22"/>
            </p:custDataLst>
          </p:nvPr>
        </p:nvSpPr>
        <p:spPr bwMode="auto">
          <a:xfrm>
            <a:off x="7399338" y="5675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4DECF7-2009-49B4-96DD-7AA9CABE1A29}" type="datetime'''''''''2''''''''''''''''''''''''''''''''2'''''''''''''''">
              <a:rPr lang="ja-JP" altLang="en-US" sz="1000" smtClean="0"/>
              <a:pPr/>
              <a:t>22</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8C05DCDA-2874-5753-B7DA-411854CD00D1}"/>
              </a:ext>
            </a:extLst>
          </p:cNvPr>
          <p:cNvSpPr>
            <a:spLocks noGrp="1"/>
          </p:cNvSpPr>
          <p:nvPr>
            <p:custDataLst>
              <p:tags r:id="rId23"/>
            </p:custDataLst>
          </p:nvPr>
        </p:nvSpPr>
        <p:spPr bwMode="auto">
          <a:xfrm>
            <a:off x="8147050" y="5675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1AFDE3-2C7A-4491-BB4C-4F8187C04EE9}" type="datetime'''''2''''''''''''''''''''''''''''''''''''''3'''''''">
              <a:rPr lang="ja-JP" altLang="en-US" sz="1000" smtClean="0"/>
              <a:pPr/>
              <a:t>23</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2D86F409-DEE2-4080-4EAE-A16E1FDF1B05}"/>
              </a:ext>
            </a:extLst>
          </p:cNvPr>
          <p:cNvSpPr>
            <a:spLocks noGrp="1"/>
          </p:cNvSpPr>
          <p:nvPr>
            <p:custDataLst>
              <p:tags r:id="rId24"/>
            </p:custDataLst>
          </p:nvPr>
        </p:nvSpPr>
        <p:spPr bwMode="auto">
          <a:xfrm>
            <a:off x="8894763" y="5675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2DFBE04-64CD-4BFE-853A-04379D0B4798}" type="datetime'''''''''''''''''''''''''''''''''2''''''4'''''''''''''''''">
              <a:rPr lang="ja-JP" altLang="en-US" sz="1000" smtClean="0"/>
              <a:pPr/>
              <a:t>24</a:t>
            </a:fld>
            <a:endParaRPr kumimoji="0" lang="ja-JP" altLang="en-US" sz="1000" dirty="0">
              <a:sym typeface="+mn-lt"/>
            </a:endParaRPr>
          </a:p>
        </p:txBody>
      </p:sp>
      <p:sp>
        <p:nvSpPr>
          <p:cNvPr id="132" name="Rectangle 131">
            <a:extLst>
              <a:ext uri="{FF2B5EF4-FFF2-40B4-BE49-F238E27FC236}">
                <a16:creationId xmlns:a16="http://schemas.microsoft.com/office/drawing/2014/main" id="{3DE8C6DE-5B28-3D2F-F166-33BB6C674715}"/>
              </a:ext>
            </a:extLst>
          </p:cNvPr>
          <p:cNvSpPr/>
          <p:nvPr>
            <p:custDataLst>
              <p:tags r:id="rId25"/>
            </p:custDataLst>
          </p:nvPr>
        </p:nvSpPr>
        <p:spPr bwMode="auto">
          <a:xfrm>
            <a:off x="747712" y="60055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3" name="Rectangle 132">
            <a:extLst>
              <a:ext uri="{FF2B5EF4-FFF2-40B4-BE49-F238E27FC236}">
                <a16:creationId xmlns:a16="http://schemas.microsoft.com/office/drawing/2014/main" id="{6C3D87A9-8309-D257-F514-BF58A002C7D3}"/>
              </a:ext>
            </a:extLst>
          </p:cNvPr>
          <p:cNvSpPr/>
          <p:nvPr>
            <p:custDataLst>
              <p:tags r:id="rId26"/>
            </p:custDataLst>
          </p:nvPr>
        </p:nvSpPr>
        <p:spPr bwMode="auto">
          <a:xfrm>
            <a:off x="747712" y="62087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4" name="テキスト プレースホルダ 9">
            <a:extLst>
              <a:ext uri="{FF2B5EF4-FFF2-40B4-BE49-F238E27FC236}">
                <a16:creationId xmlns:a16="http://schemas.microsoft.com/office/drawing/2014/main" id="{BDD9782E-195F-B3B4-6529-DAEC63C9C947}"/>
              </a:ext>
            </a:extLst>
          </p:cNvPr>
          <p:cNvSpPr>
            <a:spLocks noGrp="1"/>
          </p:cNvSpPr>
          <p:nvPr>
            <p:custDataLst>
              <p:tags r:id="rId27"/>
            </p:custDataLst>
          </p:nvPr>
        </p:nvSpPr>
        <p:spPr bwMode="auto">
          <a:xfrm>
            <a:off x="977900" y="60007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6A3E97D-D670-4763-91F3-BC84F5543686}" type="datetime'公''''''''''''''''''''''的''''''''''''医療''''''''''機''関'''''">
              <a:rPr lang="zh-TW" altLang="en-US" sz="1000" smtClean="0">
                <a:effectLst/>
                <a:sym typeface="+mn-lt"/>
              </a:rPr>
              <a:pPr marL="0" lvl="0" indent="0">
                <a:spcBef>
                  <a:spcPct val="0"/>
                </a:spcBef>
                <a:buNone/>
              </a:pPr>
              <a:t>公的医療機関</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BBF1DCBE-466B-9BA1-8E82-238C787FD4BA}"/>
              </a:ext>
            </a:extLst>
          </p:cNvPr>
          <p:cNvSpPr>
            <a:spLocks noGrp="1"/>
          </p:cNvSpPr>
          <p:nvPr>
            <p:custDataLst>
              <p:tags r:id="rId28"/>
            </p:custDataLst>
          </p:nvPr>
        </p:nvSpPr>
        <p:spPr bwMode="auto">
          <a:xfrm>
            <a:off x="977900" y="62039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25A85F2-340D-42AA-9CE5-A3D9FCFFEA26}" type="datetime'''''''''民間''''''''医''''''療''''''''''''''''''''''機''''関'">
              <a:rPr lang="zh-TW" altLang="en-US" sz="1000" smtClean="0"/>
              <a:pPr marL="0" lvl="0" indent="0">
                <a:spcBef>
                  <a:spcPct val="0"/>
                </a:spcBef>
                <a:buNone/>
              </a:pPr>
              <a:t>民間医療機関</a:t>
            </a:fld>
            <a:endParaRPr kumimoji="1" lang="ja-JP" altLang="en-US" sz="1000" dirty="0">
              <a:sym typeface="+mn-lt"/>
            </a:endParaRPr>
          </a:p>
        </p:txBody>
      </p:sp>
    </p:spTree>
    <p:extLst>
      <p:ext uri="{BB962C8B-B14F-4D97-AF65-F5344CB8AC3E}">
        <p14:creationId xmlns:p14="http://schemas.microsoft.com/office/powerpoint/2010/main" val="20033632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オブジェクト 3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37" name="オブジェクト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16496" y="1603595"/>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における主要な公的医療機関の概要</a:t>
              </a:r>
            </a:p>
          </p:txBody>
        </p:sp>
      </p:grpSp>
      <p:sp>
        <p:nvSpPr>
          <p:cNvPr id="23" name="テキスト ボックス 22"/>
          <p:cNvSpPr txBox="1"/>
          <p:nvPr/>
        </p:nvSpPr>
        <p:spPr>
          <a:xfrm>
            <a:off x="200025" y="6541982"/>
            <a:ext cx="752400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各医療機関</a:t>
            </a:r>
            <a:r>
              <a:rPr kumimoji="0" lang="en-US" altLang="ja-JP" sz="800" dirty="0" bmk=""/>
              <a:t>HP</a:t>
            </a:r>
          </a:p>
        </p:txBody>
      </p:sp>
      <p:graphicFrame>
        <p:nvGraphicFramePr>
          <p:cNvPr id="35" name="表 17">
            <a:extLst>
              <a:ext uri="{FF2B5EF4-FFF2-40B4-BE49-F238E27FC236}">
                <a16:creationId xmlns:a16="http://schemas.microsoft.com/office/drawing/2014/main" id="{86B90F90-75F4-4872-A834-98DCAA8627C0}"/>
              </a:ext>
            </a:extLst>
          </p:cNvPr>
          <p:cNvGraphicFramePr>
            <a:graphicFrameLocks noGrp="1"/>
          </p:cNvGraphicFramePr>
          <p:nvPr>
            <p:extLst>
              <p:ext uri="{D42A27DB-BD31-4B8C-83A1-F6EECF244321}">
                <p14:modId xmlns:p14="http://schemas.microsoft.com/office/powerpoint/2010/main" val="3158334022"/>
              </p:ext>
            </p:extLst>
          </p:nvPr>
        </p:nvGraphicFramePr>
        <p:xfrm>
          <a:off x="433337" y="2029361"/>
          <a:ext cx="9056162" cy="3962400"/>
        </p:xfrm>
        <a:graphic>
          <a:graphicData uri="http://schemas.openxmlformats.org/drawingml/2006/table">
            <a:tbl>
              <a:tblPr firstRow="1" bandRow="1">
                <a:tableStyleId>{5C22544A-7EE6-4342-B048-85BDC9FD1C3A}</a:tableStyleId>
              </a:tblPr>
              <a:tblGrid>
                <a:gridCol w="1423319">
                  <a:extLst>
                    <a:ext uri="{9D8B030D-6E8A-4147-A177-3AD203B41FA5}">
                      <a16:colId xmlns:a16="http://schemas.microsoft.com/office/drawing/2014/main" val="20000"/>
                    </a:ext>
                  </a:extLst>
                </a:gridCol>
                <a:gridCol w="5156553">
                  <a:extLst>
                    <a:ext uri="{9D8B030D-6E8A-4147-A177-3AD203B41FA5}">
                      <a16:colId xmlns:a16="http://schemas.microsoft.com/office/drawing/2014/main" val="20001"/>
                    </a:ext>
                  </a:extLst>
                </a:gridCol>
                <a:gridCol w="412715">
                  <a:extLst>
                    <a:ext uri="{9D8B030D-6E8A-4147-A177-3AD203B41FA5}">
                      <a16:colId xmlns:a16="http://schemas.microsoft.com/office/drawing/2014/main" val="2331265945"/>
                    </a:ext>
                  </a:extLst>
                </a:gridCol>
                <a:gridCol w="412715">
                  <a:extLst>
                    <a:ext uri="{9D8B030D-6E8A-4147-A177-3AD203B41FA5}">
                      <a16:colId xmlns:a16="http://schemas.microsoft.com/office/drawing/2014/main" val="2645878407"/>
                    </a:ext>
                  </a:extLst>
                </a:gridCol>
                <a:gridCol w="412715">
                  <a:extLst>
                    <a:ext uri="{9D8B030D-6E8A-4147-A177-3AD203B41FA5}">
                      <a16:colId xmlns:a16="http://schemas.microsoft.com/office/drawing/2014/main" val="969507244"/>
                    </a:ext>
                  </a:extLst>
                </a:gridCol>
                <a:gridCol w="412715">
                  <a:extLst>
                    <a:ext uri="{9D8B030D-6E8A-4147-A177-3AD203B41FA5}">
                      <a16:colId xmlns:a16="http://schemas.microsoft.com/office/drawing/2014/main" val="3654432925"/>
                    </a:ext>
                  </a:extLst>
                </a:gridCol>
                <a:gridCol w="412715">
                  <a:extLst>
                    <a:ext uri="{9D8B030D-6E8A-4147-A177-3AD203B41FA5}">
                      <a16:colId xmlns:a16="http://schemas.microsoft.com/office/drawing/2014/main" val="515103981"/>
                    </a:ext>
                  </a:extLst>
                </a:gridCol>
                <a:gridCol w="412715">
                  <a:extLst>
                    <a:ext uri="{9D8B030D-6E8A-4147-A177-3AD203B41FA5}">
                      <a16:colId xmlns:a16="http://schemas.microsoft.com/office/drawing/2014/main" val="522296625"/>
                    </a:ext>
                  </a:extLst>
                </a:gridCol>
              </a:tblGrid>
              <a:tr h="96838">
                <a:tc>
                  <a:txBody>
                    <a:bodyPr/>
                    <a:lstStyle/>
                    <a:p>
                      <a:pPr algn="ctr" fontAlgn="ctr">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所在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7200">
                <a:tc>
                  <a:txBody>
                    <a:bodyPr/>
                    <a:lstStyle/>
                    <a:p>
                      <a:pPr algn="ctr" fontAlgn="b"/>
                      <a:r>
                        <a:rPr lang="en-US" sz="1000" b="1" i="0" u="none" strike="noStrike" dirty="0">
                          <a:solidFill>
                            <a:srgbClr val="000000"/>
                          </a:solidFill>
                          <a:effectLst/>
                          <a:latin typeface="Arial" panose="020B0604020202020204" pitchFamily="34" charset="0"/>
                        </a:rPr>
                        <a:t>King Faisal Specialist Hospital and Research Centr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7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設立。リヤドやジッダに展開する公的医療機関。国内で唯一の国立小児癌リサーチセンターを</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7</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設立した。</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4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7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7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9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57200">
                <a:tc>
                  <a:txBody>
                    <a:bodyPr/>
                    <a:lstStyle/>
                    <a:p>
                      <a:pPr algn="ctr" fontAlgn="b"/>
                      <a:r>
                        <a:rPr lang="en-US" sz="1000" b="1" i="0" u="none" strike="noStrike" dirty="0">
                          <a:solidFill>
                            <a:srgbClr val="000000"/>
                          </a:solidFill>
                          <a:effectLst/>
                          <a:latin typeface="Arial" panose="020B0604020202020204" pitchFamily="34" charset="0"/>
                        </a:rPr>
                        <a:t>King Saud Medical C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55</a:t>
                      </a:r>
                      <a:r>
                        <a:rPr lang="ja-JP" altLang="en-US" sz="1050" dirty="0"/>
                        <a:t>年設立。総合病院の他、婦人科病院と小児病院の</a:t>
                      </a:r>
                      <a:r>
                        <a:rPr lang="en-US" altLang="ja-JP" sz="1050" dirty="0"/>
                        <a:t>3</a:t>
                      </a:r>
                      <a:r>
                        <a:rPr lang="ja-JP" altLang="en-US" sz="1050" dirty="0"/>
                        <a:t>病院に分かれている。</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8,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45,9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57200">
                <a:tc>
                  <a:txBody>
                    <a:bodyPr/>
                    <a:lstStyle/>
                    <a:p>
                      <a:pPr algn="ctr" fontAlgn="b"/>
                      <a:r>
                        <a:rPr lang="en-US" sz="1000" b="1" i="0" u="none" strike="noStrike" dirty="0">
                          <a:solidFill>
                            <a:srgbClr val="000000"/>
                          </a:solidFill>
                          <a:effectLst/>
                          <a:latin typeface="Arial" panose="020B0604020202020204" pitchFamily="34" charset="0"/>
                        </a:rPr>
                        <a:t>King Fahad Medical City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2004</a:t>
                      </a:r>
                      <a:r>
                        <a:rPr lang="ja-JP" altLang="en-US" sz="1050" dirty="0"/>
                        <a:t>年設立。総合病院の他、王立心臓疾患センター、婦人科病院、小児病院、癌センター、神経科学センター、リハビリ病院、糖尿病および内分泌系疾患病院に分かれてい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6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60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57200">
                <a:tc>
                  <a:txBody>
                    <a:bodyPr/>
                    <a:lstStyle/>
                    <a:p>
                      <a:pPr algn="ctr" fontAlgn="b"/>
                      <a:r>
                        <a:rPr lang="en-US" sz="1000" b="1" i="0" u="none" strike="noStrike" dirty="0">
                          <a:solidFill>
                            <a:srgbClr val="000000"/>
                          </a:solidFill>
                          <a:effectLst/>
                          <a:latin typeface="Arial" panose="020B0604020202020204" pitchFamily="34" charset="0"/>
                        </a:rPr>
                        <a:t>Prince Sultan Military Medical City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78</a:t>
                      </a:r>
                      <a:r>
                        <a:rPr lang="ja-JP" altLang="en-US" sz="1050" dirty="0"/>
                        <a:t>年設立。</a:t>
                      </a:r>
                      <a:r>
                        <a:rPr lang="en-US" altLang="ja-JP" sz="1050" dirty="0"/>
                        <a:t>14</a:t>
                      </a:r>
                      <a:r>
                        <a:rPr lang="ja-JP" altLang="en-US" sz="1050" dirty="0"/>
                        <a:t>の診療科があ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57200">
                <a:tc>
                  <a:txBody>
                    <a:bodyPr/>
                    <a:lstStyle/>
                    <a:p>
                      <a:pPr algn="ctr" fontAlgn="b"/>
                      <a:r>
                        <a:rPr lang="en-US" sz="1000" b="1" i="0" u="none" strike="noStrike" dirty="0">
                          <a:solidFill>
                            <a:srgbClr val="000000"/>
                          </a:solidFill>
                          <a:effectLst/>
                          <a:latin typeface="Arial" panose="020B0604020202020204" pitchFamily="34" charset="0"/>
                        </a:rPr>
                        <a:t>King Abdullah Medical Complex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96</a:t>
                      </a:r>
                      <a:r>
                        <a:rPr lang="ja-JP" altLang="en-US" sz="1050" dirty="0"/>
                        <a:t>年設立。ジッダにある外科・内科の総合病院。眼科医学についての論文数で中東で第</a:t>
                      </a:r>
                      <a:r>
                        <a:rPr lang="en-US" altLang="ja-JP" sz="1050" dirty="0"/>
                        <a:t>7</a:t>
                      </a:r>
                      <a:r>
                        <a:rPr lang="ja-JP" altLang="en-US" sz="1050" dirty="0"/>
                        <a:t>位の実績を有する。中東で初のリニアック機器を使用した放射線治療を行った。</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3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57200">
                <a:tc>
                  <a:txBody>
                    <a:bodyPr/>
                    <a:lstStyle/>
                    <a:p>
                      <a:pPr algn="ctr" fontAlgn="b"/>
                      <a:r>
                        <a:rPr lang="en-US" sz="1000" b="1" i="0" u="none" strike="noStrike" dirty="0">
                          <a:solidFill>
                            <a:srgbClr val="000000"/>
                          </a:solidFill>
                          <a:effectLst/>
                          <a:latin typeface="Arial" panose="020B0604020202020204" pitchFamily="34" charset="0"/>
                        </a:rPr>
                        <a:t>King Khalid University Hospit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82</a:t>
                      </a:r>
                      <a:r>
                        <a:rPr lang="ja-JP" altLang="en-US" sz="1050" dirty="0"/>
                        <a:t>年設立。</a:t>
                      </a:r>
                      <a:r>
                        <a:rPr lang="en-US" altLang="ja-JP" sz="1050" dirty="0"/>
                        <a:t>1957</a:t>
                      </a:r>
                      <a:r>
                        <a:rPr lang="ja-JP" altLang="en-US" sz="1050" dirty="0"/>
                        <a:t>年に設立された</a:t>
                      </a:r>
                      <a:r>
                        <a:rPr lang="en-US" altLang="ja-JP" sz="1050" dirty="0"/>
                        <a:t>King Saud University</a:t>
                      </a:r>
                      <a:r>
                        <a:rPr lang="ja-JP" altLang="en-US" sz="1050" dirty="0"/>
                        <a:t>の病院。</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2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57200">
                <a:tc>
                  <a:txBody>
                    <a:bodyPr/>
                    <a:lstStyle/>
                    <a:p>
                      <a:pPr algn="ctr" fontAlgn="b"/>
                      <a:r>
                        <a:rPr lang="en-US" sz="1000" b="1" i="0" u="none" strike="noStrike" dirty="0">
                          <a:solidFill>
                            <a:srgbClr val="000000"/>
                          </a:solidFill>
                          <a:effectLst/>
                          <a:latin typeface="Arial" panose="020B0604020202020204" pitchFamily="34" charset="0"/>
                        </a:rPr>
                        <a:t>King </a:t>
                      </a:r>
                      <a:r>
                        <a:rPr lang="en-US" sz="1000" b="1" i="0" u="none" strike="noStrike" dirty="0" err="1">
                          <a:solidFill>
                            <a:srgbClr val="000000"/>
                          </a:solidFill>
                          <a:effectLst/>
                          <a:latin typeface="Arial" panose="020B0604020202020204" pitchFamily="34" charset="0"/>
                        </a:rPr>
                        <a:t>Abdulaziz</a:t>
                      </a:r>
                      <a:r>
                        <a:rPr lang="en-US" sz="1000" b="1" i="0" u="none" strike="noStrike" dirty="0">
                          <a:solidFill>
                            <a:srgbClr val="000000"/>
                          </a:solidFill>
                          <a:effectLst/>
                          <a:latin typeface="Arial" panose="020B0604020202020204" pitchFamily="34" charset="0"/>
                        </a:rPr>
                        <a:t> Medical C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82</a:t>
                      </a:r>
                      <a:r>
                        <a:rPr lang="ja-JP" altLang="en-US" sz="1050" dirty="0"/>
                        <a:t>年設立。ジッダにある公的医療機関（メディカル・シティ）。心臓病センターや王立の看護大学等があ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57200">
                <a:tc>
                  <a:txBody>
                    <a:bodyPr/>
                    <a:lstStyle/>
                    <a:p>
                      <a:pPr algn="ctr" fontAlgn="b"/>
                      <a:r>
                        <a:rPr lang="en-US" sz="1000" b="1" i="0" u="none" strike="noStrike" dirty="0">
                          <a:solidFill>
                            <a:srgbClr val="000000"/>
                          </a:solidFill>
                          <a:effectLst/>
                          <a:latin typeface="Arial" panose="020B0604020202020204" pitchFamily="34" charset="0"/>
                        </a:rPr>
                        <a:t>Security Forces Hospit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98</a:t>
                      </a:r>
                      <a:r>
                        <a:rPr lang="ja-JP" altLang="en-US" sz="1050" dirty="0"/>
                        <a:t>年設立。リヤドにある軍事病院。</a:t>
                      </a:r>
                      <a:r>
                        <a:rPr lang="en-US" altLang="ja-JP" sz="1050" dirty="0"/>
                        <a:t>1972</a:t>
                      </a:r>
                      <a:r>
                        <a:rPr lang="ja-JP" altLang="en-US" sz="1050" dirty="0"/>
                        <a:t>年から医療サービスを提供しているが、現在の名称になったのは</a:t>
                      </a:r>
                      <a:r>
                        <a:rPr lang="en-US" altLang="ja-JP" sz="1050" dirty="0"/>
                        <a:t>1998</a:t>
                      </a:r>
                      <a:r>
                        <a:rPr lang="ja-JP" altLang="en-US" sz="1050" dirty="0"/>
                        <a:t>年から。内務省職員とその家族向けの医療機関。</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6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762996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7137F3-5220-40EA-9D1C-50C7D29BF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51" imgH="351" progId="TCLayout.ActiveDocument.1">
                  <p:embed/>
                </p:oleObj>
              </mc:Choice>
              <mc:Fallback>
                <p:oleObj name="think-cellスライド" r:id="rId3" imgW="351" imgH="351" progId="TCLayout.ActiveDocument.1">
                  <p:embed/>
                  <p:pic>
                    <p:nvPicPr>
                      <p:cNvPr id="5" name="Object 4" hidden="1">
                        <a:extLst>
                          <a:ext uri="{FF2B5EF4-FFF2-40B4-BE49-F238E27FC236}">
                            <a16:creationId xmlns:a16="http://schemas.microsoft.com/office/drawing/2014/main" id="{0D7137F3-5220-40EA-9D1C-50C7D29BF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626D9BF-DD15-40C9-82E1-BB2505C31BE2}"/>
              </a:ext>
            </a:extLst>
          </p:cNvPr>
          <p:cNvSpPr>
            <a:spLocks noGrp="1"/>
          </p:cNvSpPr>
          <p:nvPr>
            <p:ph type="title"/>
          </p:nvPr>
        </p:nvSpPr>
        <p:spPr/>
        <p:txBody>
          <a:bodyPr vert="horz"/>
          <a:lstStyle/>
          <a:p>
            <a:r>
              <a:rPr lang="ja-JP" altLang="en-US" dirty="0"/>
              <a:t>サウジアラビア／医療関連／医療・公衆衛生</a:t>
            </a:r>
            <a:endParaRPr lang="en-US" dirty="0"/>
          </a:p>
        </p:txBody>
      </p:sp>
      <p:sp>
        <p:nvSpPr>
          <p:cNvPr id="4" name="Text Placeholder 3">
            <a:extLst>
              <a:ext uri="{FF2B5EF4-FFF2-40B4-BE49-F238E27FC236}">
                <a16:creationId xmlns:a16="http://schemas.microsoft.com/office/drawing/2014/main" id="{53E79421-2962-4F36-8838-D7D2BD30E021}"/>
              </a:ext>
            </a:extLst>
          </p:cNvPr>
          <p:cNvSpPr>
            <a:spLocks noGrp="1"/>
          </p:cNvSpPr>
          <p:nvPr>
            <p:ph type="body" sz="quarter" idx="15"/>
          </p:nvPr>
        </p:nvSpPr>
        <p:spPr>
          <a:xfrm>
            <a:off x="200025" y="508610"/>
            <a:ext cx="9505950" cy="400110"/>
          </a:xfrm>
        </p:spPr>
        <p:txBody>
          <a:bodyPr>
            <a:spAutoFit/>
          </a:bodyPr>
          <a:lstStyle/>
          <a:p>
            <a:r>
              <a:rPr lang="zh-TW" altLang="en-US" dirty="0"/>
              <a:t>医療機関 </a:t>
            </a:r>
            <a:r>
              <a:rPr lang="en-US" altLang="zh-TW" dirty="0"/>
              <a:t>- </a:t>
            </a:r>
            <a:r>
              <a:rPr lang="zh-TW" altLang="en-US" dirty="0"/>
              <a:t>民間医療機関</a:t>
            </a:r>
          </a:p>
        </p:txBody>
      </p:sp>
      <p:sp>
        <p:nvSpPr>
          <p:cNvPr id="6" name="TextBox 5">
            <a:extLst>
              <a:ext uri="{FF2B5EF4-FFF2-40B4-BE49-F238E27FC236}">
                <a16:creationId xmlns:a16="http://schemas.microsoft.com/office/drawing/2014/main" id="{0342EAC4-3C4B-46AC-8221-C99E7B03A75C}"/>
              </a:ext>
            </a:extLst>
          </p:cNvPr>
          <p:cNvSpPr txBox="1">
            <a:spLocks/>
          </p:cNvSpPr>
          <p:nvPr/>
        </p:nvSpPr>
        <p:spPr>
          <a:xfrm>
            <a:off x="200025" y="1052736"/>
            <a:ext cx="9505950" cy="492443"/>
          </a:xfrm>
          <a:prstGeom prst="rect">
            <a:avLst/>
          </a:prstGeom>
        </p:spPr>
        <p:txBody>
          <a:bodyPr vert="horz"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defTabSz="914377">
              <a:spcBef>
                <a:spcPct val="20000"/>
              </a:spcBef>
              <a:buClr>
                <a:srgbClr val="FFD500"/>
              </a:buClr>
              <a:buSzPct val="120000"/>
              <a:buNone/>
            </a:pPr>
            <a:r>
              <a:rPr lang="ja-JP" altLang="en-US" sz="1000" dirty="0"/>
              <a:t>主要な公的医療機関を以下に示す。</a:t>
            </a:r>
          </a:p>
          <a:p>
            <a:pPr marL="182563" indent="-182563" defTabSz="914377">
              <a:spcBef>
                <a:spcPct val="20000"/>
              </a:spcBef>
              <a:buClr>
                <a:schemeClr val="accent1"/>
              </a:buClr>
              <a:buSzPct val="120000"/>
              <a:buFont typeface="Wingdings" panose="05000000000000000000" pitchFamily="2" charset="2"/>
              <a:buChar char="§"/>
            </a:pPr>
            <a:r>
              <a:rPr lang="ja-JP" altLang="en-US" sz="1000" dirty="0"/>
              <a:t>以下に示した民間医療機関では、</a:t>
            </a:r>
            <a:r>
              <a:rPr lang="en-US" altLang="ja-JP" sz="1000" dirty="0"/>
              <a:t>Saudi German Hospital</a:t>
            </a:r>
            <a:r>
              <a:rPr lang="ja-JP" altLang="en-US" sz="1000" dirty="0"/>
              <a:t>を運営する</a:t>
            </a:r>
            <a:r>
              <a:rPr lang="en-US" altLang="ja-JP" sz="1000" dirty="0"/>
              <a:t>Middle East Healthcare Company (MEAHCO)</a:t>
            </a:r>
            <a:r>
              <a:rPr lang="ja-JP" altLang="en-US" sz="1000" dirty="0"/>
              <a:t>には、アメリカ投資銀行が</a:t>
            </a:r>
            <a:r>
              <a:rPr lang="en-US" altLang="ja-JP" sz="1000" dirty="0"/>
              <a:t>8.42%</a:t>
            </a:r>
            <a:r>
              <a:rPr lang="ja-JP" altLang="en-US" sz="1000" dirty="0"/>
              <a:t>出資しているが、他はサウジアラビア資本の医療機関である。</a:t>
            </a:r>
          </a:p>
        </p:txBody>
      </p:sp>
      <p:sp>
        <p:nvSpPr>
          <p:cNvPr id="7" name="TextBox 6">
            <a:extLst>
              <a:ext uri="{FF2B5EF4-FFF2-40B4-BE49-F238E27FC236}">
                <a16:creationId xmlns:a16="http://schemas.microsoft.com/office/drawing/2014/main" id="{26E487BF-7E73-4E9F-A07D-5C8188C7ACEE}"/>
              </a:ext>
            </a:extLst>
          </p:cNvPr>
          <p:cNvSpPr txBox="1">
            <a:spLocks/>
          </p:cNvSpPr>
          <p:nvPr/>
        </p:nvSpPr>
        <p:spPr>
          <a:xfrm>
            <a:off x="200025" y="1556792"/>
            <a:ext cx="9505950" cy="153888"/>
          </a:xfrm>
          <a:prstGeom prst="rect">
            <a:avLst/>
          </a:prstGeom>
        </p:spPr>
        <p:txBody>
          <a:bodyPr vert="horz" lIns="0" tIns="0" rIns="0" bIns="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defTabSz="914377">
              <a:spcBef>
                <a:spcPct val="20000"/>
              </a:spcBef>
              <a:buClr>
                <a:srgbClr val="FFD500"/>
              </a:buClr>
              <a:buSzPct val="120000"/>
              <a:buNone/>
            </a:pPr>
            <a:r>
              <a:rPr lang="ja-JP" altLang="en-US" sz="1000" b="1" dirty="0"/>
              <a:t>サウジアラビアにおける主要な民間医療機関の概要</a:t>
            </a:r>
          </a:p>
        </p:txBody>
      </p:sp>
      <p:graphicFrame>
        <p:nvGraphicFramePr>
          <p:cNvPr id="11" name="表 17">
            <a:extLst>
              <a:ext uri="{FF2B5EF4-FFF2-40B4-BE49-F238E27FC236}">
                <a16:creationId xmlns:a16="http://schemas.microsoft.com/office/drawing/2014/main" id="{7AD00608-B234-4341-85CE-97A85D0167C8}"/>
              </a:ext>
            </a:extLst>
          </p:cNvPr>
          <p:cNvGraphicFramePr>
            <a:graphicFrameLocks noGrp="1"/>
          </p:cNvGraphicFramePr>
          <p:nvPr>
            <p:extLst>
              <p:ext uri="{D42A27DB-BD31-4B8C-83A1-F6EECF244321}">
                <p14:modId xmlns:p14="http://schemas.microsoft.com/office/powerpoint/2010/main" val="2203754723"/>
              </p:ext>
            </p:extLst>
          </p:nvPr>
        </p:nvGraphicFramePr>
        <p:xfrm>
          <a:off x="200025" y="1700809"/>
          <a:ext cx="9505948" cy="4786382"/>
        </p:xfrm>
        <a:graphic>
          <a:graphicData uri="http://schemas.openxmlformats.org/drawingml/2006/table">
            <a:tbl>
              <a:tblPr firstRow="1" bandRow="1">
                <a:tableStyleId>{5C22544A-7EE6-4342-B048-85BDC9FD1C3A}</a:tableStyleId>
              </a:tblPr>
              <a:tblGrid>
                <a:gridCol w="1152575">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504056">
                  <a:extLst>
                    <a:ext uri="{9D8B030D-6E8A-4147-A177-3AD203B41FA5}">
                      <a16:colId xmlns:a16="http://schemas.microsoft.com/office/drawing/2014/main" val="2331265945"/>
                    </a:ext>
                  </a:extLst>
                </a:gridCol>
                <a:gridCol w="504056">
                  <a:extLst>
                    <a:ext uri="{9D8B030D-6E8A-4147-A177-3AD203B41FA5}">
                      <a16:colId xmlns:a16="http://schemas.microsoft.com/office/drawing/2014/main" val="2645878407"/>
                    </a:ext>
                  </a:extLst>
                </a:gridCol>
                <a:gridCol w="428998">
                  <a:extLst>
                    <a:ext uri="{9D8B030D-6E8A-4147-A177-3AD203B41FA5}">
                      <a16:colId xmlns:a16="http://schemas.microsoft.com/office/drawing/2014/main" val="969507244"/>
                    </a:ext>
                  </a:extLst>
                </a:gridCol>
                <a:gridCol w="433213">
                  <a:extLst>
                    <a:ext uri="{9D8B030D-6E8A-4147-A177-3AD203B41FA5}">
                      <a16:colId xmlns:a16="http://schemas.microsoft.com/office/drawing/2014/main" val="3654432925"/>
                    </a:ext>
                  </a:extLst>
                </a:gridCol>
                <a:gridCol w="433213">
                  <a:extLst>
                    <a:ext uri="{9D8B030D-6E8A-4147-A177-3AD203B41FA5}">
                      <a16:colId xmlns:a16="http://schemas.microsoft.com/office/drawing/2014/main" val="515103981"/>
                    </a:ext>
                  </a:extLst>
                </a:gridCol>
                <a:gridCol w="433213">
                  <a:extLst>
                    <a:ext uri="{9D8B030D-6E8A-4147-A177-3AD203B41FA5}">
                      <a16:colId xmlns:a16="http://schemas.microsoft.com/office/drawing/2014/main" val="522296625"/>
                    </a:ext>
                  </a:extLst>
                </a:gridCol>
              </a:tblGrid>
              <a:tr h="301999">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所在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3175"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9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25207">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ingdom Hospital</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は、サウジアラビアで初とな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nsulting Clinics</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合併を行った。小児科、内科、産科、婦人科、外科等の診療科以外に、リヤドの民間医療機関として初めて、リハビリテーションセンターを設置した。救急治療室と集中治療室は、アメリカの救急医科大学の基準に沿って運営されてい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ingdom Holding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同院の株式を</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所有し、同社の筆頭株主は国内投資家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waleed</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B. Al-Sau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である。</a:t>
                      </a:r>
                      <a:endPar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72">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udi German Hospital</a:t>
                      </a:r>
                      <a:b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ジッダ、マディーナ、アスィール）</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最大の、民間医療サービスプロバイダー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iddle East Healthcare Company (MEAH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リヤド、ジッダ、メディナ、アスィール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を運営してい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AH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総売上は、約</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9</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億リヤルで、同社の筆頭株主は、国内企業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it 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tterjee</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o. Lt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株式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4.7%</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保</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有している他、アメリカの投資銀行</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ternational Finance Corp.</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4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株式を保有してい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1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57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7.6M+</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7.3M</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332K</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76064">
                <a:tc>
                  <a:txBody>
                    <a:bodyPr/>
                    <a:lstStyle/>
                    <a:p>
                      <a:pPr algn="l" fontAlgn="ctr">
                        <a:lnSpc>
                          <a:spcPct val="85000"/>
                        </a:lnSpc>
                        <a:spcAft>
                          <a:spcPts val="0"/>
                        </a:spcAft>
                      </a:pP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rfan</a:t>
                      </a: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nd </a:t>
                      </a:r>
                      <a:r>
                        <a:rPr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gedo</a:t>
                      </a: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General </a:t>
                      </a: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ッダ）</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89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神経科の診療所として始まり、同年に総合病院として開院）。の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900" kern="100" baseline="300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取得している。救急部門を含む外科、内科、小児科等、</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以上の診療科がある。主要株主は、いずれも国内企業の</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gedo</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mmercial Holding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hamed Ahmed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rfan</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nd Sons Holding</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31</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32048">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Soliman Fakeeh</a:t>
                      </a:r>
                      <a:r>
                        <a:rPr lang="ja-JP" altLang="en-US"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ッダ）</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臓器移植（腎臓、骨髄、肝臓、心臓）に優れた実績を有する。病床数</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年間</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人以上の患者が訪れるサウジアラビア国内最大規模の民間医療機関の１つ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475</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9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M+</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33289">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pecialized Medical Center Hospital </a:t>
                      </a:r>
                      <a:b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以上、外来診療室</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室、</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以上の医師と</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以上の医療スタッフを有す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45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9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11</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39347">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en-US" altLang="ja-JP" sz="900" b="1"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lay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waid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28</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があり、新た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uzh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建設中（</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下期には開業予定、</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lay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5</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で、当時は同国内最大の民間病院であった。</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waid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外科、脳神経外科、小児科、産婦人科、歯科、救急等の診療科を有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主要株主は、</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adwa</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Investment Co. </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bdulaziz</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bin Mohamed Hamad Al-</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等、国内企業や投資家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32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5,0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17</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6539">
                <a:tc>
                  <a:txBody>
                    <a:bodyPr/>
                    <a:lstStyle/>
                    <a:p>
                      <a:pPr algn="l" fontAlgn="ctr">
                        <a:lnSpc>
                          <a:spcPct val="85000"/>
                        </a:lnSpc>
                        <a:spcAft>
                          <a:spcPts val="0"/>
                        </a:spcAft>
                      </a:pP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b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7</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 Services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HSC</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診療科を有し、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民間病院で初の腹腔鏡手術を開始した他、放射線治療の許可をサウジアラビア国内で初めて取得した。</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運営会社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HSC</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care Holding 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所有しており、同社の株主は、国内投資家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901</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noProof="1">
                          <a:solidFill>
                            <a:srgbClr val="000000"/>
                          </a:solidFill>
                          <a:effectLst/>
                          <a:latin typeface="Arial" panose="020B0604020202020204" pitchFamily="34" charset="0"/>
                        </a:rPr>
                        <a:t>1.0M+</a:t>
                      </a:r>
                      <a:endParaRPr lang="ja-JP" altLang="en-US" sz="1000" b="0" i="0" u="none" strike="noStrike" noProof="1">
                        <a:solidFill>
                          <a:srgbClr val="000000"/>
                        </a:solidFill>
                        <a:effectLst/>
                        <a:latin typeface="Arial" panose="020B0604020202020204" pitchFamily="34" charset="0"/>
                      </a:endParaRP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33289">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laiman</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l-Habib Hospital in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rryan</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 Group of Dr.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laiman</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l Habib</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6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同グループが運営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病院、医療センターの中核を担い、特に肥満患者やスポーツ医学に優れた実績を有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同グループは、ドバイにも病院を展開している。</a:t>
                      </a:r>
                      <a:endPar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36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1</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12" name="テキスト ボックス 20">
            <a:extLst>
              <a:ext uri="{FF2B5EF4-FFF2-40B4-BE49-F238E27FC236}">
                <a16:creationId xmlns:a16="http://schemas.microsoft.com/office/drawing/2014/main" id="{AE101BAD-2FF7-4A5F-B3ED-94B26B73E13D}"/>
              </a:ext>
            </a:extLst>
          </p:cNvPr>
          <p:cNvSpPr txBox="1"/>
          <p:nvPr/>
        </p:nvSpPr>
        <p:spPr>
          <a:xfrm>
            <a:off x="200025" y="6669450"/>
            <a:ext cx="720080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医療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20">
            <a:extLst>
              <a:ext uri="{FF2B5EF4-FFF2-40B4-BE49-F238E27FC236}">
                <a16:creationId xmlns:a16="http://schemas.microsoft.com/office/drawing/2014/main" id="{49EFCB38-9C42-4E15-9906-613EFA43E368}"/>
              </a:ext>
            </a:extLst>
          </p:cNvPr>
          <p:cNvSpPr txBox="1"/>
          <p:nvPr/>
        </p:nvSpPr>
        <p:spPr>
          <a:xfrm>
            <a:off x="200472" y="6538521"/>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0453363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884834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9" imgW="360" imgH="360" progId="TCLayout.ActiveDocument.1">
                  <p:embed/>
                </p:oleObj>
              </mc:Choice>
              <mc:Fallback>
                <p:oleObj name="think-cellスライド" r:id="rId99" imgW="360" imgH="360" progId="TCLayout.ActiveDocument.1">
                  <p:embed/>
                  <p:pic>
                    <p:nvPicPr>
                      <p:cNvPr id="8" name="Object 7" hidden="1"/>
                      <p:cNvPicPr>
                        <a:picLocks noChangeAspect="1" noChangeArrowheads="1"/>
                      </p:cNvPicPr>
                      <p:nvPr/>
                    </p:nvPicPr>
                    <p:blipFill>
                      <a:blip r:embed="rId10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r>
              <a:rPr lang="en-US" altLang="ja-JP" dirty="0"/>
              <a:t>1/2</a:t>
            </a:r>
            <a:r>
              <a:rPr lang="ja-JP" altLang="en-US" dirty="0"/>
              <a:t>）</a:t>
            </a:r>
          </a:p>
        </p:txBody>
      </p:sp>
      <p:grpSp>
        <p:nvGrpSpPr>
          <p:cNvPr id="22" name="グループ化 7"/>
          <p:cNvGrpSpPr/>
          <p:nvPr/>
        </p:nvGrpSpPr>
        <p:grpSpPr>
          <a:xfrm>
            <a:off x="200471" y="1844675"/>
            <a:ext cx="4536507" cy="298450"/>
            <a:chOff x="4803500" y="2102786"/>
            <a:chExt cx="2954133" cy="29905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02786"/>
              <a:ext cx="2954133" cy="299052"/>
            </a:xfrm>
            <a:prstGeom prst="rect">
              <a:avLst/>
            </a:prstGeom>
            <a:noFill/>
            <a:ln w="9525">
              <a:noFill/>
              <a:miter lim="800000"/>
              <a:headEnd/>
              <a:tailEnd/>
            </a:ln>
          </p:spPr>
          <p:txBody>
            <a:bodyPr wrap="square" lIns="0" tIns="46800" rIns="0" bIns="36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43386" y="1844675"/>
            <a:ext cx="4536507" cy="298450"/>
            <a:chOff x="4803500" y="2102786"/>
            <a:chExt cx="2954133" cy="29905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02786"/>
              <a:ext cx="2954133" cy="299052"/>
            </a:xfrm>
            <a:prstGeom prst="rect">
              <a:avLst/>
            </a:prstGeom>
            <a:noFill/>
            <a:ln w="9525">
              <a:noFill/>
              <a:miter lim="800000"/>
              <a:headEnd/>
              <a:tailEnd/>
            </a:ln>
          </p:spPr>
          <p:txBody>
            <a:bodyPr wrap="square" lIns="0" tIns="46800" rIns="0" bIns="36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6.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数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025" y="6541982"/>
            <a:ext cx="9001000" cy="123111"/>
          </a:xfrm>
          <a:prstGeom prst="rect">
            <a:avLst/>
          </a:prstGeom>
          <a:noFill/>
        </p:spPr>
        <p:txBody>
          <a:bodyPr wrap="square" lIns="0" tIns="0" rIns="0" bIns="0" rtlCol="0">
            <a:sp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cs typeface="Arial" panose="020B0604020202020204" pitchFamily="34" charset="0"/>
              </a:rPr>
              <a:t> 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27906" y="2352577"/>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143386" y="2352577"/>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153" name="Straight Connector 152">
            <a:extLst>
              <a:ext uri="{FF2B5EF4-FFF2-40B4-BE49-F238E27FC236}">
                <a16:creationId xmlns:a16="http://schemas.microsoft.com/office/drawing/2014/main" id="{2A2FFDBF-7395-42FC-96FE-0CDDB96B3749}"/>
              </a:ext>
            </a:extLst>
          </p:cNvPr>
          <p:cNvCxnSpPr/>
          <p:nvPr>
            <p:custDataLst>
              <p:tags r:id="rId3"/>
            </p:custDataLst>
          </p:nvPr>
        </p:nvCxnSpPr>
        <p:spPr bwMode="gray">
          <a:xfrm>
            <a:off x="908050" y="23050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4FE06E99-8DA2-1DB8-5966-D7670A633BE1}"/>
              </a:ext>
            </a:extLst>
          </p:cNvPr>
          <p:cNvCxnSpPr/>
          <p:nvPr>
            <p:custDataLst>
              <p:tags r:id="rId4"/>
            </p:custDataLst>
          </p:nvPr>
        </p:nvCxnSpPr>
        <p:spPr bwMode="gray">
          <a:xfrm>
            <a:off x="908050" y="25082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B0730B8-B5F8-A40C-734D-B1D32B2EF539}"/>
              </a:ext>
            </a:extLst>
          </p:cNvPr>
          <p:cNvCxnSpPr/>
          <p:nvPr>
            <p:custDataLst>
              <p:tags r:id="rId5"/>
            </p:custDataLst>
          </p:nvPr>
        </p:nvCxnSpPr>
        <p:spPr bwMode="gray">
          <a:xfrm>
            <a:off x="908050" y="27114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88D57462-F719-E4B4-EE2A-C83D985E99CE}"/>
              </a:ext>
            </a:extLst>
          </p:cNvPr>
          <p:cNvCxnSpPr/>
          <p:nvPr>
            <p:custDataLst>
              <p:tags r:id="rId6"/>
            </p:custDataLst>
          </p:nvPr>
        </p:nvCxnSpPr>
        <p:spPr bwMode="gray">
          <a:xfrm>
            <a:off x="908050" y="29146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Oval 48"/>
          <p:cNvSpPr/>
          <p:nvPr>
            <p:custDataLst>
              <p:tags r:id="rId7"/>
            </p:custDataLst>
          </p:nvPr>
        </p:nvSpPr>
        <p:spPr bwMode="gray">
          <a:xfrm>
            <a:off x="996950" y="22669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116">
            <a:extLst>
              <a:ext uri="{FF2B5EF4-FFF2-40B4-BE49-F238E27FC236}">
                <a16:creationId xmlns:a16="http://schemas.microsoft.com/office/drawing/2014/main" id="{9A550FD9-EE2E-2565-37D3-253E6A0801B6}"/>
              </a:ext>
            </a:extLst>
          </p:cNvPr>
          <p:cNvSpPr/>
          <p:nvPr>
            <p:custDataLst>
              <p:tags r:id="rId8"/>
            </p:custDataLst>
          </p:nvPr>
        </p:nvSpPr>
        <p:spPr bwMode="auto">
          <a:xfrm>
            <a:off x="996950" y="247015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9" name="Isosceles Triangle 128">
            <a:extLst>
              <a:ext uri="{FF2B5EF4-FFF2-40B4-BE49-F238E27FC236}">
                <a16:creationId xmlns:a16="http://schemas.microsoft.com/office/drawing/2014/main" id="{C5C8402A-036D-3B60-61E7-47777CCDD2DF}"/>
              </a:ext>
            </a:extLst>
          </p:cNvPr>
          <p:cNvSpPr/>
          <p:nvPr>
            <p:custDataLst>
              <p:tags r:id="rId9"/>
            </p:custDataLst>
          </p:nvPr>
        </p:nvSpPr>
        <p:spPr bwMode="auto">
          <a:xfrm>
            <a:off x="996950" y="267335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0" name="Diamond 139">
            <a:extLst>
              <a:ext uri="{FF2B5EF4-FFF2-40B4-BE49-F238E27FC236}">
                <a16:creationId xmlns:a16="http://schemas.microsoft.com/office/drawing/2014/main" id="{77EB4679-0F93-6DAD-FF19-C91122FED7EF}"/>
              </a:ext>
            </a:extLst>
          </p:cNvPr>
          <p:cNvSpPr/>
          <p:nvPr>
            <p:custDataLst>
              <p:tags r:id="rId10"/>
            </p:custDataLst>
          </p:nvPr>
        </p:nvSpPr>
        <p:spPr bwMode="auto">
          <a:xfrm>
            <a:off x="996950" y="287655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テキスト プレースホルダ 9"/>
          <p:cNvSpPr>
            <a:spLocks noGrp="1"/>
          </p:cNvSpPr>
          <p:nvPr>
            <p:custDataLst>
              <p:tags r:id="rId11"/>
            </p:custDataLst>
          </p:nvPr>
        </p:nvSpPr>
        <p:spPr bwMode="auto">
          <a:xfrm>
            <a:off x="1219200" y="2233613"/>
            <a:ext cx="7969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6EB985-CB17-4BDA-AA7D-029C4B27435A}" type="datetime'''''''''''看''''''''''''''''''''''''護''''''''''''''''師'''''''">
              <a:rPr lang="ja-JP" altLang="en-US" sz="1000" smtClean="0"/>
              <a:pPr marL="0" indent="0">
                <a:spcBef>
                  <a:spcPct val="0"/>
                </a:spcBef>
                <a:buNone/>
              </a:pPr>
              <a:t>看護師</a:t>
            </a:fld>
            <a:r>
              <a:rPr lang="en-US" altLang="ja-JP" sz="1000" dirty="0"/>
              <a:t>/</a:t>
            </a:r>
            <a:r>
              <a:rPr lang="ja-JP" altLang="en-US" sz="1000" dirty="0"/>
              <a:t>助産師</a:t>
            </a:r>
            <a:endParaRPr kumimoji="0" lang="ja-JP" altLang="en-US" sz="1000" dirty="0">
              <a:sym typeface="+mn-lt"/>
            </a:endParaRPr>
          </a:p>
        </p:txBody>
      </p:sp>
      <p:sp>
        <p:nvSpPr>
          <p:cNvPr id="112" name="テキスト プレースホルダ 9">
            <a:extLst>
              <a:ext uri="{FF2B5EF4-FFF2-40B4-BE49-F238E27FC236}">
                <a16:creationId xmlns:a16="http://schemas.microsoft.com/office/drawing/2014/main" id="{FFDFF531-6A8E-1195-B5BA-EF0EF5B7A49F}"/>
              </a:ext>
            </a:extLst>
          </p:cNvPr>
          <p:cNvSpPr>
            <a:spLocks noGrp="1"/>
          </p:cNvSpPr>
          <p:nvPr>
            <p:custDataLst>
              <p:tags r:id="rId12"/>
            </p:custDataLst>
          </p:nvPr>
        </p:nvSpPr>
        <p:spPr bwMode="auto">
          <a:xfrm>
            <a:off x="1219200" y="24368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A1F772-12B1-431C-A99F-955947E982BA}" type="datetime'''''''''''''医''''''''''''師（''歯科''医''''''を''''''''''除く''''''）'">
              <a:rPr kumimoji="0" lang="ja-JP" altLang="en-US" sz="1000" smtClean="0"/>
              <a:pPr/>
              <a:t>医師（歯科医を除く）</a:t>
            </a:fld>
            <a:endParaRPr kumimoji="0" lang="ja-JP" altLang="en-US" sz="1000" dirty="0">
              <a:sym typeface="+mn-lt"/>
            </a:endParaRPr>
          </a:p>
        </p:txBody>
      </p:sp>
      <p:sp>
        <p:nvSpPr>
          <p:cNvPr id="126" name="テキスト プレースホルダ 9">
            <a:extLst>
              <a:ext uri="{FF2B5EF4-FFF2-40B4-BE49-F238E27FC236}">
                <a16:creationId xmlns:a16="http://schemas.microsoft.com/office/drawing/2014/main" id="{4CB8A899-CE56-2CEB-1013-E7EF18731194}"/>
              </a:ext>
            </a:extLst>
          </p:cNvPr>
          <p:cNvSpPr>
            <a:spLocks noGrp="1"/>
          </p:cNvSpPr>
          <p:nvPr>
            <p:custDataLst>
              <p:tags r:id="rId13"/>
            </p:custDataLst>
          </p:nvPr>
        </p:nvSpPr>
        <p:spPr bwMode="auto">
          <a:xfrm>
            <a:off x="1219200" y="26400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101E8E0-AD7A-49DB-ADB3-B0AC7D2156C6}" type="datetime'''''''''薬''''剤''''''''''''師'''''">
              <a:rPr kumimoji="0" lang="ja-JP" altLang="en-US" sz="1000" smtClean="0"/>
              <a:pPr/>
              <a:t>薬剤師</a:t>
            </a:fld>
            <a:endParaRPr kumimoji="0" lang="ja-JP" altLang="en-US" sz="1000" dirty="0">
              <a:sym typeface="+mn-lt"/>
            </a:endParaRPr>
          </a:p>
        </p:txBody>
      </p:sp>
      <p:sp>
        <p:nvSpPr>
          <p:cNvPr id="137" name="テキスト プレースホルダ 9">
            <a:extLst>
              <a:ext uri="{FF2B5EF4-FFF2-40B4-BE49-F238E27FC236}">
                <a16:creationId xmlns:a16="http://schemas.microsoft.com/office/drawing/2014/main" id="{8F1B2D45-3A7A-2A73-48E8-43C9BC9B83F3}"/>
              </a:ext>
            </a:extLst>
          </p:cNvPr>
          <p:cNvSpPr>
            <a:spLocks noGrp="1"/>
          </p:cNvSpPr>
          <p:nvPr>
            <p:custDataLst>
              <p:tags r:id="rId14"/>
            </p:custDataLst>
          </p:nvPr>
        </p:nvSpPr>
        <p:spPr bwMode="auto">
          <a:xfrm>
            <a:off x="1219200" y="28432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C3F215-AE3B-4FB7-9886-A99832393923}" type="datetime'''''''''''''''歯科医'''''''''''''''">
              <a:rPr kumimoji="0" lang="ja-JP" altLang="en-US" sz="1000" smtClean="0"/>
              <a:pPr/>
              <a:t>歯科医</a:t>
            </a:fld>
            <a:endParaRPr kumimoji="0" lang="ja-JP" altLang="en-US" sz="1000" dirty="0">
              <a:sym typeface="+mn-lt"/>
            </a:endParaRPr>
          </a:p>
        </p:txBody>
      </p:sp>
      <p:graphicFrame>
        <p:nvGraphicFramePr>
          <p:cNvPr id="15" name="Chart 14">
            <a:extLst>
              <a:ext uri="{FF2B5EF4-FFF2-40B4-BE49-F238E27FC236}">
                <a16:creationId xmlns:a16="http://schemas.microsoft.com/office/drawing/2014/main" id="{96BCAB59-0574-BE95-BAED-12FB2F3CCC4A}"/>
              </a:ext>
            </a:extLst>
          </p:cNvPr>
          <p:cNvGraphicFramePr/>
          <p:nvPr>
            <p:custDataLst>
              <p:tags r:id="rId15"/>
            </p:custDataLst>
            <p:extLst>
              <p:ext uri="{D42A27DB-BD31-4B8C-83A1-F6EECF244321}">
                <p14:modId xmlns:p14="http://schemas.microsoft.com/office/powerpoint/2010/main" val="2640043326"/>
              </p:ext>
            </p:extLst>
          </p:nvPr>
        </p:nvGraphicFramePr>
        <p:xfrm>
          <a:off x="106363" y="2627313"/>
          <a:ext cx="5018087" cy="3517900"/>
        </p:xfrm>
        <a:graphic>
          <a:graphicData uri="http://schemas.openxmlformats.org/drawingml/2006/chart">
            <c:chart xmlns:c="http://schemas.openxmlformats.org/drawingml/2006/chart" xmlns:r="http://schemas.openxmlformats.org/officeDocument/2006/relationships" r:id="rId101"/>
          </a:graphicData>
        </a:graphic>
      </p:graphicFrame>
      <p:cxnSp>
        <p:nvCxnSpPr>
          <p:cNvPr id="210" name="Straight Connector 209">
            <a:extLst>
              <a:ext uri="{FF2B5EF4-FFF2-40B4-BE49-F238E27FC236}">
                <a16:creationId xmlns:a16="http://schemas.microsoft.com/office/drawing/2014/main" id="{4F26A041-563C-73E3-679B-7867B0C2D34A}"/>
              </a:ext>
            </a:extLst>
          </p:cNvPr>
          <p:cNvCxnSpPr>
            <a:cxnSpLocks/>
          </p:cNvCxnSpPr>
          <p:nvPr>
            <p:custDataLst>
              <p:tags r:id="rId16"/>
            </p:custDataLst>
          </p:nvPr>
        </p:nvCxnSpPr>
        <p:spPr bwMode="auto">
          <a:xfrm flipH="1">
            <a:off x="1428750" y="4283075"/>
            <a:ext cx="190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4" name="Straight Connector 543">
            <a:extLst>
              <a:ext uri="{FF2B5EF4-FFF2-40B4-BE49-F238E27FC236}">
                <a16:creationId xmlns:a16="http://schemas.microsoft.com/office/drawing/2014/main" id="{06058BFF-CF66-D60E-E11F-01F032B53928}"/>
              </a:ext>
            </a:extLst>
          </p:cNvPr>
          <p:cNvCxnSpPr/>
          <p:nvPr>
            <p:custDataLst>
              <p:tags r:id="rId17"/>
            </p:custDataLst>
          </p:nvPr>
        </p:nvCxnSpPr>
        <p:spPr bwMode="auto">
          <a:xfrm flipH="1">
            <a:off x="1392238" y="5662613"/>
            <a:ext cx="28575"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DF68B1A-67BA-312B-BB59-8BEB118F9A68}"/>
              </a:ext>
            </a:extLst>
          </p:cNvPr>
          <p:cNvCxnSpPr/>
          <p:nvPr>
            <p:custDataLst>
              <p:tags r:id="rId18"/>
            </p:custDataLst>
          </p:nvPr>
        </p:nvCxnSpPr>
        <p:spPr bwMode="auto">
          <a:xfrm>
            <a:off x="2482850" y="49593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6893BAFC-80E5-C48E-CD41-4F425D30FF9A}"/>
              </a:ext>
            </a:extLst>
          </p:cNvPr>
          <p:cNvCxnSpPr/>
          <p:nvPr>
            <p:custDataLst>
              <p:tags r:id="rId19"/>
            </p:custDataLst>
          </p:nvPr>
        </p:nvCxnSpPr>
        <p:spPr bwMode="auto">
          <a:xfrm>
            <a:off x="2765425" y="48799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2" name="Straight Connector 571">
            <a:extLst>
              <a:ext uri="{FF2B5EF4-FFF2-40B4-BE49-F238E27FC236}">
                <a16:creationId xmlns:a16="http://schemas.microsoft.com/office/drawing/2014/main" id="{283F9B6D-4C06-BC92-5312-9DF73C5E9116}"/>
              </a:ext>
            </a:extLst>
          </p:cNvPr>
          <p:cNvCxnSpPr/>
          <p:nvPr>
            <p:custDataLst>
              <p:tags r:id="rId20"/>
            </p:custDataLst>
          </p:nvPr>
        </p:nvCxnSpPr>
        <p:spPr bwMode="auto">
          <a:xfrm flipH="1">
            <a:off x="2809875" y="5559425"/>
            <a:ext cx="3175" cy="31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B4CDA5D4-1BF2-8F76-BF13-BEFE6A764886}"/>
              </a:ext>
            </a:extLst>
          </p:cNvPr>
          <p:cNvCxnSpPr>
            <a:cxnSpLocks/>
          </p:cNvCxnSpPr>
          <p:nvPr>
            <p:custDataLst>
              <p:tags r:id="rId21"/>
            </p:custDataLst>
          </p:nvPr>
        </p:nvCxnSpPr>
        <p:spPr bwMode="auto">
          <a:xfrm flipH="1">
            <a:off x="1103313" y="4244975"/>
            <a:ext cx="14288" cy="31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CA5209B2-52F9-ED6C-A553-20C26E26AA2C}"/>
              </a:ext>
            </a:extLst>
          </p:cNvPr>
          <p:cNvCxnSpPr/>
          <p:nvPr>
            <p:custDataLst>
              <p:tags r:id="rId22"/>
            </p:custDataLst>
          </p:nvPr>
        </p:nvCxnSpPr>
        <p:spPr bwMode="auto">
          <a:xfrm>
            <a:off x="4173538" y="45227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A4CE8952-8CE5-2E0B-6FC8-9883A152F77D}"/>
              </a:ext>
            </a:extLst>
          </p:cNvPr>
          <p:cNvCxnSpPr/>
          <p:nvPr>
            <p:custDataLst>
              <p:tags r:id="rId23"/>
            </p:custDataLst>
          </p:nvPr>
        </p:nvCxnSpPr>
        <p:spPr bwMode="auto">
          <a:xfrm>
            <a:off x="1919288" y="50434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87C4A133-B912-5064-6D45-085A0D11E39E}"/>
              </a:ext>
            </a:extLst>
          </p:cNvPr>
          <p:cNvCxnSpPr/>
          <p:nvPr>
            <p:custDataLst>
              <p:tags r:id="rId24"/>
            </p:custDataLst>
          </p:nvPr>
        </p:nvCxnSpPr>
        <p:spPr bwMode="auto">
          <a:xfrm>
            <a:off x="3046413" y="48117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50D93D63-7F81-08DC-B729-8883F520CF9C}"/>
              </a:ext>
            </a:extLst>
          </p:cNvPr>
          <p:cNvCxnSpPr/>
          <p:nvPr>
            <p:custDataLst>
              <p:tags r:id="rId25"/>
            </p:custDataLst>
          </p:nvPr>
        </p:nvCxnSpPr>
        <p:spPr bwMode="auto">
          <a:xfrm>
            <a:off x="3609975" y="47244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B01136D1-3195-7E47-DBFA-713802E8A947}"/>
              </a:ext>
            </a:extLst>
          </p:cNvPr>
          <p:cNvCxnSpPr/>
          <p:nvPr>
            <p:custDataLst>
              <p:tags r:id="rId26"/>
            </p:custDataLst>
          </p:nvPr>
        </p:nvCxnSpPr>
        <p:spPr bwMode="auto">
          <a:xfrm>
            <a:off x="3892550" y="46640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286A1BC-907B-6E72-21FB-8BCA39FCE209}"/>
              </a:ext>
            </a:extLst>
          </p:cNvPr>
          <p:cNvCxnSpPr>
            <a:cxnSpLocks/>
          </p:cNvCxnSpPr>
          <p:nvPr>
            <p:custDataLst>
              <p:tags r:id="rId27"/>
            </p:custDataLst>
          </p:nvPr>
        </p:nvCxnSpPr>
        <p:spPr bwMode="auto">
          <a:xfrm flipH="1">
            <a:off x="3914775" y="5478463"/>
            <a:ext cx="14288"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B01622E8-0B86-359D-A9B4-3D85A3F9F021}"/>
              </a:ext>
            </a:extLst>
          </p:cNvPr>
          <p:cNvCxnSpPr/>
          <p:nvPr>
            <p:custDataLst>
              <p:tags r:id="rId28"/>
            </p:custDataLst>
          </p:nvPr>
        </p:nvCxnSpPr>
        <p:spPr bwMode="auto">
          <a:xfrm>
            <a:off x="4456113" y="45085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D5F7F05F-971F-CF69-3D70-85C4A72A3F7B}"/>
              </a:ext>
            </a:extLst>
          </p:cNvPr>
          <p:cNvCxnSpPr/>
          <p:nvPr>
            <p:custDataLst>
              <p:tags r:id="rId29"/>
            </p:custDataLst>
          </p:nvPr>
        </p:nvCxnSpPr>
        <p:spPr bwMode="auto">
          <a:xfrm>
            <a:off x="1311275" y="5129213"/>
            <a:ext cx="12700" cy="269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49A66DF-F5ED-E2AF-4AD7-43D0BB4513B2}"/>
              </a:ext>
            </a:extLst>
          </p:cNvPr>
          <p:cNvCxnSpPr/>
          <p:nvPr>
            <p:custDataLst>
              <p:tags r:id="rId30"/>
            </p:custDataLst>
          </p:nvPr>
        </p:nvCxnSpPr>
        <p:spPr bwMode="auto">
          <a:xfrm>
            <a:off x="2482850" y="55657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0061DF37-63AD-2037-2DF1-95ADA879ABB9}"/>
              </a:ext>
            </a:extLst>
          </p:cNvPr>
          <p:cNvCxnSpPr>
            <a:cxnSpLocks/>
          </p:cNvCxnSpPr>
          <p:nvPr>
            <p:custDataLst>
              <p:tags r:id="rId31"/>
            </p:custDataLst>
          </p:nvPr>
        </p:nvCxnSpPr>
        <p:spPr bwMode="auto">
          <a:xfrm flipH="1">
            <a:off x="4494213" y="5438775"/>
            <a:ext cx="11113" cy="174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91" name="テキスト プレースホルダ 9">
            <a:extLst>
              <a:ext uri="{FF2B5EF4-FFF2-40B4-BE49-F238E27FC236}">
                <a16:creationId xmlns:a16="http://schemas.microsoft.com/office/drawing/2014/main" id="{AB57222F-2D7D-58EA-21A4-D178E8B1D6A4}"/>
              </a:ext>
            </a:extLst>
          </p:cNvPr>
          <p:cNvSpPr>
            <a:spLocks noGrp="1"/>
          </p:cNvSpPr>
          <p:nvPr>
            <p:custDataLst>
              <p:tags r:id="rId32"/>
            </p:custDataLst>
          </p:nvPr>
        </p:nvSpPr>
        <p:spPr bwMode="gray">
          <a:xfrm>
            <a:off x="1633538" y="5802313"/>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A930AE6-B67A-4EDD-8ADE-12F6CD232A8B}" type="datetime'''1''2,''''''''78''5'''''''''">
              <a:rPr lang="ja-JP" altLang="en-US" sz="800" smtClean="0">
                <a:effectLst/>
                <a:sym typeface="+mn-lt"/>
              </a:rPr>
              <a:pPr marL="0" lvl="0" indent="0">
                <a:spcBef>
                  <a:spcPct val="0"/>
                </a:spcBef>
                <a:buNone/>
              </a:pPr>
              <a:t>12,785</a:t>
            </a:fld>
            <a:endParaRPr lang="ja-JP" altLang="en-US" sz="800" dirty="0">
              <a:sym typeface="+mn-lt"/>
            </a:endParaRPr>
          </a:p>
        </p:txBody>
      </p:sp>
      <p:sp>
        <p:nvSpPr>
          <p:cNvPr id="515" name="テキスト プレースホルダ 9">
            <a:extLst>
              <a:ext uri="{FF2B5EF4-FFF2-40B4-BE49-F238E27FC236}">
                <a16:creationId xmlns:a16="http://schemas.microsoft.com/office/drawing/2014/main" id="{D1440524-A3E3-1075-DE4F-AF01CEC50E0E}"/>
              </a:ext>
            </a:extLst>
          </p:cNvPr>
          <p:cNvSpPr>
            <a:spLocks noGrp="1"/>
          </p:cNvSpPr>
          <p:nvPr>
            <p:custDataLst>
              <p:tags r:id="rId33"/>
            </p:custDataLst>
          </p:nvPr>
        </p:nvSpPr>
        <p:spPr bwMode="auto">
          <a:xfrm>
            <a:off x="1843088"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CECCBF-C9CD-43C5-B230-3D7CE2E38638}"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useBgFill="1">
        <p:nvSpPr>
          <p:cNvPr id="316" name="テキスト プレースホルダ 9">
            <a:extLst>
              <a:ext uri="{FF2B5EF4-FFF2-40B4-BE49-F238E27FC236}">
                <a16:creationId xmlns:a16="http://schemas.microsoft.com/office/drawing/2014/main" id="{8C491C92-4D79-E0BB-E041-8A1DCDD50732}"/>
              </a:ext>
            </a:extLst>
          </p:cNvPr>
          <p:cNvSpPr>
            <a:spLocks noGrp="1"/>
          </p:cNvSpPr>
          <p:nvPr>
            <p:custDataLst>
              <p:tags r:id="rId34"/>
            </p:custDataLst>
          </p:nvPr>
        </p:nvSpPr>
        <p:spPr bwMode="gray">
          <a:xfrm>
            <a:off x="1824038" y="3738563"/>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3D5A823-EA69-4B69-9204-188EF4BF4188}" type="datetime'1''''''''''7''''''2'''''''''''''''''',''4''''''''''''''83'''''">
              <a:rPr lang="ja-JP" altLang="en-US" sz="800" smtClean="0">
                <a:effectLst/>
                <a:sym typeface="+mn-lt"/>
              </a:rPr>
              <a:pPr marL="0" lvl="0" indent="0">
                <a:spcBef>
                  <a:spcPct val="0"/>
                </a:spcBef>
                <a:buNone/>
              </a:pPr>
              <a:t>172,483</a:t>
            </a:fld>
            <a:endParaRPr kumimoji="1" lang="ja-JP" altLang="en-US" sz="800" dirty="0">
              <a:sym typeface="+mn-lt"/>
            </a:endParaRPr>
          </a:p>
        </p:txBody>
      </p:sp>
      <p:sp useBgFill="1">
        <p:nvSpPr>
          <p:cNvPr id="575" name="テキスト プレースホルダ 9">
            <a:extLst>
              <a:ext uri="{FF2B5EF4-FFF2-40B4-BE49-F238E27FC236}">
                <a16:creationId xmlns:a16="http://schemas.microsoft.com/office/drawing/2014/main" id="{F77CE542-BD45-12F0-1BCA-57CD8DED8A2B}"/>
              </a:ext>
            </a:extLst>
          </p:cNvPr>
          <p:cNvSpPr>
            <a:spLocks noGrp="1"/>
          </p:cNvSpPr>
          <p:nvPr>
            <p:custDataLst>
              <p:tags r:id="rId35"/>
            </p:custDataLst>
          </p:nvPr>
        </p:nvSpPr>
        <p:spPr bwMode="gray">
          <a:xfrm>
            <a:off x="2043113" y="553243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37AA73E-090C-43C0-B22F-E5EF7BA1BBA8}" type="datetime'''''''''''''23'''''',''''''''''''6''''''2''''''''''''''''4'">
              <a:rPr lang="ja-JP" altLang="en-US" sz="800" smtClean="0">
                <a:effectLst/>
                <a:sym typeface="+mn-lt"/>
              </a:rPr>
              <a:pPr marL="0" lvl="0" indent="0">
                <a:spcBef>
                  <a:spcPct val="0"/>
                </a:spcBef>
                <a:buNone/>
              </a:pPr>
              <a:t>23,624</a:t>
            </a:fld>
            <a:endParaRPr kumimoji="1" lang="ja-JP" altLang="en-US" sz="800" dirty="0">
              <a:sym typeface="+mn-lt"/>
            </a:endParaRPr>
          </a:p>
        </p:txBody>
      </p:sp>
      <p:sp useBgFill="1">
        <p:nvSpPr>
          <p:cNvPr id="408" name="テキスト プレースホルダ 9">
            <a:extLst>
              <a:ext uri="{FF2B5EF4-FFF2-40B4-BE49-F238E27FC236}">
                <a16:creationId xmlns:a16="http://schemas.microsoft.com/office/drawing/2014/main" id="{37BB2CEB-6386-9B68-A91F-2C5A171AD2E3}"/>
              </a:ext>
            </a:extLst>
          </p:cNvPr>
          <p:cNvSpPr>
            <a:spLocks noGrp="1"/>
          </p:cNvSpPr>
          <p:nvPr>
            <p:custDataLst>
              <p:tags r:id="rId36"/>
            </p:custDataLst>
          </p:nvPr>
        </p:nvSpPr>
        <p:spPr bwMode="gray">
          <a:xfrm>
            <a:off x="1966913" y="581818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55BBBBF-A94D-4CF4-A378-3A50C778EAC1}" type="datetime'''1''''''''''''''3'''',''''''''''''50''2'''''''''''''''">
              <a:rPr lang="ja-JP" altLang="en-US" sz="800" smtClean="0">
                <a:effectLst/>
                <a:sym typeface="+mn-lt"/>
              </a:rPr>
              <a:pPr marL="0" lvl="0" indent="0">
                <a:spcBef>
                  <a:spcPct val="0"/>
                </a:spcBef>
                <a:buNone/>
              </a:pPr>
              <a:t>13,502</a:t>
            </a:fld>
            <a:endParaRPr lang="ja-JP" altLang="en-US" sz="800" dirty="0">
              <a:sym typeface="+mn-lt"/>
            </a:endParaRPr>
          </a:p>
        </p:txBody>
      </p:sp>
      <p:sp>
        <p:nvSpPr>
          <p:cNvPr id="516" name="テキスト プレースホルダ 9">
            <a:extLst>
              <a:ext uri="{FF2B5EF4-FFF2-40B4-BE49-F238E27FC236}">
                <a16:creationId xmlns:a16="http://schemas.microsoft.com/office/drawing/2014/main" id="{702B15D2-B9F4-2341-EFF8-160D2012599F}"/>
              </a:ext>
            </a:extLst>
          </p:cNvPr>
          <p:cNvSpPr>
            <a:spLocks noGrp="1"/>
          </p:cNvSpPr>
          <p:nvPr>
            <p:custDataLst>
              <p:tags r:id="rId37"/>
            </p:custDataLst>
          </p:nvPr>
        </p:nvSpPr>
        <p:spPr bwMode="auto">
          <a:xfrm>
            <a:off x="2125663"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57DFE9-1A0D-4FA6-B7B8-32D5F78A34A4}"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useBgFill="1">
        <p:nvSpPr>
          <p:cNvPr id="409" name="テキスト プレースホルダ 9">
            <a:extLst>
              <a:ext uri="{FF2B5EF4-FFF2-40B4-BE49-F238E27FC236}">
                <a16:creationId xmlns:a16="http://schemas.microsoft.com/office/drawing/2014/main" id="{0EEBD08E-F27C-83C4-89C7-681CC7FF4437}"/>
              </a:ext>
            </a:extLst>
          </p:cNvPr>
          <p:cNvSpPr>
            <a:spLocks noGrp="1"/>
          </p:cNvSpPr>
          <p:nvPr>
            <p:custDataLst>
              <p:tags r:id="rId38"/>
            </p:custDataLst>
          </p:nvPr>
        </p:nvSpPr>
        <p:spPr bwMode="gray">
          <a:xfrm>
            <a:off x="2311400" y="5794375"/>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AF94386-781E-42C6-9730-642254055BAD}" type="datetime'''''''''''''''''''''1''''''3'',9''''''''''''3''''5'">
              <a:rPr lang="ja-JP" altLang="en-US" sz="800" smtClean="0">
                <a:effectLst/>
                <a:sym typeface="+mn-lt"/>
              </a:rPr>
              <a:pPr marL="0" lvl="0" indent="0">
                <a:spcBef>
                  <a:spcPct val="0"/>
                </a:spcBef>
                <a:buNone/>
              </a:pPr>
              <a:t>13,935</a:t>
            </a:fld>
            <a:endParaRPr lang="ja-JP" altLang="en-US" sz="800" dirty="0">
              <a:sym typeface="+mn-lt"/>
            </a:endParaRPr>
          </a:p>
        </p:txBody>
      </p:sp>
      <p:sp>
        <p:nvSpPr>
          <p:cNvPr id="517" name="テキスト プレースホルダ 9">
            <a:extLst>
              <a:ext uri="{FF2B5EF4-FFF2-40B4-BE49-F238E27FC236}">
                <a16:creationId xmlns:a16="http://schemas.microsoft.com/office/drawing/2014/main" id="{2431ED0A-D083-6361-B4E4-95E50592470F}"/>
              </a:ext>
            </a:extLst>
          </p:cNvPr>
          <p:cNvSpPr>
            <a:spLocks noGrp="1"/>
          </p:cNvSpPr>
          <p:nvPr>
            <p:custDataLst>
              <p:tags r:id="rId39"/>
            </p:custDataLst>
          </p:nvPr>
        </p:nvSpPr>
        <p:spPr bwMode="auto">
          <a:xfrm>
            <a:off x="2406650"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673C33-6D1E-4FD1-B400-541995B0F2BD}"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useBgFill="1">
        <p:nvSpPr>
          <p:cNvPr id="358" name="テキスト プレースホルダ 9">
            <a:extLst>
              <a:ext uri="{FF2B5EF4-FFF2-40B4-BE49-F238E27FC236}">
                <a16:creationId xmlns:a16="http://schemas.microsoft.com/office/drawing/2014/main" id="{68A8EC7C-AFF7-B1F7-620E-BFC217740FF1}"/>
              </a:ext>
            </a:extLst>
          </p:cNvPr>
          <p:cNvSpPr>
            <a:spLocks noGrp="1"/>
          </p:cNvSpPr>
          <p:nvPr>
            <p:custDataLst>
              <p:tags r:id="rId40"/>
            </p:custDataLst>
          </p:nvPr>
        </p:nvSpPr>
        <p:spPr bwMode="gray">
          <a:xfrm>
            <a:off x="931863" y="5780088"/>
            <a:ext cx="285750" cy="122238"/>
          </a:xfrm>
          <a:prstGeom prst="rect">
            <a:avLst/>
          </a:prstGeom>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4F41A6-632D-481D-B095-58C9AFB12CEB}" type="datetime'''''''''''''9'''''',''''''''''9''''''''''''6''''''''''5'''">
              <a:rPr lang="ja-JP" altLang="en-US" sz="800" smtClean="0">
                <a:effectLst/>
                <a:sym typeface="+mn-lt"/>
              </a:rPr>
              <a:pPr marL="0" lvl="0" indent="0" algn="ctr">
                <a:spcBef>
                  <a:spcPct val="0"/>
                </a:spcBef>
                <a:buNone/>
              </a:pPr>
              <a:t>9,965</a:t>
            </a:fld>
            <a:endParaRPr kumimoji="1" lang="ja-JP" altLang="en-US" sz="800" dirty="0">
              <a:sym typeface="+mn-lt"/>
            </a:endParaRPr>
          </a:p>
        </p:txBody>
      </p:sp>
      <p:sp>
        <p:nvSpPr>
          <p:cNvPr id="518" name="テキスト プレースホルダ 9">
            <a:extLst>
              <a:ext uri="{FF2B5EF4-FFF2-40B4-BE49-F238E27FC236}">
                <a16:creationId xmlns:a16="http://schemas.microsoft.com/office/drawing/2014/main" id="{BE8CA0AE-25E6-59A8-71CD-A0B6D98B7C93}"/>
              </a:ext>
            </a:extLst>
          </p:cNvPr>
          <p:cNvSpPr>
            <a:spLocks noGrp="1"/>
          </p:cNvSpPr>
          <p:nvPr>
            <p:custDataLst>
              <p:tags r:id="rId41"/>
            </p:custDataLst>
          </p:nvPr>
        </p:nvSpPr>
        <p:spPr bwMode="auto">
          <a:xfrm>
            <a:off x="2689225"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C3E723-1C92-48D2-BCF5-1D9686475BE5}"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useBgFill="1">
        <p:nvSpPr>
          <p:cNvPr id="195" name="テキスト プレースホルダ 9">
            <a:extLst>
              <a:ext uri="{FF2B5EF4-FFF2-40B4-BE49-F238E27FC236}">
                <a16:creationId xmlns:a16="http://schemas.microsoft.com/office/drawing/2014/main" id="{000033E8-1690-F50A-EFC8-B028A6DD757F}"/>
              </a:ext>
            </a:extLst>
          </p:cNvPr>
          <p:cNvSpPr>
            <a:spLocks noGrp="1"/>
          </p:cNvSpPr>
          <p:nvPr>
            <p:custDataLst>
              <p:tags r:id="rId42"/>
            </p:custDataLst>
          </p:nvPr>
        </p:nvSpPr>
        <p:spPr bwMode="gray">
          <a:xfrm>
            <a:off x="2986088" y="3765550"/>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E7F7EF2-F816-45DE-9E04-24EB313F3E37}" type="datetime'''''18''''''''''4'''''''''',''''''''''''5''6''5'">
              <a:rPr lang="ja-JP" altLang="en-US" sz="800" smtClean="0">
                <a:effectLst/>
                <a:sym typeface="+mn-lt"/>
              </a:rPr>
              <a:pPr marL="0" lvl="0" indent="0">
                <a:spcBef>
                  <a:spcPct val="0"/>
                </a:spcBef>
                <a:buNone/>
              </a:pPr>
              <a:t>184,565</a:t>
            </a:fld>
            <a:endParaRPr kumimoji="1" lang="ja-JP" altLang="en-US" sz="800" dirty="0">
              <a:sym typeface="+mn-lt"/>
            </a:endParaRPr>
          </a:p>
        </p:txBody>
      </p:sp>
      <p:sp useBgFill="1">
        <p:nvSpPr>
          <p:cNvPr id="184" name="テキスト プレースホルダ 9">
            <a:extLst>
              <a:ext uri="{FF2B5EF4-FFF2-40B4-BE49-F238E27FC236}">
                <a16:creationId xmlns:a16="http://schemas.microsoft.com/office/drawing/2014/main" id="{784F4692-B5B4-E6C4-2451-05BB28A79166}"/>
              </a:ext>
            </a:extLst>
          </p:cNvPr>
          <p:cNvSpPr>
            <a:spLocks noGrp="1"/>
          </p:cNvSpPr>
          <p:nvPr>
            <p:custDataLst>
              <p:tags r:id="rId43"/>
            </p:custDataLst>
          </p:nvPr>
        </p:nvSpPr>
        <p:spPr bwMode="gray">
          <a:xfrm>
            <a:off x="500063" y="4244975"/>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5F757A1-51E7-42A6-B1A4-DFC368FC19FD}" type="datetime'''1''''''''''''''''''''''2''''9'',7''''9''2'''''''''">
              <a:rPr lang="ja-JP" altLang="en-US" sz="800" smtClean="0">
                <a:effectLst/>
                <a:sym typeface="+mn-lt"/>
              </a:rPr>
              <a:pPr marL="0" lvl="0" indent="0">
                <a:spcBef>
                  <a:spcPct val="0"/>
                </a:spcBef>
                <a:buNone/>
              </a:pPr>
              <a:t>129,792</a:t>
            </a:fld>
            <a:endParaRPr kumimoji="1" lang="ja-JP" altLang="en-US" sz="800" dirty="0">
              <a:sym typeface="+mn-lt"/>
            </a:endParaRPr>
          </a:p>
        </p:txBody>
      </p:sp>
      <p:sp useBgFill="1">
        <p:nvSpPr>
          <p:cNvPr id="410" name="テキスト プレースホルダ 9">
            <a:extLst>
              <a:ext uri="{FF2B5EF4-FFF2-40B4-BE49-F238E27FC236}">
                <a16:creationId xmlns:a16="http://schemas.microsoft.com/office/drawing/2014/main" id="{92876FED-BE64-FE08-77B4-C1C6BED7B302}"/>
              </a:ext>
            </a:extLst>
          </p:cNvPr>
          <p:cNvSpPr>
            <a:spLocks noGrp="1"/>
          </p:cNvSpPr>
          <p:nvPr>
            <p:custDataLst>
              <p:tags r:id="rId44"/>
            </p:custDataLst>
          </p:nvPr>
        </p:nvSpPr>
        <p:spPr bwMode="gray">
          <a:xfrm>
            <a:off x="2792413" y="574833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295AE34-9760-4B35-8CE2-86757E111E6D}" type="datetime'1''''''''''''6'''''',''''7''''''5''''2'''''''''''''''''''">
              <a:rPr lang="ja-JP" altLang="en-US" sz="800" smtClean="0">
                <a:effectLst/>
                <a:sym typeface="+mn-lt"/>
              </a:rPr>
              <a:pPr marL="0" lvl="0" indent="0">
                <a:spcBef>
                  <a:spcPct val="0"/>
                </a:spcBef>
                <a:buNone/>
              </a:pPr>
              <a:t>16,752</a:t>
            </a:fld>
            <a:endParaRPr lang="ja-JP" altLang="en-US" sz="800" dirty="0">
              <a:sym typeface="+mn-lt"/>
            </a:endParaRPr>
          </a:p>
        </p:txBody>
      </p:sp>
      <p:sp>
        <p:nvSpPr>
          <p:cNvPr id="519" name="テキスト プレースホルダ 9">
            <a:extLst>
              <a:ext uri="{FF2B5EF4-FFF2-40B4-BE49-F238E27FC236}">
                <a16:creationId xmlns:a16="http://schemas.microsoft.com/office/drawing/2014/main" id="{B5FC7956-C169-92AB-0CC4-ED9615BED346}"/>
              </a:ext>
            </a:extLst>
          </p:cNvPr>
          <p:cNvSpPr>
            <a:spLocks noGrp="1"/>
          </p:cNvSpPr>
          <p:nvPr>
            <p:custDataLst>
              <p:tags r:id="rId45"/>
            </p:custDataLst>
          </p:nvPr>
        </p:nvSpPr>
        <p:spPr bwMode="auto">
          <a:xfrm>
            <a:off x="2970213"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E6AFB0-3599-4FCB-8D43-B1BC485A28D5}"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E6B4D91E-0948-F6EC-823F-AF16040F137D}"/>
              </a:ext>
            </a:extLst>
          </p:cNvPr>
          <p:cNvSpPr>
            <a:spLocks noGrp="1"/>
          </p:cNvSpPr>
          <p:nvPr>
            <p:custDataLst>
              <p:tags r:id="rId46"/>
            </p:custDataLst>
          </p:nvPr>
        </p:nvSpPr>
        <p:spPr bwMode="auto">
          <a:xfrm>
            <a:off x="3252788"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20FDC7-1466-45AA-8EF4-3D5A036B3930}"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useBgFill="1">
        <p:nvSpPr>
          <p:cNvPr id="336" name="テキスト プレースホルダ 9">
            <a:extLst>
              <a:ext uri="{FF2B5EF4-FFF2-40B4-BE49-F238E27FC236}">
                <a16:creationId xmlns:a16="http://schemas.microsoft.com/office/drawing/2014/main" id="{6AFC7513-C624-F08D-6595-36B4E43C328A}"/>
              </a:ext>
            </a:extLst>
          </p:cNvPr>
          <p:cNvSpPr>
            <a:spLocks noGrp="1"/>
          </p:cNvSpPr>
          <p:nvPr>
            <p:custDataLst>
              <p:tags r:id="rId47"/>
            </p:custDataLst>
          </p:nvPr>
        </p:nvSpPr>
        <p:spPr bwMode="gray">
          <a:xfrm>
            <a:off x="519113" y="5105400"/>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DFEE667-C0F5-4801-B453-9F6BC4B90B25}" type="datetime'''''''5''''''''''''''6'',''''''''''''''''''''4''5''9'''''''">
              <a:rPr lang="ja-JP" altLang="en-US" sz="800" smtClean="0">
                <a:effectLst/>
                <a:sym typeface="+mn-lt"/>
              </a:rPr>
              <a:pPr marL="0" lvl="0" indent="0">
                <a:spcBef>
                  <a:spcPct val="0"/>
                </a:spcBef>
                <a:buNone/>
              </a:pPr>
              <a:t>56,459</a:t>
            </a:fld>
            <a:endParaRPr kumimoji="1" lang="ja-JP" altLang="en-US" sz="800" dirty="0">
              <a:sym typeface="+mn-lt"/>
            </a:endParaRPr>
          </a:p>
        </p:txBody>
      </p:sp>
      <p:sp>
        <p:nvSpPr>
          <p:cNvPr id="521" name="テキスト プレースホルダ 9">
            <a:extLst>
              <a:ext uri="{FF2B5EF4-FFF2-40B4-BE49-F238E27FC236}">
                <a16:creationId xmlns:a16="http://schemas.microsoft.com/office/drawing/2014/main" id="{457B7528-21C6-AFE6-CD0C-04AF3CA777A4}"/>
              </a:ext>
            </a:extLst>
          </p:cNvPr>
          <p:cNvSpPr>
            <a:spLocks noGrp="1"/>
          </p:cNvSpPr>
          <p:nvPr>
            <p:custDataLst>
              <p:tags r:id="rId48"/>
            </p:custDataLst>
          </p:nvPr>
        </p:nvSpPr>
        <p:spPr bwMode="auto">
          <a:xfrm>
            <a:off x="3533775"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F778BF-629D-47DA-A36D-50600B491EB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541" name="テキスト プレースホルダ 9">
            <a:extLst>
              <a:ext uri="{FF2B5EF4-FFF2-40B4-BE49-F238E27FC236}">
                <a16:creationId xmlns:a16="http://schemas.microsoft.com/office/drawing/2014/main" id="{4BFC1E51-0C0E-C075-A390-EFD415C4B78C}"/>
              </a:ext>
            </a:extLst>
          </p:cNvPr>
          <p:cNvSpPr>
            <a:spLocks noGrp="1"/>
          </p:cNvSpPr>
          <p:nvPr>
            <p:custDataLst>
              <p:tags r:id="rId49"/>
            </p:custDataLst>
          </p:nvPr>
        </p:nvSpPr>
        <p:spPr bwMode="gray">
          <a:xfrm>
            <a:off x="595313" y="5535613"/>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0F4FE5D-C418-4AA4-902F-EA7216BE6ACA}" type="datetime'1''''''''''''''4'''',''9''''''2''8'''''''''''">
              <a:rPr lang="ja-JP" altLang="en-US" sz="800" smtClean="0">
                <a:effectLst/>
                <a:sym typeface="+mn-lt"/>
              </a:rPr>
              <a:pPr marL="0" lvl="0" indent="0">
                <a:spcBef>
                  <a:spcPct val="0"/>
                </a:spcBef>
                <a:buNone/>
              </a:pPr>
              <a:t>14,928</a:t>
            </a:fld>
            <a:endParaRPr kumimoji="1" lang="ja-JP" altLang="en-US" sz="800" dirty="0">
              <a:sym typeface="+mn-lt"/>
            </a:endParaRPr>
          </a:p>
        </p:txBody>
      </p:sp>
      <p:sp useBgFill="1">
        <p:nvSpPr>
          <p:cNvPr id="185" name="テキスト プレースホルダ 9">
            <a:extLst>
              <a:ext uri="{FF2B5EF4-FFF2-40B4-BE49-F238E27FC236}">
                <a16:creationId xmlns:a16="http://schemas.microsoft.com/office/drawing/2014/main" id="{74C40893-FE4E-60B5-8660-99C6CB966730}"/>
              </a:ext>
            </a:extLst>
          </p:cNvPr>
          <p:cNvSpPr>
            <a:spLocks noGrp="1"/>
          </p:cNvSpPr>
          <p:nvPr>
            <p:custDataLst>
              <p:tags r:id="rId50"/>
            </p:custDataLst>
          </p:nvPr>
        </p:nvSpPr>
        <p:spPr bwMode="gray">
          <a:xfrm>
            <a:off x="582613" y="5864225"/>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D05977D-BB22-4531-9DD2-3FA0B371479D}" type="datetime'''''''''''9'''''',''''''''16''''''''''0'''''''''''''''">
              <a:rPr lang="ja-JP" altLang="en-US" sz="800" smtClean="0">
                <a:effectLst/>
                <a:sym typeface="+mn-lt"/>
              </a:rPr>
              <a:pPr marL="0" lvl="0" indent="0">
                <a:spcBef>
                  <a:spcPct val="0"/>
                </a:spcBef>
                <a:buNone/>
              </a:pPr>
              <a:t>9,160</a:t>
            </a:fld>
            <a:endParaRPr kumimoji="1" lang="ja-JP" altLang="en-US" sz="800" dirty="0">
              <a:sym typeface="+mn-lt"/>
            </a:endParaRPr>
          </a:p>
        </p:txBody>
      </p:sp>
      <p:sp useBgFill="1">
        <p:nvSpPr>
          <p:cNvPr id="578" name="テキスト プレースホルダ 9">
            <a:extLst>
              <a:ext uri="{FF2B5EF4-FFF2-40B4-BE49-F238E27FC236}">
                <a16:creationId xmlns:a16="http://schemas.microsoft.com/office/drawing/2014/main" id="{7B0A49EF-DF21-AE8F-B116-43C9B2671B1F}"/>
              </a:ext>
            </a:extLst>
          </p:cNvPr>
          <p:cNvSpPr>
            <a:spLocks noGrp="1"/>
          </p:cNvSpPr>
          <p:nvPr>
            <p:custDataLst>
              <p:tags r:id="rId51"/>
            </p:custDataLst>
          </p:nvPr>
        </p:nvSpPr>
        <p:spPr bwMode="gray">
          <a:xfrm>
            <a:off x="3716338" y="5694363"/>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83FF130-4A74-406F-B674-74C6ECA8FF39}" type="datetime'2''''''''''''''''''2'''''''',7''''''3''''''''9'''''''''''">
              <a:rPr lang="ja-JP" altLang="en-US" sz="800" smtClean="0">
                <a:effectLst/>
                <a:sym typeface="+mn-lt"/>
              </a:rPr>
              <a:pPr marL="0" lvl="0" indent="0">
                <a:spcBef>
                  <a:spcPct val="0"/>
                </a:spcBef>
                <a:buNone/>
              </a:pPr>
              <a:t>22,739</a:t>
            </a:fld>
            <a:endParaRPr kumimoji="1" lang="ja-JP" altLang="en-US" sz="800" dirty="0">
              <a:sym typeface="+mn-lt"/>
            </a:endParaRPr>
          </a:p>
        </p:txBody>
      </p:sp>
      <p:sp>
        <p:nvSpPr>
          <p:cNvPr id="522" name="テキスト プレースホルダ 9">
            <a:extLst>
              <a:ext uri="{FF2B5EF4-FFF2-40B4-BE49-F238E27FC236}">
                <a16:creationId xmlns:a16="http://schemas.microsoft.com/office/drawing/2014/main" id="{44D92462-9F71-20C5-9555-FFD46681D033}"/>
              </a:ext>
            </a:extLst>
          </p:cNvPr>
          <p:cNvSpPr>
            <a:spLocks noGrp="1"/>
          </p:cNvSpPr>
          <p:nvPr>
            <p:custDataLst>
              <p:tags r:id="rId52"/>
            </p:custDataLst>
          </p:nvPr>
        </p:nvSpPr>
        <p:spPr bwMode="auto">
          <a:xfrm>
            <a:off x="3816350"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40633B-DB2F-434A-890E-B421E8966F9C}"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11" name="テキスト プレースホルダ 9">
            <a:extLst>
              <a:ext uri="{FF2B5EF4-FFF2-40B4-BE49-F238E27FC236}">
                <a16:creationId xmlns:a16="http://schemas.microsoft.com/office/drawing/2014/main" id="{6F1428FC-E138-5050-8354-65E331DF5557}"/>
              </a:ext>
            </a:extLst>
          </p:cNvPr>
          <p:cNvSpPr>
            <a:spLocks noGrp="1"/>
          </p:cNvSpPr>
          <p:nvPr>
            <p:custDataLst>
              <p:tags r:id="rId53"/>
            </p:custDataLst>
          </p:nvPr>
        </p:nvSpPr>
        <p:spPr bwMode="auto">
          <a:xfrm>
            <a:off x="646113" y="60975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BF0AFC-E97B-47DB-8A3B-4C3B57CD3439}"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22634E51-44E7-462C-5E83-6D39D435DAF9}"/>
              </a:ext>
            </a:extLst>
          </p:cNvPr>
          <p:cNvSpPr>
            <a:spLocks noGrp="1"/>
          </p:cNvSpPr>
          <p:nvPr>
            <p:custDataLst>
              <p:tags r:id="rId54"/>
            </p:custDataLst>
          </p:nvPr>
        </p:nvSpPr>
        <p:spPr bwMode="auto">
          <a:xfrm>
            <a:off x="4097338"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A89C4B-D26E-461A-A205-2728C3709A32}"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useBgFill="1">
        <p:nvSpPr>
          <p:cNvPr id="262" name="テキスト プレースホルダ 9">
            <a:extLst>
              <a:ext uri="{FF2B5EF4-FFF2-40B4-BE49-F238E27FC236}">
                <a16:creationId xmlns:a16="http://schemas.microsoft.com/office/drawing/2014/main" id="{CC5CAFB7-87AB-C995-3E8D-21D78A99860D}"/>
              </a:ext>
            </a:extLst>
          </p:cNvPr>
          <p:cNvSpPr>
            <a:spLocks noGrp="1"/>
          </p:cNvSpPr>
          <p:nvPr>
            <p:custDataLst>
              <p:tags r:id="rId55"/>
            </p:custDataLst>
          </p:nvPr>
        </p:nvSpPr>
        <p:spPr bwMode="gray">
          <a:xfrm>
            <a:off x="4256088" y="3127375"/>
            <a:ext cx="4000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6A299F-42E4-4117-A65F-CA7C7096DCA0}" type="datetime'''218'''''''''''''''''''''''''''',''''107'''''">
              <a:rPr lang="ja-JP" altLang="en-US" sz="800" smtClean="0">
                <a:effectLst/>
                <a:sym typeface="+mn-lt"/>
              </a:rPr>
              <a:pPr marL="0" lvl="0" indent="0" algn="ctr">
                <a:spcBef>
                  <a:spcPct val="0"/>
                </a:spcBef>
                <a:buNone/>
              </a:pPr>
              <a:t>218,107</a:t>
            </a:fld>
            <a:endParaRPr kumimoji="1" lang="ja-JP" altLang="en-US" sz="800" dirty="0">
              <a:sym typeface="+mn-lt"/>
            </a:endParaRPr>
          </a:p>
        </p:txBody>
      </p:sp>
      <p:sp useBgFill="1">
        <p:nvSpPr>
          <p:cNvPr id="257" name="テキスト プレースホルダ 9">
            <a:extLst>
              <a:ext uri="{FF2B5EF4-FFF2-40B4-BE49-F238E27FC236}">
                <a16:creationId xmlns:a16="http://schemas.microsoft.com/office/drawing/2014/main" id="{5D422A39-A6C1-CD78-3E9B-61DC0AD7D498}"/>
              </a:ext>
            </a:extLst>
          </p:cNvPr>
          <p:cNvSpPr>
            <a:spLocks noGrp="1"/>
          </p:cNvSpPr>
          <p:nvPr>
            <p:custDataLst>
              <p:tags r:id="rId56"/>
            </p:custDataLst>
          </p:nvPr>
        </p:nvSpPr>
        <p:spPr bwMode="gray">
          <a:xfrm>
            <a:off x="4256088" y="4386263"/>
            <a:ext cx="4000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73E6C0-FB1E-4EA7-B6CD-0E11144ABCD3}" type="datetime'''1''''1''''''3'''''''''''''''''',''''3''''''''0''''0'''''">
              <a:rPr lang="ja-JP" altLang="en-US" sz="800" smtClean="0">
                <a:effectLst/>
                <a:sym typeface="+mn-lt"/>
              </a:rPr>
              <a:pPr marL="0" lvl="0" indent="0" algn="ctr">
                <a:spcBef>
                  <a:spcPct val="0"/>
                </a:spcBef>
                <a:buNone/>
              </a:pPr>
              <a:t>113,300</a:t>
            </a:fld>
            <a:endParaRPr kumimoji="1" lang="ja-JP" altLang="en-US" sz="800" dirty="0">
              <a:sym typeface="+mn-lt"/>
            </a:endParaRPr>
          </a:p>
        </p:txBody>
      </p:sp>
      <p:sp>
        <p:nvSpPr>
          <p:cNvPr id="512" name="テキスト プレースホルダ 9">
            <a:extLst>
              <a:ext uri="{FF2B5EF4-FFF2-40B4-BE49-F238E27FC236}">
                <a16:creationId xmlns:a16="http://schemas.microsoft.com/office/drawing/2014/main" id="{87574B0B-B652-DE5C-BF9A-7EFEC2F119C9}"/>
              </a:ext>
            </a:extLst>
          </p:cNvPr>
          <p:cNvSpPr>
            <a:spLocks noGrp="1"/>
          </p:cNvSpPr>
          <p:nvPr>
            <p:custDataLst>
              <p:tags r:id="rId57"/>
            </p:custDataLst>
          </p:nvPr>
        </p:nvSpPr>
        <p:spPr bwMode="auto">
          <a:xfrm>
            <a:off x="998538"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E5C502-26EF-4C37-AC24-8C71B8D07337}"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useBgFill="1">
        <p:nvSpPr>
          <p:cNvPr id="555" name="テキスト プレースホルダ 9">
            <a:extLst>
              <a:ext uri="{FF2B5EF4-FFF2-40B4-BE49-F238E27FC236}">
                <a16:creationId xmlns:a16="http://schemas.microsoft.com/office/drawing/2014/main" id="{F3930902-02E1-A29A-947B-D6DF53CAF5D4}"/>
              </a:ext>
            </a:extLst>
          </p:cNvPr>
          <p:cNvSpPr>
            <a:spLocks noGrp="1"/>
          </p:cNvSpPr>
          <p:nvPr>
            <p:custDataLst>
              <p:tags r:id="rId58"/>
            </p:custDataLst>
          </p:nvPr>
        </p:nvSpPr>
        <p:spPr bwMode="gray">
          <a:xfrm>
            <a:off x="4373563" y="531653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43976DA-F0F6-48DF-AB2C-665CAC9676D6}" type="datetime'''3''''''''6,''''''''''''''''8''1''''''''''''''''0'''">
              <a:rPr lang="ja-JP" altLang="en-US" sz="800" smtClean="0">
                <a:effectLst/>
                <a:sym typeface="+mn-lt"/>
              </a:rPr>
              <a:pPr marL="0" lvl="0" indent="0">
                <a:spcBef>
                  <a:spcPct val="0"/>
                </a:spcBef>
                <a:buNone/>
              </a:pPr>
              <a:t>36,810</a:t>
            </a:fld>
            <a:endParaRPr kumimoji="1" lang="ja-JP" altLang="en-US" sz="800" dirty="0">
              <a:sym typeface="+mn-lt"/>
            </a:endParaRPr>
          </a:p>
        </p:txBody>
      </p:sp>
      <p:sp useBgFill="1">
        <p:nvSpPr>
          <p:cNvPr id="394" name="テキスト プレースホルダ 9">
            <a:extLst>
              <a:ext uri="{FF2B5EF4-FFF2-40B4-BE49-F238E27FC236}">
                <a16:creationId xmlns:a16="http://schemas.microsoft.com/office/drawing/2014/main" id="{F6BEFE77-936C-2A7C-A5F9-97459CE1352E}"/>
              </a:ext>
            </a:extLst>
          </p:cNvPr>
          <p:cNvSpPr>
            <a:spLocks noGrp="1"/>
          </p:cNvSpPr>
          <p:nvPr>
            <p:custDataLst>
              <p:tags r:id="rId59"/>
            </p:custDataLst>
          </p:nvPr>
        </p:nvSpPr>
        <p:spPr bwMode="gray">
          <a:xfrm>
            <a:off x="2593975" y="5864225"/>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C49E2-1D13-45B2-AD53-C41480A8469D}" type="datetime'''''''''''''''''1''5'''''',''''''''''''''''69''''9'''''">
              <a:rPr lang="ja-JP" altLang="en-US" sz="800" smtClean="0">
                <a:effectLst/>
                <a:sym typeface="+mn-lt"/>
              </a:rPr>
              <a:pPr marL="0" lvl="0" indent="0" algn="ctr">
                <a:spcBef>
                  <a:spcPct val="0"/>
                </a:spcBef>
                <a:buNone/>
              </a:pPr>
              <a:t>15,699</a:t>
            </a:fld>
            <a:endParaRPr lang="ja-JP" altLang="en-US" sz="800" dirty="0">
              <a:sym typeface="+mn-lt"/>
            </a:endParaRPr>
          </a:p>
        </p:txBody>
      </p:sp>
      <p:sp>
        <p:nvSpPr>
          <p:cNvPr id="524" name="テキスト プレースホルダ 9">
            <a:extLst>
              <a:ext uri="{FF2B5EF4-FFF2-40B4-BE49-F238E27FC236}">
                <a16:creationId xmlns:a16="http://schemas.microsoft.com/office/drawing/2014/main" id="{190A7291-1FCA-3685-9DC0-FD47B6F4708F}"/>
              </a:ext>
            </a:extLst>
          </p:cNvPr>
          <p:cNvSpPr>
            <a:spLocks noGrp="1"/>
          </p:cNvSpPr>
          <p:nvPr>
            <p:custDataLst>
              <p:tags r:id="rId60"/>
            </p:custDataLst>
          </p:nvPr>
        </p:nvSpPr>
        <p:spPr bwMode="auto">
          <a:xfrm>
            <a:off x="4379913"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E439D2-8924-42E2-89E4-70DDDB80294A}"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25" name="テキスト プレースホルダ 9">
            <a:extLst>
              <a:ext uri="{FF2B5EF4-FFF2-40B4-BE49-F238E27FC236}">
                <a16:creationId xmlns:a16="http://schemas.microsoft.com/office/drawing/2014/main" id="{92FCB9DB-7BD5-35C0-37F6-B73848FD1E86}"/>
              </a:ext>
            </a:extLst>
          </p:cNvPr>
          <p:cNvSpPr>
            <a:spLocks noGrp="1"/>
          </p:cNvSpPr>
          <p:nvPr>
            <p:custDataLst>
              <p:tags r:id="rId61"/>
            </p:custDataLst>
          </p:nvPr>
        </p:nvSpPr>
        <p:spPr bwMode="auto">
          <a:xfrm>
            <a:off x="4660900"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DF8180-1314-47CE-8230-BB2998F04B70}"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513" name="テキスト プレースホルダ 9">
            <a:extLst>
              <a:ext uri="{FF2B5EF4-FFF2-40B4-BE49-F238E27FC236}">
                <a16:creationId xmlns:a16="http://schemas.microsoft.com/office/drawing/2014/main" id="{D38A30AF-1C0F-E789-96FF-EEA8DE6E95F9}"/>
              </a:ext>
            </a:extLst>
          </p:cNvPr>
          <p:cNvSpPr>
            <a:spLocks noGrp="1"/>
          </p:cNvSpPr>
          <p:nvPr>
            <p:custDataLst>
              <p:tags r:id="rId62"/>
            </p:custDataLst>
          </p:nvPr>
        </p:nvSpPr>
        <p:spPr bwMode="auto">
          <a:xfrm>
            <a:off x="1279525"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2E4445-A4F5-4F37-9B14-00EA63FE9B5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useBgFill="1">
        <p:nvSpPr>
          <p:cNvPr id="13" name="テキスト プレースホルダ 9">
            <a:extLst>
              <a:ext uri="{FF2B5EF4-FFF2-40B4-BE49-F238E27FC236}">
                <a16:creationId xmlns:a16="http://schemas.microsoft.com/office/drawing/2014/main" id="{05EF4282-14EB-CAA2-F588-1804A9118514}"/>
              </a:ext>
            </a:extLst>
          </p:cNvPr>
          <p:cNvSpPr>
            <a:spLocks noGrp="1"/>
          </p:cNvSpPr>
          <p:nvPr>
            <p:custDataLst>
              <p:tags r:id="rId63"/>
            </p:custDataLst>
          </p:nvPr>
        </p:nvSpPr>
        <p:spPr bwMode="gray">
          <a:xfrm>
            <a:off x="1184275" y="593248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8EC462-CD09-4948-B126-A840E01E0794}" type="datetime'''''''''1''''0'',0''''''''''''''''''''0''''''''''2'''''''''">
              <a:rPr lang="ja-JP" altLang="en-US" sz="800" smtClean="0">
                <a:effectLst/>
                <a:sym typeface="+mn-lt"/>
              </a:rPr>
              <a:pPr marL="0" lvl="0" indent="0" algn="ctr">
                <a:spcBef>
                  <a:spcPct val="0"/>
                </a:spcBef>
                <a:buNone/>
              </a:pPr>
              <a:t>10,002</a:t>
            </a:fld>
            <a:endParaRPr kumimoji="1" lang="ja-JP" altLang="en-US" sz="800" dirty="0">
              <a:sym typeface="+mn-lt"/>
            </a:endParaRPr>
          </a:p>
        </p:txBody>
      </p:sp>
      <p:sp useBgFill="1">
        <p:nvSpPr>
          <p:cNvPr id="360" name="テキスト プレースホルダ 9">
            <a:extLst>
              <a:ext uri="{FF2B5EF4-FFF2-40B4-BE49-F238E27FC236}">
                <a16:creationId xmlns:a16="http://schemas.microsoft.com/office/drawing/2014/main" id="{749176EB-CEA1-A15E-C915-9A48CA543AC7}"/>
              </a:ext>
            </a:extLst>
          </p:cNvPr>
          <p:cNvSpPr>
            <a:spLocks noGrp="1"/>
          </p:cNvSpPr>
          <p:nvPr>
            <p:custDataLst>
              <p:tags r:id="rId64"/>
            </p:custDataLst>
          </p:nvPr>
        </p:nvSpPr>
        <p:spPr bwMode="gray">
          <a:xfrm>
            <a:off x="1292225" y="5819775"/>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9DFFCFE-D1BD-4B6D-A7F3-23E5BEEEEEF8}" type="datetime'1''''''''''''2'',''''''4''''''''9''''''''''''''''''''5'''">
              <a:rPr lang="ja-JP" altLang="en-US" sz="800" smtClean="0">
                <a:effectLst/>
                <a:sym typeface="+mn-lt"/>
              </a:rPr>
              <a:pPr marL="0" lvl="0" indent="0">
                <a:spcBef>
                  <a:spcPct val="0"/>
                </a:spcBef>
                <a:buNone/>
              </a:pPr>
              <a:t>12,495</a:t>
            </a:fld>
            <a:endParaRPr lang="ja-JP" altLang="en-US" sz="800" dirty="0">
              <a:sym typeface="+mn-lt"/>
            </a:endParaRPr>
          </a:p>
        </p:txBody>
      </p:sp>
      <p:sp>
        <p:nvSpPr>
          <p:cNvPr id="514" name="テキスト プレースホルダ 9">
            <a:extLst>
              <a:ext uri="{FF2B5EF4-FFF2-40B4-BE49-F238E27FC236}">
                <a16:creationId xmlns:a16="http://schemas.microsoft.com/office/drawing/2014/main" id="{C2923C83-E59D-8B24-23D7-1F1C58CFDFFB}"/>
              </a:ext>
            </a:extLst>
          </p:cNvPr>
          <p:cNvSpPr>
            <a:spLocks noGrp="1"/>
          </p:cNvSpPr>
          <p:nvPr>
            <p:custDataLst>
              <p:tags r:id="rId65"/>
            </p:custDataLst>
          </p:nvPr>
        </p:nvSpPr>
        <p:spPr bwMode="auto">
          <a:xfrm>
            <a:off x="1562100"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4D0D74-EA70-4152-B4E5-2921C201985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graphicFrame>
        <p:nvGraphicFramePr>
          <p:cNvPr id="159" name="Chart 158">
            <a:extLst>
              <a:ext uri="{FF2B5EF4-FFF2-40B4-BE49-F238E27FC236}">
                <a16:creationId xmlns:a16="http://schemas.microsoft.com/office/drawing/2014/main" id="{81E9DC13-F705-5D16-644C-5E8F174EB9BA}"/>
              </a:ext>
            </a:extLst>
          </p:cNvPr>
          <p:cNvGraphicFramePr/>
          <p:nvPr>
            <p:custDataLst>
              <p:tags r:id="rId66"/>
            </p:custDataLst>
            <p:extLst>
              <p:ext uri="{D42A27DB-BD31-4B8C-83A1-F6EECF244321}">
                <p14:modId xmlns:p14="http://schemas.microsoft.com/office/powerpoint/2010/main" val="2561569267"/>
              </p:ext>
            </p:extLst>
          </p:nvPr>
        </p:nvGraphicFramePr>
        <p:xfrm>
          <a:off x="5038725" y="2420938"/>
          <a:ext cx="4524375" cy="3724275"/>
        </p:xfrm>
        <a:graphic>
          <a:graphicData uri="http://schemas.openxmlformats.org/drawingml/2006/chart">
            <c:chart xmlns:c="http://schemas.openxmlformats.org/drawingml/2006/chart" xmlns:r="http://schemas.openxmlformats.org/officeDocument/2006/relationships" r:id="rId102"/>
          </a:graphicData>
        </a:graphic>
      </p:graphicFrame>
      <p:cxnSp>
        <p:nvCxnSpPr>
          <p:cNvPr id="82" name="Straight Connector 81">
            <a:extLst>
              <a:ext uri="{FF2B5EF4-FFF2-40B4-BE49-F238E27FC236}">
                <a16:creationId xmlns:a16="http://schemas.microsoft.com/office/drawing/2014/main" id="{D9B8F674-81F4-DF38-865F-43A287448113}"/>
              </a:ext>
            </a:extLst>
          </p:cNvPr>
          <p:cNvCxnSpPr>
            <a:cxnSpLocks/>
          </p:cNvCxnSpPr>
          <p:nvPr>
            <p:custDataLst>
              <p:tags r:id="rId67"/>
            </p:custDataLst>
          </p:nvPr>
        </p:nvCxnSpPr>
        <p:spPr bwMode="auto">
          <a:xfrm flipH="1" flipV="1">
            <a:off x="5460999" y="3705225"/>
            <a:ext cx="3810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45B17A43-6D1F-9AB4-63F2-AA64C188E187}"/>
              </a:ext>
            </a:extLst>
          </p:cNvPr>
          <p:cNvCxnSpPr>
            <a:cxnSpLocks/>
          </p:cNvCxnSpPr>
          <p:nvPr>
            <p:custDataLst>
              <p:tags r:id="rId68"/>
            </p:custDataLst>
          </p:nvPr>
        </p:nvCxnSpPr>
        <p:spPr bwMode="auto">
          <a:xfrm flipH="1" flipV="1">
            <a:off x="5460999" y="5008563"/>
            <a:ext cx="3810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12C307D6-0C69-7620-E4C9-8C0212D0C170}"/>
              </a:ext>
            </a:extLst>
          </p:cNvPr>
          <p:cNvCxnSpPr/>
          <p:nvPr>
            <p:custDataLst>
              <p:tags r:id="rId69"/>
            </p:custDataLst>
          </p:nvPr>
        </p:nvCxnSpPr>
        <p:spPr bwMode="auto">
          <a:xfrm flipH="1">
            <a:off x="5454650" y="5602288"/>
            <a:ext cx="2540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552" name="テキスト プレースホルダ 9">
            <a:extLst>
              <a:ext uri="{FF2B5EF4-FFF2-40B4-BE49-F238E27FC236}">
                <a16:creationId xmlns:a16="http://schemas.microsoft.com/office/drawing/2014/main" id="{BB94B14A-398D-E1BA-51E5-304887F0366E}"/>
              </a:ext>
            </a:extLst>
          </p:cNvPr>
          <p:cNvSpPr>
            <a:spLocks noGrp="1"/>
          </p:cNvSpPr>
          <p:nvPr>
            <p:custDataLst>
              <p:tags r:id="rId70"/>
            </p:custDataLst>
          </p:nvPr>
        </p:nvSpPr>
        <p:spPr bwMode="gray">
          <a:xfrm>
            <a:off x="5343525" y="5849938"/>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DDFAA26-2F02-4AF5-A43E-89FCC4BBDAED}" type="datetime'''3''.6'''''''''''''''''''''''''''''''''''''''''''''''">
              <a:rPr lang="ja-JP" altLang="en-US" sz="800" smtClean="0">
                <a:effectLst/>
                <a:sym typeface="+mn-lt"/>
              </a:rPr>
              <a:pPr marL="0" lvl="0" indent="0">
                <a:spcBef>
                  <a:spcPct val="0"/>
                </a:spcBef>
                <a:buNone/>
              </a:pPr>
              <a:t>3.6</a:t>
            </a:fld>
            <a:endParaRPr kumimoji="1" lang="ja-JP" altLang="en-US" sz="800" dirty="0">
              <a:sym typeface="+mn-lt"/>
            </a:endParaRPr>
          </a:p>
        </p:txBody>
      </p:sp>
      <p:sp>
        <p:nvSpPr>
          <p:cNvPr id="488" name="テキスト プレースホルダ 9">
            <a:extLst>
              <a:ext uri="{FF2B5EF4-FFF2-40B4-BE49-F238E27FC236}">
                <a16:creationId xmlns:a16="http://schemas.microsoft.com/office/drawing/2014/main" id="{EB0162BE-4B1A-52BD-032F-FD6296E04E49}"/>
              </a:ext>
            </a:extLst>
          </p:cNvPr>
          <p:cNvSpPr>
            <a:spLocks noGrp="1"/>
          </p:cNvSpPr>
          <p:nvPr>
            <p:custDataLst>
              <p:tags r:id="rId71"/>
            </p:custDataLst>
          </p:nvPr>
        </p:nvSpPr>
        <p:spPr bwMode="auto">
          <a:xfrm>
            <a:off x="5264150" y="6045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316F7D-5807-448F-BC5C-EF6E790C64DA}"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489" name="テキスト プレースホルダ 9">
            <a:extLst>
              <a:ext uri="{FF2B5EF4-FFF2-40B4-BE49-F238E27FC236}">
                <a16:creationId xmlns:a16="http://schemas.microsoft.com/office/drawing/2014/main" id="{3886D7A8-7D80-1702-64A0-C71BC2CCE634}"/>
              </a:ext>
            </a:extLst>
          </p:cNvPr>
          <p:cNvSpPr>
            <a:spLocks noGrp="1"/>
          </p:cNvSpPr>
          <p:nvPr>
            <p:custDataLst>
              <p:tags r:id="rId72"/>
            </p:custDataLst>
          </p:nvPr>
        </p:nvSpPr>
        <p:spPr bwMode="auto">
          <a:xfrm>
            <a:off x="5619750"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188E89-911F-4DE1-85A2-EA1A4D9C0451}"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90" name="テキスト プレースホルダ 9">
            <a:extLst>
              <a:ext uri="{FF2B5EF4-FFF2-40B4-BE49-F238E27FC236}">
                <a16:creationId xmlns:a16="http://schemas.microsoft.com/office/drawing/2014/main" id="{4751C7BD-228C-0E92-5EF6-E943902A24A9}"/>
              </a:ext>
            </a:extLst>
          </p:cNvPr>
          <p:cNvSpPr>
            <a:spLocks noGrp="1"/>
          </p:cNvSpPr>
          <p:nvPr>
            <p:custDataLst>
              <p:tags r:id="rId73"/>
            </p:custDataLst>
          </p:nvPr>
        </p:nvSpPr>
        <p:spPr bwMode="auto">
          <a:xfrm>
            <a:off x="5907088"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FD14B9-ADBF-4E79-9851-19F429DF8136}"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91" name="テキスト プレースホルダ 9">
            <a:extLst>
              <a:ext uri="{FF2B5EF4-FFF2-40B4-BE49-F238E27FC236}">
                <a16:creationId xmlns:a16="http://schemas.microsoft.com/office/drawing/2014/main" id="{3565DDE6-B8E7-0C67-A0C0-75032D3118EE}"/>
              </a:ext>
            </a:extLst>
          </p:cNvPr>
          <p:cNvSpPr>
            <a:spLocks noGrp="1"/>
          </p:cNvSpPr>
          <p:nvPr>
            <p:custDataLst>
              <p:tags r:id="rId74"/>
            </p:custDataLst>
          </p:nvPr>
        </p:nvSpPr>
        <p:spPr bwMode="auto">
          <a:xfrm>
            <a:off x="6192838"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13B2A3-1142-4485-8E66-826B11028192}"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92" name="テキスト プレースホルダ 9">
            <a:extLst>
              <a:ext uri="{FF2B5EF4-FFF2-40B4-BE49-F238E27FC236}">
                <a16:creationId xmlns:a16="http://schemas.microsoft.com/office/drawing/2014/main" id="{877CA6A5-5192-4790-803C-823A6FDB22F5}"/>
              </a:ext>
            </a:extLst>
          </p:cNvPr>
          <p:cNvSpPr>
            <a:spLocks noGrp="1"/>
          </p:cNvSpPr>
          <p:nvPr>
            <p:custDataLst>
              <p:tags r:id="rId75"/>
            </p:custDataLst>
          </p:nvPr>
        </p:nvSpPr>
        <p:spPr bwMode="auto">
          <a:xfrm>
            <a:off x="6478588"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EC147-BA33-46AB-B1A2-EF248D98E3AE}"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93" name="テキスト プレースホルダ 9">
            <a:extLst>
              <a:ext uri="{FF2B5EF4-FFF2-40B4-BE49-F238E27FC236}">
                <a16:creationId xmlns:a16="http://schemas.microsoft.com/office/drawing/2014/main" id="{F2AAA51F-6339-19DA-2317-DA50210A874C}"/>
              </a:ext>
            </a:extLst>
          </p:cNvPr>
          <p:cNvSpPr>
            <a:spLocks noGrp="1"/>
          </p:cNvSpPr>
          <p:nvPr>
            <p:custDataLst>
              <p:tags r:id="rId76"/>
            </p:custDataLst>
          </p:nvPr>
        </p:nvSpPr>
        <p:spPr bwMode="auto">
          <a:xfrm>
            <a:off x="6764338"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DD93F5-1250-4BFD-A13C-0F6C3A6E0468}"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94" name="テキスト プレースホルダ 9">
            <a:extLst>
              <a:ext uri="{FF2B5EF4-FFF2-40B4-BE49-F238E27FC236}">
                <a16:creationId xmlns:a16="http://schemas.microsoft.com/office/drawing/2014/main" id="{65F72CBE-C4C1-5BBF-AC0C-8F88AE88B201}"/>
              </a:ext>
            </a:extLst>
          </p:cNvPr>
          <p:cNvSpPr>
            <a:spLocks noGrp="1"/>
          </p:cNvSpPr>
          <p:nvPr>
            <p:custDataLst>
              <p:tags r:id="rId77"/>
            </p:custDataLst>
          </p:nvPr>
        </p:nvSpPr>
        <p:spPr bwMode="auto">
          <a:xfrm>
            <a:off x="7051675"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B48EEF-B841-45A4-92A9-8565F07EDFE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95" name="テキスト プレースホルダ 9">
            <a:extLst>
              <a:ext uri="{FF2B5EF4-FFF2-40B4-BE49-F238E27FC236}">
                <a16:creationId xmlns:a16="http://schemas.microsoft.com/office/drawing/2014/main" id="{9B80F8A5-C46E-52FC-60E4-816919DF4D73}"/>
              </a:ext>
            </a:extLst>
          </p:cNvPr>
          <p:cNvSpPr>
            <a:spLocks noGrp="1"/>
          </p:cNvSpPr>
          <p:nvPr>
            <p:custDataLst>
              <p:tags r:id="rId78"/>
            </p:custDataLst>
          </p:nvPr>
        </p:nvSpPr>
        <p:spPr bwMode="auto">
          <a:xfrm>
            <a:off x="7337425"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B2A787-1124-46F3-82A6-2B352B34CFCC}"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96" name="テキスト プレースホルダ 9">
            <a:extLst>
              <a:ext uri="{FF2B5EF4-FFF2-40B4-BE49-F238E27FC236}">
                <a16:creationId xmlns:a16="http://schemas.microsoft.com/office/drawing/2014/main" id="{4A1E47FC-D759-E210-EC20-F0EA460955A6}"/>
              </a:ext>
            </a:extLst>
          </p:cNvPr>
          <p:cNvSpPr>
            <a:spLocks noGrp="1"/>
          </p:cNvSpPr>
          <p:nvPr>
            <p:custDataLst>
              <p:tags r:id="rId79"/>
            </p:custDataLst>
          </p:nvPr>
        </p:nvSpPr>
        <p:spPr bwMode="auto">
          <a:xfrm>
            <a:off x="7623175"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7DF63D-13F7-42E8-ACE1-0F54A92E9AB7}"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97" name="テキスト プレースホルダ 9">
            <a:extLst>
              <a:ext uri="{FF2B5EF4-FFF2-40B4-BE49-F238E27FC236}">
                <a16:creationId xmlns:a16="http://schemas.microsoft.com/office/drawing/2014/main" id="{46B1E612-26A1-485C-FEB7-1BE019E42A57}"/>
              </a:ext>
            </a:extLst>
          </p:cNvPr>
          <p:cNvSpPr>
            <a:spLocks noGrp="1"/>
          </p:cNvSpPr>
          <p:nvPr>
            <p:custDataLst>
              <p:tags r:id="rId80"/>
            </p:custDataLst>
          </p:nvPr>
        </p:nvSpPr>
        <p:spPr bwMode="auto">
          <a:xfrm>
            <a:off x="7910513"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2FB24C-AD33-4747-BD36-C9520794D0D7}"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98" name="テキスト プレースホルダ 9">
            <a:extLst>
              <a:ext uri="{FF2B5EF4-FFF2-40B4-BE49-F238E27FC236}">
                <a16:creationId xmlns:a16="http://schemas.microsoft.com/office/drawing/2014/main" id="{21CDA008-1B24-8A7F-20C1-E36C32DDDADA}"/>
              </a:ext>
            </a:extLst>
          </p:cNvPr>
          <p:cNvSpPr>
            <a:spLocks noGrp="1"/>
          </p:cNvSpPr>
          <p:nvPr>
            <p:custDataLst>
              <p:tags r:id="rId81"/>
            </p:custDataLst>
          </p:nvPr>
        </p:nvSpPr>
        <p:spPr bwMode="auto">
          <a:xfrm>
            <a:off x="8196263"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1025C3-F955-4335-AC6A-160CEFE8BAE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99" name="テキスト プレースホルダ 9">
            <a:extLst>
              <a:ext uri="{FF2B5EF4-FFF2-40B4-BE49-F238E27FC236}">
                <a16:creationId xmlns:a16="http://schemas.microsoft.com/office/drawing/2014/main" id="{E6A151D6-4A96-797B-5455-4D061A641C84}"/>
              </a:ext>
            </a:extLst>
          </p:cNvPr>
          <p:cNvSpPr>
            <a:spLocks noGrp="1"/>
          </p:cNvSpPr>
          <p:nvPr>
            <p:custDataLst>
              <p:tags r:id="rId82"/>
            </p:custDataLst>
          </p:nvPr>
        </p:nvSpPr>
        <p:spPr bwMode="auto">
          <a:xfrm>
            <a:off x="8482013"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6B1DA7-AE62-4D34-BF24-D8A2305A5A5B}"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00" name="テキスト プレースホルダ 9">
            <a:extLst>
              <a:ext uri="{FF2B5EF4-FFF2-40B4-BE49-F238E27FC236}">
                <a16:creationId xmlns:a16="http://schemas.microsoft.com/office/drawing/2014/main" id="{1021E31C-D527-4BE7-330F-2D7E21BC1265}"/>
              </a:ext>
            </a:extLst>
          </p:cNvPr>
          <p:cNvSpPr>
            <a:spLocks noGrp="1"/>
          </p:cNvSpPr>
          <p:nvPr>
            <p:custDataLst>
              <p:tags r:id="rId83"/>
            </p:custDataLst>
          </p:nvPr>
        </p:nvSpPr>
        <p:spPr bwMode="auto">
          <a:xfrm>
            <a:off x="8767763"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5382B6-7ACC-40C0-8AD2-7A3350882FF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01" name="テキスト プレースホルダ 9">
            <a:extLst>
              <a:ext uri="{FF2B5EF4-FFF2-40B4-BE49-F238E27FC236}">
                <a16:creationId xmlns:a16="http://schemas.microsoft.com/office/drawing/2014/main" id="{9FE56736-5926-0FB4-A8EA-4938B6E4877F}"/>
              </a:ext>
            </a:extLst>
          </p:cNvPr>
          <p:cNvSpPr>
            <a:spLocks noGrp="1"/>
          </p:cNvSpPr>
          <p:nvPr>
            <p:custDataLst>
              <p:tags r:id="rId84"/>
            </p:custDataLst>
          </p:nvPr>
        </p:nvSpPr>
        <p:spPr bwMode="auto">
          <a:xfrm>
            <a:off x="9055100"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63FAD-1EB5-4347-B2CC-0B63B8A9C3FA}"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02" name="テキスト プレースホルダ 9">
            <a:extLst>
              <a:ext uri="{FF2B5EF4-FFF2-40B4-BE49-F238E27FC236}">
                <a16:creationId xmlns:a16="http://schemas.microsoft.com/office/drawing/2014/main" id="{740866BB-5395-4CA3-470F-478FCD458E85}"/>
              </a:ext>
            </a:extLst>
          </p:cNvPr>
          <p:cNvSpPr>
            <a:spLocks noGrp="1"/>
          </p:cNvSpPr>
          <p:nvPr>
            <p:custDataLst>
              <p:tags r:id="rId85"/>
            </p:custDataLst>
          </p:nvPr>
        </p:nvSpPr>
        <p:spPr bwMode="auto">
          <a:xfrm>
            <a:off x="9340850"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FF847D-4785-4A64-ADA3-CCED31C841D5}"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cxnSp>
        <p:nvCxnSpPr>
          <p:cNvPr id="479" name="Straight Connector 478">
            <a:extLst>
              <a:ext uri="{FF2B5EF4-FFF2-40B4-BE49-F238E27FC236}">
                <a16:creationId xmlns:a16="http://schemas.microsoft.com/office/drawing/2014/main" id="{707083E5-8ED8-61C1-1F3D-83F1EB55234E}"/>
              </a:ext>
            </a:extLst>
          </p:cNvPr>
          <p:cNvCxnSpPr/>
          <p:nvPr>
            <p:custDataLst>
              <p:tags r:id="rId86"/>
            </p:custDataLst>
          </p:nvPr>
        </p:nvCxnSpPr>
        <p:spPr bwMode="gray">
          <a:xfrm>
            <a:off x="5465762" y="239871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480">
            <a:extLst>
              <a:ext uri="{FF2B5EF4-FFF2-40B4-BE49-F238E27FC236}">
                <a16:creationId xmlns:a16="http://schemas.microsoft.com/office/drawing/2014/main" id="{B640368C-5563-EB2E-8E02-6B8EC12621F0}"/>
              </a:ext>
            </a:extLst>
          </p:cNvPr>
          <p:cNvCxnSpPr/>
          <p:nvPr>
            <p:custDataLst>
              <p:tags r:id="rId87"/>
            </p:custDataLst>
          </p:nvPr>
        </p:nvCxnSpPr>
        <p:spPr bwMode="gray">
          <a:xfrm>
            <a:off x="5465762" y="26019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482">
            <a:extLst>
              <a:ext uri="{FF2B5EF4-FFF2-40B4-BE49-F238E27FC236}">
                <a16:creationId xmlns:a16="http://schemas.microsoft.com/office/drawing/2014/main" id="{2A742835-4383-1F28-A3E3-451518C6CF79}"/>
              </a:ext>
            </a:extLst>
          </p:cNvPr>
          <p:cNvCxnSpPr/>
          <p:nvPr>
            <p:custDataLst>
              <p:tags r:id="rId88"/>
            </p:custDataLst>
          </p:nvPr>
        </p:nvCxnSpPr>
        <p:spPr bwMode="gray">
          <a:xfrm>
            <a:off x="5465762" y="280511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FCFE70BF-6129-B57A-7510-B63C4EB7E3D7}"/>
              </a:ext>
            </a:extLst>
          </p:cNvPr>
          <p:cNvCxnSpPr/>
          <p:nvPr>
            <p:custDataLst>
              <p:tags r:id="rId89"/>
            </p:custDataLst>
          </p:nvPr>
        </p:nvCxnSpPr>
        <p:spPr bwMode="gray">
          <a:xfrm>
            <a:off x="5465762" y="300831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0" name="Oval 479">
            <a:extLst>
              <a:ext uri="{FF2B5EF4-FFF2-40B4-BE49-F238E27FC236}">
                <a16:creationId xmlns:a16="http://schemas.microsoft.com/office/drawing/2014/main" id="{2CF66820-A4C8-637C-41EC-9B983B83E544}"/>
              </a:ext>
            </a:extLst>
          </p:cNvPr>
          <p:cNvSpPr/>
          <p:nvPr>
            <p:custDataLst>
              <p:tags r:id="rId90"/>
            </p:custDataLst>
          </p:nvPr>
        </p:nvSpPr>
        <p:spPr bwMode="auto">
          <a:xfrm>
            <a:off x="5554663" y="2360613"/>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2" name="Rectangle 481">
            <a:extLst>
              <a:ext uri="{FF2B5EF4-FFF2-40B4-BE49-F238E27FC236}">
                <a16:creationId xmlns:a16="http://schemas.microsoft.com/office/drawing/2014/main" id="{500A5554-AAAB-6BF4-7FBF-6B5C3BEB3DBA}"/>
              </a:ext>
            </a:extLst>
          </p:cNvPr>
          <p:cNvSpPr/>
          <p:nvPr>
            <p:custDataLst>
              <p:tags r:id="rId91"/>
            </p:custDataLst>
          </p:nvPr>
        </p:nvSpPr>
        <p:spPr bwMode="auto">
          <a:xfrm>
            <a:off x="5554663" y="2563813"/>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4" name="Isosceles Triangle 483">
            <a:extLst>
              <a:ext uri="{FF2B5EF4-FFF2-40B4-BE49-F238E27FC236}">
                <a16:creationId xmlns:a16="http://schemas.microsoft.com/office/drawing/2014/main" id="{08603E35-1AE9-D758-55E3-88DF57BB35C6}"/>
              </a:ext>
            </a:extLst>
          </p:cNvPr>
          <p:cNvSpPr/>
          <p:nvPr>
            <p:custDataLst>
              <p:tags r:id="rId92"/>
            </p:custDataLst>
          </p:nvPr>
        </p:nvSpPr>
        <p:spPr bwMode="auto">
          <a:xfrm>
            <a:off x="5554663" y="276701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6" name="Diamond 485">
            <a:extLst>
              <a:ext uri="{FF2B5EF4-FFF2-40B4-BE49-F238E27FC236}">
                <a16:creationId xmlns:a16="http://schemas.microsoft.com/office/drawing/2014/main" id="{5939CB88-E9B9-4239-CD51-82307817C0EE}"/>
              </a:ext>
            </a:extLst>
          </p:cNvPr>
          <p:cNvSpPr/>
          <p:nvPr>
            <p:custDataLst>
              <p:tags r:id="rId93"/>
            </p:custDataLst>
          </p:nvPr>
        </p:nvSpPr>
        <p:spPr bwMode="auto">
          <a:xfrm>
            <a:off x="5554663" y="2970213"/>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 name="テキスト プレースホルダ 9">
            <a:extLst>
              <a:ext uri="{FF2B5EF4-FFF2-40B4-BE49-F238E27FC236}">
                <a16:creationId xmlns:a16="http://schemas.microsoft.com/office/drawing/2014/main" id="{8C0B4FEE-2258-6593-F5B7-217EAC255EAE}"/>
              </a:ext>
            </a:extLst>
          </p:cNvPr>
          <p:cNvSpPr>
            <a:spLocks noGrp="1"/>
          </p:cNvSpPr>
          <p:nvPr>
            <p:custDataLst>
              <p:tags r:id="rId94"/>
            </p:custDataLst>
          </p:nvPr>
        </p:nvSpPr>
        <p:spPr bwMode="auto">
          <a:xfrm>
            <a:off x="5776913" y="23272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16552E0-72D5-448F-9BF1-C11243777CEC}" type="datetime'''看''''''''''''''''''''''''''''''''''''''護師'''">
              <a:rPr lang="ja-JP" altLang="en-US" sz="1000" smtClean="0">
                <a:effectLst/>
                <a:sym typeface="+mn-lt"/>
              </a:rPr>
              <a:pPr marL="0" lvl="0" indent="0">
                <a:spcBef>
                  <a:spcPct val="0"/>
                </a:spcBef>
                <a:buNone/>
              </a:pPr>
              <a:t>看護師</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D5681CFA-E42D-E4D9-96C5-ED776033BF76}"/>
              </a:ext>
            </a:extLst>
          </p:cNvPr>
          <p:cNvSpPr>
            <a:spLocks noGrp="1"/>
          </p:cNvSpPr>
          <p:nvPr>
            <p:custDataLst>
              <p:tags r:id="rId95"/>
            </p:custDataLst>
          </p:nvPr>
        </p:nvSpPr>
        <p:spPr bwMode="auto">
          <a:xfrm>
            <a:off x="5776913" y="2530475"/>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C96DD6E-0529-402A-B6E1-752667EA113D}" type="datetime'''''''''''''''''医''''師（''''''''歯''科医を除''''''''''く）'''''''''''">
              <a:rPr lang="ja-JP" altLang="en-US" sz="1000" smtClean="0"/>
              <a:pPr marL="0" lvl="0" indent="0">
                <a:spcBef>
                  <a:spcPct val="0"/>
                </a:spcBef>
                <a:buNone/>
              </a:pPr>
              <a:t>医師（歯科医を除く）</a:t>
            </a:fld>
            <a:endParaRPr kumimoji="1" lang="ja-JP" altLang="en-US" sz="1000" dirty="0">
              <a:sym typeface="+mn-lt"/>
            </a:endParaRPr>
          </a:p>
        </p:txBody>
      </p:sp>
      <p:sp>
        <p:nvSpPr>
          <p:cNvPr id="457" name="テキスト プレースホルダ 9">
            <a:extLst>
              <a:ext uri="{FF2B5EF4-FFF2-40B4-BE49-F238E27FC236}">
                <a16:creationId xmlns:a16="http://schemas.microsoft.com/office/drawing/2014/main" id="{3F204CF0-C89B-AD1B-69CE-69378203A56A}"/>
              </a:ext>
            </a:extLst>
          </p:cNvPr>
          <p:cNvSpPr>
            <a:spLocks noGrp="1"/>
          </p:cNvSpPr>
          <p:nvPr>
            <p:custDataLst>
              <p:tags r:id="rId96"/>
            </p:custDataLst>
          </p:nvPr>
        </p:nvSpPr>
        <p:spPr bwMode="auto">
          <a:xfrm>
            <a:off x="5776913" y="27336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53B1CB5-9584-42BE-8C54-E5C38E7CC258}" type="datetime'''''''薬剤''''''''''''''''''''''師'''''''''''''''''''''''''''">
              <a:rPr lang="ja-JP" altLang="en-US" sz="1000" smtClean="0"/>
              <a:pPr marL="0" lvl="0" indent="0">
                <a:spcBef>
                  <a:spcPct val="0"/>
                </a:spcBef>
                <a:buNone/>
              </a:pPr>
              <a:t>薬剤師</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21297006-731C-7134-8B3E-11B3EC94E4C2}"/>
              </a:ext>
            </a:extLst>
          </p:cNvPr>
          <p:cNvSpPr>
            <a:spLocks noGrp="1"/>
          </p:cNvSpPr>
          <p:nvPr>
            <p:custDataLst>
              <p:tags r:id="rId97"/>
            </p:custDataLst>
          </p:nvPr>
        </p:nvSpPr>
        <p:spPr bwMode="auto">
          <a:xfrm>
            <a:off x="5776913" y="29368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A853B71-4C18-4427-8425-DD0120E59F7A}" type="datetime'歯''''''''''''''''''''''''''科''''''''医'''''''''''''''''''">
              <a:rPr lang="ja-JP" altLang="en-US" sz="1000" smtClean="0"/>
              <a:pPr marL="0" lvl="0" indent="0">
                <a:spcBef>
                  <a:spcPct val="0"/>
                </a:spcBef>
                <a:buNone/>
              </a:pPr>
              <a:t>歯科医</a:t>
            </a:fld>
            <a:endParaRPr kumimoji="1" lang="ja-JP" altLang="en-US" sz="1000" dirty="0">
              <a:sym typeface="+mn-lt"/>
            </a:endParaRPr>
          </a:p>
        </p:txBody>
      </p:sp>
    </p:spTree>
    <p:extLst>
      <p:ext uri="{BB962C8B-B14F-4D97-AF65-F5344CB8AC3E}">
        <p14:creationId xmlns:p14="http://schemas.microsoft.com/office/powerpoint/2010/main" val="40478506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t>2/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医師、看護師、薬剤師それぞれのサウジアラビア人の割合は、それぞ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前後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solidFill>
                  <a:srgbClr val="000000"/>
                </a:solidFill>
                <a:cs typeface="Arial" panose="020B0604020202020204" pitchFamily="34" charset="0"/>
              </a:rPr>
              <a:t>（出所） 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Yearbook 2024</a:t>
            </a:r>
            <a:r>
              <a:rPr lang="ja-JP" altLang="en-US" sz="800" dirty="0">
                <a:solidFill>
                  <a:srgbClr val="000000"/>
                </a:solidFill>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solidFill>
                <a:srgbClr val="000000"/>
              </a:solidFill>
              <a:cs typeface="Arial" panose="020B0604020202020204" pitchFamily="34" charset="0"/>
            </a:endParaRPr>
          </a:p>
        </p:txBody>
      </p:sp>
      <p:grpSp>
        <p:nvGrpSpPr>
          <p:cNvPr id="40" name="グループ化 7"/>
          <p:cNvGrpSpPr/>
          <p:nvPr/>
        </p:nvGrpSpPr>
        <p:grpSpPr>
          <a:xfrm>
            <a:off x="200472" y="2348880"/>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看護師、薬剤師におけるサウジアラビア人と外国人</a:t>
              </a:r>
              <a:r>
                <a:rPr lang="en-US" altLang="ja-JP" sz="1400" baseline="30000" dirty="0">
                  <a:latin typeface="HGP創英角ｺﾞｼｯｸUB" pitchFamily="50" charset="-128"/>
                  <a:ea typeface="HGP創英角ｺﾞｼｯｸUB" pitchFamily="50" charset="-128"/>
                </a:rPr>
                <a:t>※</a:t>
              </a:r>
              <a:r>
                <a:rPr lang="ja-JP" altLang="en-US" sz="1400" dirty="0">
                  <a:latin typeface="HGP創英角ｺﾞｼｯｸUB" pitchFamily="50" charset="-128"/>
                  <a:ea typeface="HGP創英角ｺﾞｼｯｸUB" pitchFamily="50" charset="-128"/>
                </a:rPr>
                <a:t>の比率（</a:t>
              </a:r>
              <a:r>
                <a:rPr lang="en-US" altLang="ja-JP" sz="1400" dirty="0">
                  <a:latin typeface="HGP創英角ｺﾞｼｯｸUB" pitchFamily="50" charset="-128"/>
                  <a:ea typeface="HGP創英角ｺﾞｼｯｸUB" pitchFamily="50" charset="-128"/>
                </a:rPr>
                <a:t>2024</a:t>
              </a:r>
              <a:r>
                <a:rPr lang="ja-JP" altLang="en-US" sz="1400" dirty="0">
                  <a:latin typeface="HGP創英角ｺﾞｼｯｸUB" pitchFamily="50" charset="-128"/>
                  <a:ea typeface="HGP創英角ｺﾞｼｯｸUB" pitchFamily="50" charset="-128"/>
                </a:rPr>
                <a:t>年時点）</a:t>
              </a:r>
            </a:p>
          </p:txBody>
        </p:sp>
      </p:grpSp>
      <p:sp>
        <p:nvSpPr>
          <p:cNvPr id="13" name="テキスト ボックス 12"/>
          <p:cNvSpPr txBox="1"/>
          <p:nvPr/>
        </p:nvSpPr>
        <p:spPr>
          <a:xfrm>
            <a:off x="272480" y="6309320"/>
            <a:ext cx="7518084"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外国人は、「</a:t>
            </a:r>
            <a:r>
              <a:rPr lang="en-US" altLang="ja-JP" sz="800" dirty="0">
                <a:solidFill>
                  <a:srgbClr val="000000"/>
                </a:solidFill>
              </a:rPr>
              <a:t>Non-Saudi</a:t>
            </a:r>
            <a:r>
              <a:rPr lang="ja-JP" altLang="en-US" sz="800" dirty="0">
                <a:solidFill>
                  <a:srgbClr val="000000"/>
                </a:solidFill>
              </a:rPr>
              <a:t>」と表記されており、サウジアラビアの居住許可証を持つサウジアラビア国籍を有していない者を指すと考えられるが、定義は明示されていない。</a:t>
            </a:r>
            <a:endParaRPr lang="ja-JP" altLang="en-US" sz="800" dirty="0">
              <a:solidFill>
                <a:srgbClr val="000000"/>
              </a:solidFill>
              <a:cs typeface="Arial" panose="020B0604020202020204" pitchFamily="34" charset="0"/>
            </a:endParaRPr>
          </a:p>
        </p:txBody>
      </p:sp>
      <p:graphicFrame>
        <p:nvGraphicFramePr>
          <p:cNvPr id="9" name="グラフ 8">
            <a:extLst>
              <a:ext uri="{FF2B5EF4-FFF2-40B4-BE49-F238E27FC236}">
                <a16:creationId xmlns:a16="http://schemas.microsoft.com/office/drawing/2014/main" id="{F35E2F8D-C0E5-948E-673A-474F7EDB4E50}"/>
              </a:ext>
            </a:extLst>
          </p:cNvPr>
          <p:cNvGraphicFramePr/>
          <p:nvPr>
            <p:extLst>
              <p:ext uri="{D42A27DB-BD31-4B8C-83A1-F6EECF244321}">
                <p14:modId xmlns:p14="http://schemas.microsoft.com/office/powerpoint/2010/main" val="158961304"/>
              </p:ext>
            </p:extLst>
          </p:nvPr>
        </p:nvGraphicFramePr>
        <p:xfrm>
          <a:off x="479356" y="2708731"/>
          <a:ext cx="2700000" cy="32403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グラフ 9">
            <a:extLst>
              <a:ext uri="{FF2B5EF4-FFF2-40B4-BE49-F238E27FC236}">
                <a16:creationId xmlns:a16="http://schemas.microsoft.com/office/drawing/2014/main" id="{849CCA9C-BE3B-3F12-5B2C-06D06CCA33DD}"/>
              </a:ext>
            </a:extLst>
          </p:cNvPr>
          <p:cNvGraphicFramePr/>
          <p:nvPr>
            <p:extLst>
              <p:ext uri="{D42A27DB-BD31-4B8C-83A1-F6EECF244321}">
                <p14:modId xmlns:p14="http://schemas.microsoft.com/office/powerpoint/2010/main" val="3683033997"/>
              </p:ext>
            </p:extLst>
          </p:nvPr>
        </p:nvGraphicFramePr>
        <p:xfrm>
          <a:off x="3598426" y="2708732"/>
          <a:ext cx="2700000" cy="32403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グラフ 10">
            <a:extLst>
              <a:ext uri="{FF2B5EF4-FFF2-40B4-BE49-F238E27FC236}">
                <a16:creationId xmlns:a16="http://schemas.microsoft.com/office/drawing/2014/main" id="{B69AC0AB-6D20-65BE-5626-BE4A37596A76}"/>
              </a:ext>
            </a:extLst>
          </p:cNvPr>
          <p:cNvGraphicFramePr/>
          <p:nvPr>
            <p:extLst>
              <p:ext uri="{D42A27DB-BD31-4B8C-83A1-F6EECF244321}">
                <p14:modId xmlns:p14="http://schemas.microsoft.com/office/powerpoint/2010/main" val="683142392"/>
              </p:ext>
            </p:extLst>
          </p:nvPr>
        </p:nvGraphicFramePr>
        <p:xfrm>
          <a:off x="6717496" y="2708732"/>
          <a:ext cx="2700000" cy="324035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67870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G20</a:t>
            </a:r>
            <a:r>
              <a:rPr lang="en-US" altLang="ja-JP" baseline="30000" dirty="0"/>
              <a:t>※</a:t>
            </a:r>
            <a:r>
              <a:rPr lang="ja-JP" altLang="en-US" dirty="0" err="1"/>
              <a:t>での</a:t>
            </a:r>
            <a:r>
              <a:rPr lang="ja-JP" altLang="en-US" dirty="0"/>
              <a:t>定量データ比較</a:t>
            </a:r>
            <a:endParaRPr kumimoji="1" lang="ja-JP" altLang="en-US" dirty="0"/>
          </a:p>
        </p:txBody>
      </p:sp>
      <p:sp>
        <p:nvSpPr>
          <p:cNvPr id="3" name="テキスト ボックス 2"/>
          <p:cNvSpPr txBox="1"/>
          <p:nvPr/>
        </p:nvSpPr>
        <p:spPr>
          <a:xfrm>
            <a:off x="200472" y="6330806"/>
            <a:ext cx="9505054"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G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うち、欧州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比較対象から除外し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ヵ国のデータを比較した。</a:t>
            </a:r>
          </a:p>
        </p:txBody>
      </p:sp>
    </p:spTree>
    <p:extLst>
      <p:ext uri="{BB962C8B-B14F-4D97-AF65-F5344CB8AC3E}">
        <p14:creationId xmlns:p14="http://schemas.microsoft.com/office/powerpoint/2010/main" val="1713961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740897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サウジアラビア／医療関連／医療・公衆衛生</a:t>
            </a:r>
            <a:endParaRPr kumimoji="1" lang="ja-JP" altLang="en-US" dirty="0"/>
          </a:p>
        </p:txBody>
      </p:sp>
      <p:grpSp>
        <p:nvGrpSpPr>
          <p:cNvPr id="5" name="グループ化 7">
            <a:extLst>
              <a:ext uri="{FF2B5EF4-FFF2-40B4-BE49-F238E27FC236}">
                <a16:creationId xmlns:a16="http://schemas.microsoft.com/office/drawing/2014/main" id="{F2DBC28C-5930-48E4-AA43-E6B9DFBD93A6}"/>
              </a:ext>
            </a:extLst>
          </p:cNvPr>
          <p:cNvGrpSpPr/>
          <p:nvPr/>
        </p:nvGrpSpPr>
        <p:grpSpPr>
          <a:xfrm>
            <a:off x="1856656" y="2492896"/>
            <a:ext cx="4536507" cy="288032"/>
            <a:chOff x="4803500" y="2113806"/>
            <a:chExt cx="2954133" cy="288032"/>
          </a:xfrm>
        </p:grpSpPr>
        <p:cxnSp>
          <p:nvCxnSpPr>
            <p:cNvPr id="9" name="直線コネクタ 40">
              <a:extLst>
                <a:ext uri="{FF2B5EF4-FFF2-40B4-BE49-F238E27FC236}">
                  <a16:creationId xmlns:a16="http://schemas.microsoft.com/office/drawing/2014/main" id="{B82DAC24-3F73-4BB4-9831-0882850F612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A515AE50-E307-4405-AE4B-B049D001078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BB0B2B88-25CB-49BA-B8C5-6FC67E63461F}"/>
              </a:ext>
            </a:extLst>
          </p:cNvPr>
          <p:cNvSpPr txBox="1"/>
          <p:nvPr/>
        </p:nvSpPr>
        <p:spPr>
          <a:xfrm>
            <a:off x="2097461" y="375297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4" name="テキスト ボックス 45">
            <a:extLst>
              <a:ext uri="{FF2B5EF4-FFF2-40B4-BE49-F238E27FC236}">
                <a16:creationId xmlns:a16="http://schemas.microsoft.com/office/drawing/2014/main" id="{BAD55974-75E0-475D-9F5D-2DAB95502C7E}"/>
              </a:ext>
            </a:extLst>
          </p:cNvPr>
          <p:cNvSpPr txBox="1"/>
          <p:nvPr/>
        </p:nvSpPr>
        <p:spPr>
          <a:xfrm>
            <a:off x="5169028" y="376850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697E4502-C5C4-4F3E-B020-E2D7EE1682D3}"/>
              </a:ext>
            </a:extLst>
          </p:cNvPr>
          <p:cNvSpPr txBox="1"/>
          <p:nvPr/>
        </p:nvSpPr>
        <p:spPr>
          <a:xfrm>
            <a:off x="2097461" y="326991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56135AC5-BF4E-419E-B4BF-156E9C58D342}"/>
              </a:ext>
            </a:extLst>
          </p:cNvPr>
          <p:cNvSpPr txBox="1"/>
          <p:nvPr/>
        </p:nvSpPr>
        <p:spPr>
          <a:xfrm>
            <a:off x="5169028" y="326991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164892C6-3EA3-4689-9800-EDC1495DF191}"/>
              </a:ext>
            </a:extLst>
          </p:cNvPr>
          <p:cNvSpPr txBox="1"/>
          <p:nvPr/>
        </p:nvSpPr>
        <p:spPr>
          <a:xfrm>
            <a:off x="2108686" y="4292432"/>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8" name="テキスト ボックス 45">
            <a:extLst>
              <a:ext uri="{FF2B5EF4-FFF2-40B4-BE49-F238E27FC236}">
                <a16:creationId xmlns:a16="http://schemas.microsoft.com/office/drawing/2014/main" id="{353FC5CD-98CB-415C-B05C-7F840B33AA5C}"/>
              </a:ext>
            </a:extLst>
          </p:cNvPr>
          <p:cNvSpPr txBox="1"/>
          <p:nvPr/>
        </p:nvSpPr>
        <p:spPr>
          <a:xfrm>
            <a:off x="5169028" y="42924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89E0032E-669B-4435-A58A-E834F264A76A}"/>
              </a:ext>
            </a:extLst>
          </p:cNvPr>
          <p:cNvSpPr txBox="1"/>
          <p:nvPr/>
        </p:nvSpPr>
        <p:spPr>
          <a:xfrm>
            <a:off x="6777983" y="377287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F5E7650E-10F0-437C-84CB-8645075E7856}"/>
              </a:ext>
            </a:extLst>
          </p:cNvPr>
          <p:cNvSpPr txBox="1"/>
          <p:nvPr/>
        </p:nvSpPr>
        <p:spPr>
          <a:xfrm>
            <a:off x="6669971" y="3274288"/>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85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399EEDD2-C79F-4C83-812C-71BA4DB0833B}"/>
              </a:ext>
            </a:extLst>
          </p:cNvPr>
          <p:cNvSpPr txBox="1"/>
          <p:nvPr/>
        </p:nvSpPr>
        <p:spPr>
          <a:xfrm>
            <a:off x="6777983" y="429680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C4199CA6-5A2F-4D2F-B160-E2090A0A1D7B}"/>
              </a:ext>
            </a:extLst>
          </p:cNvPr>
          <p:cNvSpPr txBox="1"/>
          <p:nvPr/>
        </p:nvSpPr>
        <p:spPr>
          <a:xfrm>
            <a:off x="272480" y="1110518"/>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理学療法士などの登録には、サウジ保健専門委員会から免許を取得する必要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が把握している人数は以下の通り。</a:t>
            </a:r>
          </a:p>
        </p:txBody>
      </p:sp>
      <p:sp>
        <p:nvSpPr>
          <p:cNvPr id="24" name="テキスト ボックス 45">
            <a:extLst>
              <a:ext uri="{FF2B5EF4-FFF2-40B4-BE49-F238E27FC236}">
                <a16:creationId xmlns:a16="http://schemas.microsoft.com/office/drawing/2014/main" id="{E4EFEB12-42A7-4D5D-A0F3-93D2FE7AB9A4}"/>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lang="ja-JP" altLang="en-US" sz="800" dirty="0">
                <a:solidFill>
                  <a:srgbClr val="000000"/>
                </a:solidFill>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A1BC200-361E-4301-8EDE-BA03966F3BA3}"/>
              </a:ext>
            </a:extLst>
          </p:cNvPr>
          <p:cNvGraphicFramePr>
            <a:graphicFrameLocks noChangeAspect="1"/>
          </p:cNvGraphicFramePr>
          <p:nvPr>
            <p:custDataLst>
              <p:tags r:id="rId1"/>
            </p:custDataLst>
            <p:extLst>
              <p:ext uri="{D42A27DB-BD31-4B8C-83A1-F6EECF244321}">
                <p14:modId xmlns:p14="http://schemas.microsoft.com/office/powerpoint/2010/main" val="27947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13" name="Object 12" hidden="1">
                        <a:extLst>
                          <a:ext uri="{FF2B5EF4-FFF2-40B4-BE49-F238E27FC236}">
                            <a16:creationId xmlns:a16="http://schemas.microsoft.com/office/drawing/2014/main" id="{EA1BC200-361E-4301-8EDE-BA03966F3B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r>
              <a:rPr lang="en-US" altLang="ja-JP" dirty="0"/>
              <a:t>1/2</a:t>
            </a:r>
            <a:r>
              <a:rPr lang="ja-JP" altLang="en-US" dirty="0"/>
              <a:t>）</a:t>
            </a:r>
            <a:endParaRPr lang="en-US" altLang="ja-JP" dirty="0"/>
          </a:p>
        </p:txBody>
      </p:sp>
      <p:sp>
        <p:nvSpPr>
          <p:cNvPr id="4" name="ホームベース 3"/>
          <p:cNvSpPr/>
          <p:nvPr/>
        </p:nvSpPr>
        <p:spPr>
          <a:xfrm>
            <a:off x="344488"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1999</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5" name="テキスト ボックス 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a:t>
            </a:r>
            <a:r>
              <a:rPr lang="en-US" altLang="ja-JP" sz="1400" dirty="0">
                <a:solidFill>
                  <a:srgbClr val="000000"/>
                </a:solidFill>
                <a:cs typeface="Arial" panose="020B0604020202020204" pitchFamily="34" charset="0"/>
              </a:rPr>
              <a:t>2006</a:t>
            </a:r>
            <a:r>
              <a:rPr lang="ja-JP" altLang="en-US" sz="1400" dirty="0">
                <a:solidFill>
                  <a:srgbClr val="000000"/>
                </a:solidFill>
                <a:cs typeface="Arial" panose="020B0604020202020204" pitchFamily="34" charset="0"/>
              </a:rPr>
              <a:t>年から段階的に保険加入の義務化が始まり、公的皆保険制度が整備さ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01</a:t>
            </a:r>
            <a:r>
              <a:rPr lang="ja-JP" altLang="en-US" sz="1400" dirty="0">
                <a:solidFill>
                  <a:srgbClr val="000000"/>
                </a:solidFill>
                <a:cs typeface="Arial" panose="020B0604020202020204" pitchFamily="34" charset="0"/>
              </a:rPr>
              <a:t>年には外国人労働者を対象に義務化が始まり、</a:t>
            </a:r>
            <a:r>
              <a:rPr lang="en-US" altLang="ja-JP" sz="1400" dirty="0">
                <a:solidFill>
                  <a:srgbClr val="000000"/>
                </a:solidFill>
                <a:cs typeface="Arial" panose="020B0604020202020204" pitchFamily="34" charset="0"/>
              </a:rPr>
              <a:t>2006</a:t>
            </a:r>
            <a:r>
              <a:rPr lang="ja-JP" altLang="en-US" sz="1400" dirty="0">
                <a:solidFill>
                  <a:srgbClr val="000000"/>
                </a:solidFill>
                <a:cs typeface="Arial" panose="020B0604020202020204" pitchFamily="34" charset="0"/>
              </a:rPr>
              <a:t>年から民間企業に勤務するサウジアラビア人にも義務化の範囲が拡大した。</a:t>
            </a:r>
            <a:r>
              <a:rPr lang="en-US" altLang="ja-JP" sz="1400" dirty="0">
                <a:solidFill>
                  <a:srgbClr val="000000"/>
                </a:solidFill>
                <a:cs typeface="Arial" panose="020B0604020202020204" pitchFamily="34" charset="0"/>
              </a:rPr>
              <a:t>2009</a:t>
            </a:r>
            <a:r>
              <a:rPr lang="ja-JP" altLang="en-US" sz="1400" dirty="0">
                <a:solidFill>
                  <a:srgbClr val="000000"/>
                </a:solidFill>
                <a:cs typeface="Arial" panose="020B0604020202020204" pitchFamily="34" charset="0"/>
              </a:rPr>
              <a:t>年には民間企業に勤務する全てのサウジアラビア人が健康保険に加入することが義務付けられた。</a:t>
            </a:r>
            <a:endParaRPr lang="en-US" altLang="ja-JP" sz="1200" dirty="0">
              <a:solidFill>
                <a:srgbClr val="000000"/>
              </a:solidFill>
              <a:cs typeface="Arial" panose="020B0604020202020204" pitchFamily="34" charset="0"/>
            </a:endParaRPr>
          </a:p>
        </p:txBody>
      </p:sp>
      <p:grpSp>
        <p:nvGrpSpPr>
          <p:cNvPr id="6" name="グループ化 7"/>
          <p:cNvGrpSpPr/>
          <p:nvPr/>
        </p:nvGrpSpPr>
        <p:grpSpPr>
          <a:xfrm>
            <a:off x="200472" y="1988840"/>
            <a:ext cx="9505056" cy="288032"/>
            <a:chOff x="4803500" y="2113806"/>
            <a:chExt cx="5626916" cy="288032"/>
          </a:xfrm>
        </p:grpSpPr>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制度の変遷</a:t>
              </a:r>
              <a:endParaRPr lang="en-US" altLang="ja-JP" sz="1400" dirty="0">
                <a:solidFill>
                  <a:srgbClr val="000000"/>
                </a:solidFill>
                <a:latin typeface="Arial Black" pitchFamily="34" charset="0"/>
                <a:ea typeface="HGP創英角ｺﾞｼｯｸUB" pitchFamily="50" charset="-128"/>
              </a:endParaRPr>
            </a:p>
          </p:txBody>
        </p:sp>
      </p:grpSp>
      <p:sp>
        <p:nvSpPr>
          <p:cNvPr id="9" name="正方形/長方形 8"/>
          <p:cNvSpPr>
            <a:spLocks/>
          </p:cNvSpPr>
          <p:nvPr/>
        </p:nvSpPr>
        <p:spPr>
          <a:xfrm>
            <a:off x="344488"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共同健康保険法が公布</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共同健康保険法（</a:t>
            </a:r>
            <a:r>
              <a:rPr lang="en-US" altLang="ja-JP" sz="1000" dirty="0">
                <a:solidFill>
                  <a:srgbClr val="000000"/>
                </a:solidFill>
                <a:latin typeface="ＭＳ Ｐゴシック" panose="020B0600070205080204" pitchFamily="50" charset="-128"/>
                <a:cs typeface="Arial" panose="020B0604020202020204" pitchFamily="34" charset="0"/>
              </a:rPr>
              <a:t>Cooperative Health Insurance Act</a:t>
            </a:r>
            <a:r>
              <a:rPr lang="ja-JP" altLang="en-US" sz="1000" dirty="0">
                <a:solidFill>
                  <a:srgbClr val="000000"/>
                </a:solidFill>
                <a:latin typeface="ＭＳ Ｐゴシック" panose="020B0600070205080204" pitchFamily="50" charset="-128"/>
                <a:cs typeface="Arial" panose="020B0604020202020204" pitchFamily="34" charset="0"/>
              </a:rPr>
              <a:t>）が交付された。</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共同保険健康評議会（</a:t>
            </a:r>
            <a:r>
              <a:rPr lang="en-US" altLang="ja-JP" sz="1000" dirty="0">
                <a:solidFill>
                  <a:srgbClr val="000000"/>
                </a:solidFill>
                <a:latin typeface="ＭＳ Ｐゴシック" panose="020B0600070205080204" pitchFamily="50" charset="-128"/>
                <a:cs typeface="Arial" panose="020B0604020202020204" pitchFamily="34" charset="0"/>
              </a:rPr>
              <a:t>CHIC : Council of Cooperative Health Insurance</a:t>
            </a:r>
            <a:r>
              <a:rPr lang="ja-JP" altLang="en-US" sz="1000" dirty="0">
                <a:solidFill>
                  <a:srgbClr val="000000"/>
                </a:solidFill>
                <a:latin typeface="ＭＳ Ｐゴシック" panose="020B0600070205080204" pitchFamily="50" charset="-128"/>
                <a:cs typeface="Arial" panose="020B0604020202020204" pitchFamily="34" charset="0"/>
              </a:rPr>
              <a:t>）が医療保険業界の規制当局の役割を担うことになっ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10" name="ホームベース 9"/>
          <p:cNvSpPr/>
          <p:nvPr/>
        </p:nvSpPr>
        <p:spPr>
          <a:xfrm>
            <a:off x="2648744"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2001</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11" name="正方形/長方形 10"/>
          <p:cNvSpPr>
            <a:spLocks/>
          </p:cNvSpPr>
          <p:nvPr/>
        </p:nvSpPr>
        <p:spPr>
          <a:xfrm>
            <a:off x="2648744"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外国人労働者の加入義務化</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サウジアラビアの雇用主に外国人労働者の健康保険加入を義務付け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16" name="角丸四角形 15"/>
          <p:cNvSpPr/>
          <p:nvPr/>
        </p:nvSpPr>
        <p:spPr>
          <a:xfrm>
            <a:off x="344488" y="5026893"/>
            <a:ext cx="1728192" cy="504056"/>
          </a:xfrm>
          <a:prstGeom prst="roundRect">
            <a:avLst>
              <a:gd name="adj" fmla="val 12132"/>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共同保険健康評議会</a:t>
            </a:r>
            <a:br>
              <a:rPr lang="en-US" altLang="ja-JP" sz="1200" b="1" dirty="0">
                <a:solidFill>
                  <a:srgbClr val="000000"/>
                </a:solidFill>
                <a:latin typeface="ＭＳ Ｐゴシック" panose="020B0600070205080204" pitchFamily="50" charset="-128"/>
              </a:rPr>
            </a:br>
            <a:r>
              <a:rPr lang="ja-JP" altLang="en-US" sz="1200" b="1" dirty="0">
                <a:solidFill>
                  <a:srgbClr val="000000"/>
                </a:solidFill>
                <a:latin typeface="ＭＳ Ｐゴシック" panose="020B0600070205080204" pitchFamily="50" charset="-128"/>
              </a:rPr>
              <a:t>（</a:t>
            </a:r>
            <a:r>
              <a:rPr lang="en-US" altLang="ja-JP" sz="1200" b="1" dirty="0">
                <a:solidFill>
                  <a:srgbClr val="000000"/>
                </a:solidFill>
                <a:latin typeface="ＭＳ Ｐゴシック" panose="020B0600070205080204" pitchFamily="50" charset="-128"/>
              </a:rPr>
              <a:t>CHIC</a:t>
            </a:r>
            <a:r>
              <a:rPr lang="ja-JP" altLang="en-US" sz="1200" b="1" dirty="0">
                <a:solidFill>
                  <a:srgbClr val="000000"/>
                </a:solidFill>
                <a:latin typeface="ＭＳ Ｐゴシック" panose="020B0600070205080204" pitchFamily="50" charset="-128"/>
              </a:rPr>
              <a:t>）</a:t>
            </a:r>
          </a:p>
        </p:txBody>
      </p:sp>
      <p:sp>
        <p:nvSpPr>
          <p:cNvPr id="17" name="角丸四角形 16"/>
          <p:cNvSpPr/>
          <p:nvPr/>
        </p:nvSpPr>
        <p:spPr>
          <a:xfrm>
            <a:off x="3080792" y="5026893"/>
            <a:ext cx="1728000" cy="504000"/>
          </a:xfrm>
          <a:prstGeom prst="roundRect">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民間保険会社（</a:t>
            </a:r>
            <a:r>
              <a:rPr lang="en-US" altLang="ja-JP" sz="1200" b="1" dirty="0">
                <a:solidFill>
                  <a:srgbClr val="000000"/>
                </a:solidFill>
                <a:latin typeface="ＭＳ Ｐゴシック" panose="020B0600070205080204" pitchFamily="50" charset="-128"/>
              </a:rPr>
              <a:t>27</a:t>
            </a:r>
            <a:r>
              <a:rPr lang="ja-JP" altLang="en-US" sz="1200" b="1" dirty="0">
                <a:solidFill>
                  <a:srgbClr val="000000"/>
                </a:solidFill>
                <a:latin typeface="ＭＳ Ｐゴシック" panose="020B0600070205080204" pitchFamily="50" charset="-128"/>
              </a:rPr>
              <a:t>社）</a:t>
            </a:r>
            <a:endParaRPr lang="en-US" altLang="ja-JP" sz="1200" b="1" dirty="0">
              <a:solidFill>
                <a:srgbClr val="000000"/>
              </a:solidFill>
              <a:latin typeface="ＭＳ Ｐゴシック" panose="020B0600070205080204" pitchFamily="50" charset="-128"/>
            </a:endParaRPr>
          </a:p>
          <a:p>
            <a:pPr algn="ctr" fontAlgn="ctr"/>
            <a:r>
              <a:rPr lang="ja-JP" altLang="en-US" sz="900" b="1" dirty="0">
                <a:solidFill>
                  <a:srgbClr val="000000"/>
                </a:solidFill>
                <a:latin typeface="ＭＳ Ｐゴシック" panose="020B0600070205080204" pitchFamily="50" charset="-128"/>
              </a:rPr>
              <a:t>（</a:t>
            </a:r>
            <a:r>
              <a:rPr lang="en-US" altLang="ja-JP" sz="900" dirty="0">
                <a:solidFill>
                  <a:srgbClr val="000000"/>
                </a:solidFill>
              </a:rPr>
              <a:t> Health-Care Services Provider </a:t>
            </a:r>
            <a:r>
              <a:rPr lang="ja-JP" altLang="en-US" sz="900" b="1" dirty="0">
                <a:solidFill>
                  <a:srgbClr val="000000"/>
                </a:solidFill>
                <a:latin typeface="ＭＳ Ｐゴシック" panose="020B0600070205080204" pitchFamily="50" charset="-128"/>
              </a:rPr>
              <a:t>）</a:t>
            </a:r>
          </a:p>
        </p:txBody>
      </p:sp>
      <p:cxnSp>
        <p:nvCxnSpPr>
          <p:cNvPr id="19" name="直線矢印コネクタ 18"/>
          <p:cNvCxnSpPr>
            <a:stCxn id="16" idx="3"/>
            <a:endCxn id="17" idx="1"/>
          </p:cNvCxnSpPr>
          <p:nvPr/>
        </p:nvCxnSpPr>
        <p:spPr>
          <a:xfrm flipV="1">
            <a:off x="2072680" y="5278893"/>
            <a:ext cx="1008112" cy="28"/>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2288705" y="5170909"/>
            <a:ext cx="576064" cy="216024"/>
          </a:xfrm>
          <a:prstGeom prst="roundRect">
            <a:avLst>
              <a:gd name="adj" fmla="val 50000"/>
            </a:avLst>
          </a:prstGeom>
          <a:solidFill>
            <a:srgbClr val="F6E8C2"/>
          </a:solidFill>
          <a:ln cmpd="sng">
            <a:solidFill>
              <a:srgbClr val="3D6AA7"/>
            </a:solidFill>
          </a:ln>
        </p:spPr>
        <p:txBody>
          <a:bodyPr wrap="none" anchor="ctr" anchorCtr="0">
            <a:noAutofit/>
          </a:bodyPr>
          <a:lstStyle/>
          <a:p>
            <a:pPr algn="ctr" fontAlgn="ctr"/>
            <a:r>
              <a:rPr lang="ja-JP" altLang="en-US" sz="1000" b="1" dirty="0">
                <a:solidFill>
                  <a:srgbClr val="000000"/>
                </a:solidFill>
              </a:rPr>
              <a:t>認証</a:t>
            </a:r>
          </a:p>
        </p:txBody>
      </p:sp>
      <p:sp>
        <p:nvSpPr>
          <p:cNvPr id="54" name="テキスト ボックス 53"/>
          <p:cNvSpPr txBox="1"/>
          <p:nvPr/>
        </p:nvSpPr>
        <p:spPr>
          <a:xfrm>
            <a:off x="200025" y="6410847"/>
            <a:ext cx="5689079" cy="24622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出所） サウジアラビア通貨庁「</a:t>
            </a:r>
            <a:r>
              <a:rPr lang="en-US" altLang="ja-JP" sz="800" dirty="0">
                <a:solidFill>
                  <a:srgbClr val="000000"/>
                </a:solidFill>
                <a:cs typeface="Arial" panose="020B0604020202020204" pitchFamily="34" charset="0"/>
              </a:rPr>
              <a:t>The Saudi Insurance Market Report 201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ETRO</a:t>
            </a:r>
            <a:r>
              <a:rPr lang="ja-JP" altLang="en-US" sz="800" dirty="0">
                <a:solidFill>
                  <a:srgbClr val="000000"/>
                </a:solidFill>
                <a:cs typeface="Arial" panose="020B0604020202020204" pitchFamily="34" charset="0"/>
              </a:rPr>
              <a:t>「サウジアラビアの医療機器市場」（</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37" name="グループ化 7"/>
          <p:cNvGrpSpPr/>
          <p:nvPr/>
        </p:nvGrpSpPr>
        <p:grpSpPr>
          <a:xfrm>
            <a:off x="200472" y="4632945"/>
            <a:ext cx="6912768" cy="288032"/>
            <a:chOff x="4803500" y="2113806"/>
            <a:chExt cx="5626916" cy="288032"/>
          </a:xfrm>
        </p:grpSpPr>
        <p:cxnSp>
          <p:nvCxnSpPr>
            <p:cNvPr id="38" name="直線コネクタ 3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健康保険法に基づく健康保険制度</a:t>
              </a:r>
              <a:endParaRPr lang="zh-TW" altLang="en-US" sz="1400" dirty="0">
                <a:solidFill>
                  <a:srgbClr val="000000"/>
                </a:solidFill>
                <a:latin typeface="Arial Black" pitchFamily="34" charset="0"/>
                <a:ea typeface="HGP創英角ｺﾞｼｯｸUB" pitchFamily="50" charset="-128"/>
              </a:endParaRPr>
            </a:p>
          </p:txBody>
        </p:sp>
      </p:grpSp>
      <p:sp>
        <p:nvSpPr>
          <p:cNvPr id="48" name="ホームベース 47"/>
          <p:cNvSpPr/>
          <p:nvPr/>
        </p:nvSpPr>
        <p:spPr>
          <a:xfrm>
            <a:off x="4953000"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2006</a:t>
            </a:r>
            <a:r>
              <a:rPr lang="ja-JP" altLang="en-US" sz="1400" b="1" dirty="0">
                <a:solidFill>
                  <a:srgbClr val="000000"/>
                </a:solidFill>
              </a:rPr>
              <a:t>年～</a:t>
            </a:r>
            <a:r>
              <a:rPr lang="en-US" altLang="ja-JP" sz="1400" b="1" dirty="0">
                <a:solidFill>
                  <a:srgbClr val="000000"/>
                </a:solidFill>
              </a:rPr>
              <a:t>2009</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49" name="正方形/長方形 48"/>
          <p:cNvSpPr>
            <a:spLocks/>
          </p:cNvSpPr>
          <p:nvPr/>
        </p:nvSpPr>
        <p:spPr>
          <a:xfrm>
            <a:off x="4953000"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民間企業に勤務するサウジアラビア人の加入義務化</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同法の適用をサウジアラビア人に拡大し、</a:t>
            </a:r>
            <a:r>
              <a:rPr lang="en-US" altLang="ja-JP" sz="1000" dirty="0">
                <a:solidFill>
                  <a:srgbClr val="000000"/>
                </a:solidFill>
                <a:latin typeface="ＭＳ Ｐゴシック" panose="020B0600070205080204" pitchFamily="50" charset="-128"/>
                <a:cs typeface="Arial" panose="020B0604020202020204" pitchFamily="34" charset="0"/>
              </a:rPr>
              <a:t>2006</a:t>
            </a:r>
            <a:r>
              <a:rPr lang="ja-JP" altLang="en-US" sz="1000" dirty="0">
                <a:solidFill>
                  <a:srgbClr val="000000"/>
                </a:solidFill>
                <a:latin typeface="ＭＳ Ｐゴシック" panose="020B0600070205080204" pitchFamily="50" charset="-128"/>
                <a:cs typeface="Arial" panose="020B0604020202020204" pitchFamily="34" charset="0"/>
              </a:rPr>
              <a:t>年～</a:t>
            </a:r>
            <a:r>
              <a:rPr lang="en-US" altLang="ja-JP" sz="1000" dirty="0">
                <a:solidFill>
                  <a:srgbClr val="000000"/>
                </a:solidFill>
                <a:latin typeface="ＭＳ Ｐゴシック" panose="020B0600070205080204" pitchFamily="50" charset="-128"/>
                <a:cs typeface="Arial" panose="020B0604020202020204" pitchFamily="34" charset="0"/>
              </a:rPr>
              <a:t>2009</a:t>
            </a:r>
            <a:r>
              <a:rPr lang="ja-JP" altLang="en-US" sz="1000" dirty="0">
                <a:solidFill>
                  <a:srgbClr val="000000"/>
                </a:solidFill>
                <a:latin typeface="ＭＳ Ｐゴシック" panose="020B0600070205080204" pitchFamily="50" charset="-128"/>
                <a:cs typeface="Arial" panose="020B0604020202020204" pitchFamily="34" charset="0"/>
              </a:rPr>
              <a:t>年にかけて、民間企業の従業員数に応じ、健康保険加入の義務化の範囲を段階的（ （</a:t>
            </a:r>
            <a:r>
              <a:rPr lang="en-US" altLang="ja-JP" sz="1000" dirty="0">
                <a:solidFill>
                  <a:srgbClr val="000000"/>
                </a:solidFill>
                <a:latin typeface="ＭＳ Ｐゴシック" panose="020B0600070205080204" pitchFamily="50" charset="-128"/>
                <a:cs typeface="Arial" panose="020B0604020202020204" pitchFamily="34" charset="0"/>
              </a:rPr>
              <a:t>500</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99</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50</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49</a:t>
            </a:r>
            <a:r>
              <a:rPr lang="ja-JP" altLang="en-US" sz="1000" dirty="0">
                <a:solidFill>
                  <a:srgbClr val="000000"/>
                </a:solidFill>
                <a:latin typeface="ＭＳ Ｐゴシック" panose="020B0600070205080204" pitchFamily="50" charset="-128"/>
                <a:cs typeface="Arial" panose="020B0604020202020204" pitchFamily="34" charset="0"/>
              </a:rPr>
              <a:t>人以下の</a:t>
            </a:r>
            <a:r>
              <a:rPr lang="en-US" altLang="ja-JP" sz="1000" dirty="0">
                <a:solidFill>
                  <a:srgbClr val="000000"/>
                </a:solidFill>
                <a:latin typeface="ＭＳ Ｐゴシック" panose="020B0600070205080204" pitchFamily="50" charset="-128"/>
                <a:cs typeface="Arial" panose="020B0604020202020204" pitchFamily="34" charset="0"/>
              </a:rPr>
              <a:t>4</a:t>
            </a:r>
            <a:r>
              <a:rPr lang="ja-JP" altLang="en-US" sz="1000" dirty="0">
                <a:solidFill>
                  <a:srgbClr val="000000"/>
                </a:solidFill>
                <a:latin typeface="ＭＳ Ｐゴシック" panose="020B0600070205080204" pitchFamily="50" charset="-128"/>
                <a:cs typeface="Arial" panose="020B0604020202020204" pitchFamily="34" charset="0"/>
              </a:rPr>
              <a:t>段階）に拡大し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50" name="ホームベース 49"/>
          <p:cNvSpPr/>
          <p:nvPr/>
        </p:nvSpPr>
        <p:spPr>
          <a:xfrm>
            <a:off x="7278496" y="2348880"/>
            <a:ext cx="2448000" cy="288032"/>
          </a:xfrm>
          <a:prstGeom prst="homePlate">
            <a:avLst>
              <a:gd name="adj" fmla="val 0"/>
            </a:avLst>
          </a:prstGeom>
          <a:solidFill>
            <a:srgbClr val="A2BBDC"/>
          </a:solidFill>
        </p:spPr>
        <p:txBody>
          <a:bodyPr wrap="square" rtlCol="0" anchor="ctr">
            <a:noAutofit/>
          </a:bodyPr>
          <a:lstStyle/>
          <a:p>
            <a:pPr algn="ctr"/>
            <a:r>
              <a:rPr lang="ja-JP" altLang="en-US" sz="1400" b="1" dirty="0">
                <a:solidFill>
                  <a:srgbClr val="000000"/>
                </a:solidFill>
                <a:cs typeface="Arial" panose="020B0604020202020204" pitchFamily="34" charset="0"/>
              </a:rPr>
              <a:t>現　在</a:t>
            </a:r>
          </a:p>
        </p:txBody>
      </p:sp>
      <p:sp>
        <p:nvSpPr>
          <p:cNvPr id="52" name="正方形/長方形 51"/>
          <p:cNvSpPr>
            <a:spLocks/>
          </p:cNvSpPr>
          <p:nvPr/>
        </p:nvSpPr>
        <p:spPr>
          <a:xfrm>
            <a:off x="7278496" y="2636913"/>
            <a:ext cx="244800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総保険料収入</a:t>
            </a:r>
            <a:r>
              <a:rPr lang="en-US" altLang="ja-JP" sz="1200" b="1" dirty="0">
                <a:solidFill>
                  <a:srgbClr val="000000"/>
                </a:solidFill>
                <a:latin typeface="ＭＳ Ｐゴシック" panose="020B0600070205080204" pitchFamily="50" charset="-128"/>
              </a:rPr>
              <a:t>228</a:t>
            </a:r>
            <a:r>
              <a:rPr lang="ja-JP" altLang="en-US" sz="1200" b="1" dirty="0">
                <a:solidFill>
                  <a:srgbClr val="000000"/>
                </a:solidFill>
                <a:latin typeface="ＭＳ Ｐゴシック" panose="020B0600070205080204" pitchFamily="50" charset="-128"/>
              </a:rPr>
              <a:t>億リヤル</a:t>
            </a:r>
            <a:r>
              <a:rPr lang="en-US" altLang="ja-JP" sz="1200" b="1" baseline="30000" dirty="0">
                <a:solidFill>
                  <a:srgbClr val="000000"/>
                </a:solidFill>
                <a:latin typeface="ＭＳ Ｐゴシック" panose="020B0600070205080204" pitchFamily="50" charset="-128"/>
              </a:rPr>
              <a:t>※</a:t>
            </a:r>
            <a:r>
              <a:rPr lang="ja-JP" altLang="en-US" sz="1200" b="1" dirty="0">
                <a:solidFill>
                  <a:srgbClr val="000000"/>
                </a:solidFill>
                <a:latin typeface="ＭＳ Ｐゴシック" panose="020B0600070205080204" pitchFamily="50" charset="-128"/>
              </a:rPr>
              <a:t>に</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全ての民間企業に勤務する全ての従業員が健康保険の加入を義務付けられている。健康保険の対象には、従業員とその扶養家族を含む。</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保険料は全額雇用主負担であり、自営業者や零細企業などを含むため、普及には時間を要するとされる。</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一般の医療保険も合わせて、総保険料収入</a:t>
            </a:r>
            <a:r>
              <a:rPr lang="en-US" altLang="ja-JP" sz="1000" dirty="0">
                <a:solidFill>
                  <a:srgbClr val="000000"/>
                </a:solidFill>
                <a:latin typeface="ＭＳ Ｐゴシック" panose="020B0600070205080204" pitchFamily="50" charset="-128"/>
                <a:cs typeface="Arial" panose="020B0604020202020204" pitchFamily="34" charset="0"/>
              </a:rPr>
              <a:t>228</a:t>
            </a:r>
            <a:r>
              <a:rPr lang="ja-JP" altLang="en-US" sz="1000" dirty="0">
                <a:solidFill>
                  <a:srgbClr val="000000"/>
                </a:solidFill>
                <a:latin typeface="ＭＳ Ｐゴシック" panose="020B0600070205080204" pitchFamily="50" charset="-128"/>
                <a:cs typeface="Arial" panose="020B0604020202020204" pitchFamily="34" charset="0"/>
              </a:rPr>
              <a:t>億リヤル規模の市場に成長している。</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25" name="正方形/長方形 24"/>
          <p:cNvSpPr/>
          <p:nvPr/>
        </p:nvSpPr>
        <p:spPr>
          <a:xfrm>
            <a:off x="200472" y="5554397"/>
            <a:ext cx="7056784" cy="430887"/>
          </a:xfrm>
          <a:prstGeom prst="rect">
            <a:avLst/>
          </a:prstGeom>
        </p:spPr>
        <p:txBody>
          <a:bodyPr wrap="square">
            <a:spAutoFit/>
          </a:bodyPr>
          <a:lstStyle/>
          <a:p>
            <a:pPr marL="139700" lvl="1" indent="-139700" fontAlgn="ctr">
              <a:lnSpc>
                <a:spcPct val="110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健康保険の加入を義務付けられた対象者への健康保険サービスの提供は、</a:t>
            </a:r>
            <a:r>
              <a:rPr lang="zh-TW" altLang="en-US" sz="1000" dirty="0">
                <a:solidFill>
                  <a:srgbClr val="000000"/>
                </a:solidFill>
                <a:latin typeface="ＭＳ Ｐゴシック" panose="020B0600070205080204" pitchFamily="50" charset="-128"/>
                <a:cs typeface="Arial" panose="020B0604020202020204" pitchFamily="34" charset="0"/>
              </a:rPr>
              <a:t>共同保険健康評議会（</a:t>
            </a:r>
            <a:r>
              <a:rPr lang="en-US" altLang="zh-TW" sz="1000" dirty="0">
                <a:solidFill>
                  <a:srgbClr val="000000"/>
                </a:solidFill>
                <a:latin typeface="ＭＳ Ｐゴシック" panose="020B0600070205080204" pitchFamily="50" charset="-128"/>
                <a:cs typeface="Arial" panose="020B0604020202020204" pitchFamily="34" charset="0"/>
              </a:rPr>
              <a:t>CHIC</a:t>
            </a:r>
            <a:r>
              <a:rPr lang="zh-TW" altLang="en-US" sz="1000" dirty="0">
                <a:solidFill>
                  <a:srgbClr val="000000"/>
                </a:solidFill>
                <a:latin typeface="ＭＳ Ｐゴシック" panose="020B0600070205080204" pitchFamily="50" charset="-128"/>
                <a:cs typeface="Arial" panose="020B0604020202020204" pitchFamily="34" charset="0"/>
              </a:rPr>
              <a:t>）</a:t>
            </a:r>
            <a:r>
              <a:rPr lang="ja-JP" altLang="en-US" sz="1000" dirty="0" err="1">
                <a:solidFill>
                  <a:srgbClr val="000000"/>
                </a:solidFill>
                <a:latin typeface="ＭＳ Ｐゴシック" panose="020B0600070205080204" pitchFamily="50" charset="-128"/>
                <a:cs typeface="Arial" panose="020B0604020202020204" pitchFamily="34" charset="0"/>
              </a:rPr>
              <a:t>が認</a:t>
            </a:r>
            <a:r>
              <a:rPr lang="ja-JP" altLang="en-US" sz="1000" dirty="0">
                <a:solidFill>
                  <a:srgbClr val="000000"/>
                </a:solidFill>
                <a:latin typeface="ＭＳ Ｐゴシック" panose="020B0600070205080204" pitchFamily="50" charset="-128"/>
                <a:cs typeface="Arial" panose="020B0604020202020204" pitchFamily="34" charset="0"/>
              </a:rPr>
              <a:t>証した保険会社（</a:t>
            </a:r>
            <a:r>
              <a:rPr lang="en-US" altLang="ja-JP" sz="1000" dirty="0">
                <a:solidFill>
                  <a:srgbClr val="000000"/>
                </a:solidFill>
                <a:latin typeface="ＭＳ Ｐゴシック" panose="020B0600070205080204" pitchFamily="50" charset="-128"/>
                <a:cs typeface="Arial" panose="020B0604020202020204" pitchFamily="34" charset="0"/>
              </a:rPr>
              <a:t>Health-Care Services Provider</a:t>
            </a:r>
            <a:r>
              <a:rPr lang="ja-JP" altLang="en-US" sz="1000" dirty="0">
                <a:solidFill>
                  <a:srgbClr val="000000"/>
                </a:solidFill>
                <a:latin typeface="ＭＳ Ｐゴシック" panose="020B0600070205080204" pitchFamily="50" charset="-128"/>
                <a:cs typeface="Arial" panose="020B0604020202020204" pitchFamily="34" charset="0"/>
              </a:rPr>
              <a:t>）を通して行われる。現在認証されている保険会社は</a:t>
            </a:r>
            <a:r>
              <a:rPr lang="en-US" altLang="ja-JP" sz="1000" dirty="0">
                <a:solidFill>
                  <a:srgbClr val="000000"/>
                </a:solidFill>
                <a:latin typeface="ＭＳ Ｐゴシック" panose="020B0600070205080204" pitchFamily="50" charset="-128"/>
                <a:cs typeface="Arial" panose="020B0604020202020204" pitchFamily="34" charset="0"/>
              </a:rPr>
              <a:t>30</a:t>
            </a:r>
            <a:r>
              <a:rPr lang="ja-JP" altLang="en-US" sz="1000" dirty="0">
                <a:solidFill>
                  <a:srgbClr val="000000"/>
                </a:solidFill>
                <a:latin typeface="ＭＳ Ｐゴシック" panose="020B0600070205080204" pitchFamily="50" charset="-128"/>
                <a:cs typeface="Arial" panose="020B0604020202020204" pitchFamily="34" charset="0"/>
              </a:rPr>
              <a:t>社ある（</a:t>
            </a:r>
            <a:r>
              <a:rPr lang="en-US" altLang="ja-JP" sz="1000" dirty="0">
                <a:solidFill>
                  <a:srgbClr val="000000"/>
                </a:solidFill>
                <a:latin typeface="ＭＳ Ｐゴシック" panose="020B0600070205080204" pitchFamily="50" charset="-128"/>
                <a:cs typeface="Arial" panose="020B0604020202020204" pitchFamily="34" charset="0"/>
              </a:rPr>
              <a:t>2020</a:t>
            </a:r>
            <a:r>
              <a:rPr lang="ja-JP" altLang="en-US" sz="1000" dirty="0">
                <a:solidFill>
                  <a:srgbClr val="000000"/>
                </a:solidFill>
                <a:latin typeface="ＭＳ Ｐゴシック" panose="020B0600070205080204" pitchFamily="50" charset="-128"/>
                <a:cs typeface="Arial" panose="020B0604020202020204" pitchFamily="34" charset="0"/>
              </a:rPr>
              <a:t>年</a:t>
            </a:r>
            <a:r>
              <a:rPr lang="en-US" altLang="ja-JP" sz="1000" dirty="0">
                <a:solidFill>
                  <a:srgbClr val="000000"/>
                </a:solidFill>
                <a:latin typeface="ＭＳ Ｐゴシック" panose="020B0600070205080204" pitchFamily="50" charset="-128"/>
                <a:cs typeface="Arial" panose="020B0604020202020204" pitchFamily="34" charset="0"/>
              </a:rPr>
              <a:t>12</a:t>
            </a:r>
            <a:r>
              <a:rPr lang="ja-JP" altLang="en-US" sz="1000" dirty="0">
                <a:solidFill>
                  <a:srgbClr val="000000"/>
                </a:solidFill>
                <a:latin typeface="ＭＳ Ｐゴシック" panose="020B0600070205080204" pitchFamily="50" charset="-128"/>
                <a:cs typeface="Arial" panose="020B0604020202020204" pitchFamily="34" charset="0"/>
              </a:rPr>
              <a:t>月時点）。</a:t>
            </a:r>
            <a:r>
              <a:rPr lang="en-US" altLang="ja-JP" sz="1000" dirty="0">
                <a:solidFill>
                  <a:srgbClr val="000000"/>
                </a:solidFill>
                <a:latin typeface="ＭＳ Ｐゴシック" panose="020B0600070205080204" pitchFamily="50" charset="-128"/>
                <a:cs typeface="Arial" panose="020B0604020202020204" pitchFamily="34" charset="0"/>
              </a:rPr>
              <a:t> </a:t>
            </a:r>
            <a:endParaRPr lang="zh-TW" altLang="en-US" sz="1000" dirty="0">
              <a:solidFill>
                <a:srgbClr val="000000"/>
              </a:solidFill>
              <a:latin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6897216" y="5983471"/>
            <a:ext cx="2607773" cy="33855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義務化された民間企業に勤務する全ての従業員向けの健康保険だけではなく、その他の健康保険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5385240" y="5026893"/>
            <a:ext cx="1728000" cy="504000"/>
          </a:xfrm>
          <a:prstGeom prst="roundRect">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民間企業の雇用主</a:t>
            </a:r>
            <a:endParaRPr lang="ja-JP" altLang="en-US" sz="900" b="1" dirty="0">
              <a:solidFill>
                <a:srgbClr val="000000"/>
              </a:solidFill>
              <a:latin typeface="ＭＳ Ｐゴシック" panose="020B0600070205080204" pitchFamily="50" charset="-128"/>
            </a:endParaRPr>
          </a:p>
        </p:txBody>
      </p:sp>
      <p:cxnSp>
        <p:nvCxnSpPr>
          <p:cNvPr id="29" name="直線矢印コネクタ 28"/>
          <p:cNvCxnSpPr/>
          <p:nvPr/>
        </p:nvCxnSpPr>
        <p:spPr>
          <a:xfrm flipH="1">
            <a:off x="4808792" y="5278893"/>
            <a:ext cx="576448" cy="0"/>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角丸四角形 31"/>
          <p:cNvSpPr/>
          <p:nvPr/>
        </p:nvSpPr>
        <p:spPr>
          <a:xfrm>
            <a:off x="4808984" y="5353621"/>
            <a:ext cx="576064" cy="216024"/>
          </a:xfrm>
          <a:prstGeom prst="roundRect">
            <a:avLst>
              <a:gd name="adj" fmla="val 50000"/>
            </a:avLst>
          </a:prstGeom>
          <a:noFill/>
          <a:ln cmpd="sng">
            <a:noFill/>
          </a:ln>
        </p:spPr>
        <p:txBody>
          <a:bodyPr wrap="none" anchor="ctr" anchorCtr="0">
            <a:noAutofit/>
          </a:bodyPr>
          <a:lstStyle/>
          <a:p>
            <a:pPr algn="ctr" fontAlgn="ctr"/>
            <a:r>
              <a:rPr lang="ja-JP" altLang="en-US" sz="1000" b="1" dirty="0">
                <a:solidFill>
                  <a:srgbClr val="000000"/>
                </a:solidFill>
              </a:rPr>
              <a:t>保険料</a:t>
            </a:r>
            <a:endParaRPr lang="en-US" altLang="ja-JP" sz="1000" b="1" dirty="0">
              <a:solidFill>
                <a:srgbClr val="000000"/>
              </a:solidFill>
            </a:endParaRPr>
          </a:p>
          <a:p>
            <a:pPr algn="ctr" fontAlgn="ctr"/>
            <a:r>
              <a:rPr lang="ja-JP" altLang="en-US" sz="1000" b="1" dirty="0">
                <a:solidFill>
                  <a:srgbClr val="000000"/>
                </a:solidFill>
              </a:rPr>
              <a:t>支払い</a:t>
            </a:r>
          </a:p>
        </p:txBody>
      </p:sp>
      <p:sp>
        <p:nvSpPr>
          <p:cNvPr id="30" name="正方形/長方形 10"/>
          <p:cNvSpPr/>
          <p:nvPr/>
        </p:nvSpPr>
        <p:spPr>
          <a:xfrm>
            <a:off x="7454230" y="6551012"/>
            <a:ext cx="2075889" cy="123111"/>
          </a:xfrm>
          <a:prstGeom prst="rect">
            <a:avLst/>
          </a:prstGeom>
        </p:spPr>
        <p:txBody>
          <a:bodyPr wrap="none" lIns="0" tIns="0" rIns="0" bIns="0">
            <a:spAutoFit/>
          </a:bodyPr>
          <a:lstStyle/>
          <a:p>
            <a:r>
              <a:rPr lang="en-US" altLang="ja-JP" sz="800" dirty="0"/>
              <a:t>1</a:t>
            </a:r>
            <a:r>
              <a:rPr lang="ja-JP" altLang="en-US" sz="800" dirty="0"/>
              <a:t>リヤル </a:t>
            </a:r>
            <a:r>
              <a:rPr lang="ja-JP" altLang="en-US" sz="800"/>
              <a:t>＝　</a:t>
            </a:r>
            <a:r>
              <a:rPr lang="en-US" altLang="ja-JP" sz="800" dirty="0"/>
              <a:t>30.30 </a:t>
            </a:r>
            <a:r>
              <a:rPr lang="ja-JP" altLang="en-US" sz="800"/>
              <a:t>円　（</a:t>
            </a:r>
            <a:r>
              <a:rPr lang="en-US" altLang="ja-JP" sz="800"/>
              <a:t>2021</a:t>
            </a:r>
            <a:r>
              <a:rPr lang="ja-JP" altLang="en-US" sz="800"/>
              <a:t>年</a:t>
            </a:r>
            <a:r>
              <a:rPr lang="en-US" altLang="ja-JP" sz="800"/>
              <a:t>12</a:t>
            </a:r>
            <a:r>
              <a:rPr lang="ja-JP" altLang="en-US" sz="800"/>
              <a:t>月</a:t>
            </a:r>
            <a:r>
              <a:rPr lang="en-US" altLang="ja-JP" sz="800" dirty="0"/>
              <a:t>15</a:t>
            </a:r>
            <a:r>
              <a:rPr lang="ja-JP" altLang="en-US" sz="800" dirty="0"/>
              <a:t>日時点）</a:t>
            </a:r>
          </a:p>
        </p:txBody>
      </p:sp>
    </p:spTree>
    <p:extLst>
      <p:ext uri="{BB962C8B-B14F-4D97-AF65-F5344CB8AC3E}">
        <p14:creationId xmlns:p14="http://schemas.microsoft.com/office/powerpoint/2010/main" val="42870931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5FB97-5286-C757-543F-F00C79378761}"/>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A4C08D5-6393-F958-70DE-71C0F9A8490C}"/>
              </a:ext>
            </a:extLst>
          </p:cNvPr>
          <p:cNvGraphicFramePr>
            <a:graphicFrameLocks/>
          </p:cNvGraphicFramePr>
          <p:nvPr>
            <p:custDataLst>
              <p:tags r:id="rId1"/>
            </p:custDataLst>
            <p:extLst>
              <p:ext uri="{D42A27DB-BD31-4B8C-83A1-F6EECF244321}">
                <p14:modId xmlns:p14="http://schemas.microsoft.com/office/powerpoint/2010/main" val="1087884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9" imgW="360" imgH="360" progId="TCLayout.ActiveDocument.1">
                  <p:embed/>
                </p:oleObj>
              </mc:Choice>
              <mc:Fallback>
                <p:oleObj name="think-cellスライド" r:id="rId89" imgW="360" imgH="360" progId="TCLayout.ActiveDocument.1">
                  <p:embed/>
                  <p:pic>
                    <p:nvPicPr>
                      <p:cNvPr id="14" name="Object 13" hidden="1">
                        <a:extLst>
                          <a:ext uri="{FF2B5EF4-FFF2-40B4-BE49-F238E27FC236}">
                            <a16:creationId xmlns:a16="http://schemas.microsoft.com/office/drawing/2014/main" id="{3E9E0AE1-4C5C-0034-E705-6EB93D6DFD95}"/>
                          </a:ext>
                        </a:extLst>
                      </p:cNvPr>
                      <p:cNvPicPr>
                        <a:picLocks noChangeAspect="1"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E4A9F2E6-C618-6199-B9F2-A4AD47D87275}"/>
              </a:ext>
            </a:extLst>
          </p:cNvPr>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a:extLst>
              <a:ext uri="{FF2B5EF4-FFF2-40B4-BE49-F238E27FC236}">
                <a16:creationId xmlns:a16="http://schemas.microsoft.com/office/drawing/2014/main" id="{24083609-EAF8-1D20-1A10-F60D8153060F}"/>
              </a:ext>
            </a:extLst>
          </p:cNvPr>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a:extLst>
              <a:ext uri="{FF2B5EF4-FFF2-40B4-BE49-F238E27FC236}">
                <a16:creationId xmlns:a16="http://schemas.microsoft.com/office/drawing/2014/main" id="{7E6F8C35-B6FC-1576-6758-48402804F7B4}"/>
              </a:ext>
            </a:extLst>
          </p:cNvPr>
          <p:cNvSpPr>
            <a:spLocks noGrp="1"/>
          </p:cNvSpPr>
          <p:nvPr>
            <p:ph type="body" sz="quarter" idx="15"/>
          </p:nvPr>
        </p:nvSpPr>
        <p:spPr/>
        <p:txBody>
          <a:bodyPr/>
          <a:lstStyle/>
          <a:p>
            <a:r>
              <a:rPr lang="ja-JP" altLang="en-US" dirty="0"/>
              <a:t>保険制度（</a:t>
            </a:r>
            <a:r>
              <a:rPr lang="en-US" altLang="ja-JP" dirty="0"/>
              <a:t>2/2</a:t>
            </a:r>
            <a:r>
              <a:rPr lang="ja-JP" altLang="en-US" dirty="0"/>
              <a:t>）</a:t>
            </a:r>
            <a:endParaRPr lang="en-US" altLang="ja-JP" dirty="0"/>
          </a:p>
        </p:txBody>
      </p:sp>
      <p:sp>
        <p:nvSpPr>
          <p:cNvPr id="5" name="テキスト ボックス 4">
            <a:extLst>
              <a:ext uri="{FF2B5EF4-FFF2-40B4-BE49-F238E27FC236}">
                <a16:creationId xmlns:a16="http://schemas.microsoft.com/office/drawing/2014/main" id="{F15D9D51-BC7C-7C5C-5D74-4C31025F7BAF}"/>
              </a:ext>
            </a:extLst>
          </p:cNvPr>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の保険市場は、</a:t>
            </a:r>
            <a:r>
              <a:rPr lang="en-US" altLang="ja-JP" sz="1400" dirty="0">
                <a:solidFill>
                  <a:srgbClr val="000000"/>
                </a:solidFill>
                <a:cs typeface="Arial" panose="020B0604020202020204" pitchFamily="34" charset="0"/>
              </a:rPr>
              <a:t>2022</a:t>
            </a:r>
            <a:r>
              <a:rPr lang="ja-JP" altLang="en-US" sz="1400" dirty="0">
                <a:solidFill>
                  <a:srgbClr val="000000"/>
                </a:solidFill>
                <a:cs typeface="Arial" panose="020B0604020202020204" pitchFamily="34" charset="0"/>
              </a:rPr>
              <a:t>年から</a:t>
            </a:r>
            <a:r>
              <a:rPr lang="en-US" altLang="ja-JP" sz="1400" dirty="0">
                <a:solidFill>
                  <a:srgbClr val="000000"/>
                </a:solidFill>
                <a:cs typeface="Arial" panose="020B0604020202020204" pitchFamily="34" charset="0"/>
              </a:rPr>
              <a:t>2023</a:t>
            </a:r>
            <a:r>
              <a:rPr lang="ja-JP" altLang="en-US" sz="1400" dirty="0">
                <a:solidFill>
                  <a:srgbClr val="000000"/>
                </a:solidFill>
                <a:cs typeface="Arial" panose="020B0604020202020204" pitchFamily="34" charset="0"/>
              </a:rPr>
              <a:t>年で約</a:t>
            </a:r>
            <a:r>
              <a:rPr lang="en-US" altLang="ja-JP" sz="1400" dirty="0">
                <a:solidFill>
                  <a:srgbClr val="000000"/>
                </a:solidFill>
                <a:cs typeface="Arial" panose="020B0604020202020204" pitchFamily="34" charset="0"/>
              </a:rPr>
              <a:t>22.6%</a:t>
            </a:r>
            <a:r>
              <a:rPr lang="ja-JP" altLang="en-US" sz="1400" dirty="0">
                <a:solidFill>
                  <a:srgbClr val="000000"/>
                </a:solidFill>
                <a:cs typeface="Arial" panose="020B0604020202020204" pitchFamily="34" charset="0"/>
              </a:rPr>
              <a:t>拡大し、</a:t>
            </a:r>
            <a:r>
              <a:rPr lang="en-US" altLang="ja-JP" sz="1400" dirty="0">
                <a:solidFill>
                  <a:srgbClr val="000000"/>
                </a:solidFill>
                <a:cs typeface="Arial" panose="020B0604020202020204" pitchFamily="34" charset="0"/>
              </a:rPr>
              <a:t>2023</a:t>
            </a:r>
            <a:r>
              <a:rPr lang="ja-JP" altLang="en-US" sz="1400" dirty="0">
                <a:solidFill>
                  <a:srgbClr val="000000"/>
                </a:solidFill>
                <a:cs typeface="Arial" panose="020B0604020202020204" pitchFamily="34" charset="0"/>
              </a:rPr>
              <a:t>年には市場規模が約</a:t>
            </a:r>
            <a:r>
              <a:rPr lang="en-US" altLang="ja-JP" sz="1400" dirty="0">
                <a:solidFill>
                  <a:srgbClr val="000000"/>
                </a:solidFill>
                <a:cs typeface="Arial" panose="020B0604020202020204" pitchFamily="34" charset="0"/>
              </a:rPr>
              <a:t>655</a:t>
            </a:r>
            <a:r>
              <a:rPr lang="ja-JP" altLang="en-US" sz="1400" dirty="0">
                <a:solidFill>
                  <a:srgbClr val="000000"/>
                </a:solidFill>
                <a:cs typeface="Arial" panose="020B0604020202020204" pitchFamily="34" charset="0"/>
              </a:rPr>
              <a:t>億リヤルに達し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全体のうち、医療保険（</a:t>
            </a:r>
            <a:r>
              <a:rPr lang="en-US" altLang="ja-JP" sz="1400" dirty="0">
                <a:solidFill>
                  <a:srgbClr val="000000"/>
                </a:solidFill>
                <a:cs typeface="Arial" panose="020B0604020202020204" pitchFamily="34" charset="0"/>
              </a:rPr>
              <a:t>Health Insurance</a:t>
            </a:r>
            <a:r>
              <a:rPr lang="ja-JP" altLang="en-US" sz="1400" dirty="0">
                <a:solidFill>
                  <a:srgbClr val="000000"/>
                </a:solidFill>
                <a:cs typeface="Arial" panose="020B0604020202020204" pitchFamily="34" charset="0"/>
              </a:rPr>
              <a:t>）が</a:t>
            </a:r>
            <a:r>
              <a:rPr lang="en-IN" altLang="ja-JP" sz="1400" dirty="0">
                <a:solidFill>
                  <a:srgbClr val="000000"/>
                </a:solidFill>
                <a:cs typeface="Arial" panose="020B0604020202020204" pitchFamily="34" charset="0"/>
              </a:rPr>
              <a:t>59</a:t>
            </a:r>
            <a:r>
              <a:rPr lang="en-US" altLang="ja-JP" sz="1400" dirty="0">
                <a:solidFill>
                  <a:srgbClr val="000000"/>
                </a:solidFill>
                <a:cs typeface="Arial" panose="020B0604020202020204" pitchFamily="34" charset="0"/>
              </a:rPr>
              <a:t>%</a:t>
            </a:r>
            <a:r>
              <a:rPr lang="ja-JP" altLang="en-US" sz="1400" dirty="0">
                <a:solidFill>
                  <a:srgbClr val="000000"/>
                </a:solidFill>
                <a:cs typeface="Arial" panose="020B0604020202020204" pitchFamily="34" charset="0"/>
              </a:rPr>
              <a:t>を占め、保険市場を牽引し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上位</a:t>
            </a:r>
            <a:r>
              <a:rPr lang="en-US" altLang="ja-JP" sz="1400" dirty="0">
                <a:solidFill>
                  <a:srgbClr val="000000"/>
                </a:solidFill>
                <a:cs typeface="Arial" panose="020B0604020202020204" pitchFamily="34" charset="0"/>
              </a:rPr>
              <a:t>8</a:t>
            </a:r>
            <a:r>
              <a:rPr lang="ja-JP" altLang="en-US" sz="1400" dirty="0">
                <a:solidFill>
                  <a:srgbClr val="000000"/>
                </a:solidFill>
                <a:cs typeface="Arial" panose="020B0604020202020204" pitchFamily="34" charset="0"/>
              </a:rPr>
              <a:t>社が、シェアの</a:t>
            </a:r>
            <a:r>
              <a:rPr lang="en-US" altLang="ja-JP" sz="1400" dirty="0">
                <a:solidFill>
                  <a:srgbClr val="000000"/>
                </a:solidFill>
                <a:cs typeface="Arial" panose="020B0604020202020204" pitchFamily="34" charset="0"/>
              </a:rPr>
              <a:t>80%</a:t>
            </a:r>
            <a:r>
              <a:rPr lang="ja-JP" altLang="en-US" sz="1400" dirty="0">
                <a:solidFill>
                  <a:srgbClr val="000000"/>
                </a:solidFill>
                <a:cs typeface="Arial" panose="020B0604020202020204" pitchFamily="34" charset="0"/>
              </a:rPr>
              <a:t>を占めている。</a:t>
            </a:r>
            <a:endParaRPr lang="en-US" altLang="ja-JP" sz="1400" dirty="0">
              <a:solidFill>
                <a:srgbClr val="000000"/>
              </a:solidFill>
              <a:cs typeface="Arial" panose="020B0604020202020204" pitchFamily="34" charset="0"/>
            </a:endParaRPr>
          </a:p>
        </p:txBody>
      </p:sp>
      <p:sp>
        <p:nvSpPr>
          <p:cNvPr id="54" name="テキスト ボックス 53">
            <a:extLst>
              <a:ext uri="{FF2B5EF4-FFF2-40B4-BE49-F238E27FC236}">
                <a16:creationId xmlns:a16="http://schemas.microsoft.com/office/drawing/2014/main" id="{235CA196-F115-89A8-8B14-BE30AC75510B}"/>
              </a:ext>
            </a:extLst>
          </p:cNvPr>
          <p:cNvSpPr txBox="1"/>
          <p:nvPr/>
        </p:nvSpPr>
        <p:spPr>
          <a:xfrm>
            <a:off x="200025" y="6541982"/>
            <a:ext cx="9505503" cy="12311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出所） サウジアラビア通貨庁「</a:t>
            </a:r>
            <a:r>
              <a:rPr lang="en-US" altLang="ja-JP" sz="800" dirty="0">
                <a:solidFill>
                  <a:srgbClr val="000000"/>
                </a:solidFill>
                <a:cs typeface="Arial" panose="020B0604020202020204" pitchFamily="34" charset="0"/>
              </a:rPr>
              <a:t>The Saudi Insurance Market Report 2023</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3</a:t>
            </a:r>
            <a:r>
              <a:rPr lang="ja-JP" altLang="en-US" sz="800" dirty="0">
                <a:solidFill>
                  <a:srgbClr val="000000"/>
                </a:solidFill>
                <a:cs typeface="Arial" panose="020B0604020202020204" pitchFamily="34" charset="0"/>
              </a:rPr>
              <a:t>年サウジアラビア保険セクター概況（</a:t>
            </a:r>
            <a:r>
              <a:rPr lang="en-US" altLang="ja-JP" sz="800" dirty="0">
                <a:solidFill>
                  <a:srgbClr val="000000"/>
                </a:solidFill>
                <a:cs typeface="Arial" panose="020B0604020202020204" pitchFamily="34" charset="0"/>
              </a:rPr>
              <a:t>ITMAM Consulting</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25</a:t>
            </a:r>
            <a:r>
              <a:rPr lang="ja-JP" altLang="en-US" sz="800" dirty="0">
                <a:solidFill>
                  <a:srgbClr val="000000"/>
                </a:solidFill>
                <a:cs typeface="Arial" panose="020B0604020202020204" pitchFamily="34" charset="0"/>
              </a:rPr>
              <a:t>年金融安定報告書（</a:t>
            </a:r>
            <a:r>
              <a:rPr lang="en-US" altLang="ja-JP" sz="800" dirty="0">
                <a:solidFill>
                  <a:srgbClr val="000000"/>
                </a:solidFill>
                <a:cs typeface="Arial" panose="020B0604020202020204" pitchFamily="34" charset="0"/>
              </a:rPr>
              <a:t>SAMA</a:t>
            </a:r>
            <a:r>
              <a:rPr lang="ja-JP" altLang="en-US" sz="800" dirty="0">
                <a:solidFill>
                  <a:srgbClr val="000000"/>
                </a:solidFill>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grpSp>
        <p:nvGrpSpPr>
          <p:cNvPr id="40" name="グループ化 7">
            <a:extLst>
              <a:ext uri="{FF2B5EF4-FFF2-40B4-BE49-F238E27FC236}">
                <a16:creationId xmlns:a16="http://schemas.microsoft.com/office/drawing/2014/main" id="{FE440CE5-98AC-8D00-5194-E99DEE2ACF73}"/>
              </a:ext>
            </a:extLst>
          </p:cNvPr>
          <p:cNvGrpSpPr/>
          <p:nvPr/>
        </p:nvGrpSpPr>
        <p:grpSpPr>
          <a:xfrm>
            <a:off x="275054" y="2152650"/>
            <a:ext cx="5077996" cy="287338"/>
            <a:chOff x="4803500" y="2113806"/>
            <a:chExt cx="5626916" cy="288032"/>
          </a:xfrm>
        </p:grpSpPr>
        <p:cxnSp>
          <p:nvCxnSpPr>
            <p:cNvPr id="41" name="直線コネクタ 40">
              <a:extLst>
                <a:ext uri="{FF2B5EF4-FFF2-40B4-BE49-F238E27FC236}">
                  <a16:creationId xmlns:a16="http://schemas.microsoft.com/office/drawing/2014/main" id="{DC8DC2A5-08D7-67AA-DA13-AEF708A702FF}"/>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a:extLst>
                <a:ext uri="{FF2B5EF4-FFF2-40B4-BE49-F238E27FC236}">
                  <a16:creationId xmlns:a16="http://schemas.microsoft.com/office/drawing/2014/main" id="{34D705B4-06C1-D469-7DE2-229BD5494BB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規模の推移</a:t>
              </a:r>
              <a:endParaRPr lang="en-US" altLang="ja-JP" sz="1400" dirty="0">
                <a:solidFill>
                  <a:srgbClr val="000000"/>
                </a:solidFill>
                <a:latin typeface="Arial Black" pitchFamily="34" charset="0"/>
                <a:ea typeface="HGP創英角ｺﾞｼｯｸUB" pitchFamily="50" charset="-128"/>
              </a:endParaRPr>
            </a:p>
          </p:txBody>
        </p:sp>
      </p:grpSp>
      <p:grpSp>
        <p:nvGrpSpPr>
          <p:cNvPr id="43" name="グループ化 7">
            <a:extLst>
              <a:ext uri="{FF2B5EF4-FFF2-40B4-BE49-F238E27FC236}">
                <a16:creationId xmlns:a16="http://schemas.microsoft.com/office/drawing/2014/main" id="{DCDC19EA-4A5B-1C59-837F-10BA52429FDC}"/>
              </a:ext>
            </a:extLst>
          </p:cNvPr>
          <p:cNvGrpSpPr/>
          <p:nvPr/>
        </p:nvGrpSpPr>
        <p:grpSpPr>
          <a:xfrm>
            <a:off x="5673529" y="2152650"/>
            <a:ext cx="4032446" cy="287338"/>
            <a:chOff x="4484883" y="2113806"/>
            <a:chExt cx="5945533" cy="288032"/>
          </a:xfrm>
        </p:grpSpPr>
        <p:cxnSp>
          <p:nvCxnSpPr>
            <p:cNvPr id="45" name="直線コネクタ 44">
              <a:extLst>
                <a:ext uri="{FF2B5EF4-FFF2-40B4-BE49-F238E27FC236}">
                  <a16:creationId xmlns:a16="http://schemas.microsoft.com/office/drawing/2014/main" id="{EA59341C-1DA8-FA90-220B-B413C2C47ED6}"/>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a:extLst>
                <a:ext uri="{FF2B5EF4-FFF2-40B4-BE49-F238E27FC236}">
                  <a16:creationId xmlns:a16="http://schemas.microsoft.com/office/drawing/2014/main" id="{5C7EB963-634E-789B-96EA-F358B7EE97B2}"/>
                </a:ext>
              </a:extLst>
            </p:cNvPr>
            <p:cNvSpPr>
              <a:spLocks noChangeArrowheads="1"/>
            </p:cNvSpPr>
            <p:nvPr/>
          </p:nvSpPr>
          <p:spPr bwMode="auto">
            <a:xfrm>
              <a:off x="4484883" y="2113806"/>
              <a:ext cx="59455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における各社のシェア</a:t>
              </a:r>
              <a:r>
                <a:rPr lang="en-US" altLang="ja-JP" sz="1400" baseline="300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2023</a:t>
              </a:r>
              <a:r>
                <a:rPr lang="ja-JP" altLang="en-US" sz="1400" dirty="0">
                  <a:solidFill>
                    <a:srgbClr val="000000"/>
                  </a:solidFill>
                  <a:latin typeface="Arial Black" pitchFamily="34" charset="0"/>
                  <a:ea typeface="HGP創英角ｺﾞｼｯｸUB" pitchFamily="50" charset="-128"/>
                </a:rPr>
                <a:t>年時点）</a:t>
              </a:r>
              <a:endParaRPr lang="en-US" altLang="ja-JP" sz="1400" dirty="0">
                <a:solidFill>
                  <a:srgbClr val="000000"/>
                </a:solidFill>
                <a:latin typeface="Arial Black" pitchFamily="34" charset="0"/>
                <a:ea typeface="HGP創英角ｺﾞｼｯｸUB" pitchFamily="50" charset="-128"/>
              </a:endParaRPr>
            </a:p>
          </p:txBody>
        </p:sp>
      </p:grpSp>
      <p:sp>
        <p:nvSpPr>
          <p:cNvPr id="53" name="テキスト ボックス 52">
            <a:extLst>
              <a:ext uri="{FF2B5EF4-FFF2-40B4-BE49-F238E27FC236}">
                <a16:creationId xmlns:a16="http://schemas.microsoft.com/office/drawing/2014/main" id="{3614309E-EBAF-0206-73B3-F97B0668D603}"/>
              </a:ext>
            </a:extLst>
          </p:cNvPr>
          <p:cNvSpPr txBox="1"/>
          <p:nvPr/>
        </p:nvSpPr>
        <p:spPr>
          <a:xfrm>
            <a:off x="5673529" y="6309900"/>
            <a:ext cx="4032446"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市場シェアは、保険市場における総引受保険料に基づいています。</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2" name="Chart 61">
            <a:extLst>
              <a:ext uri="{FF2B5EF4-FFF2-40B4-BE49-F238E27FC236}">
                <a16:creationId xmlns:a16="http://schemas.microsoft.com/office/drawing/2014/main" id="{97CB20C1-F89B-9399-E9AC-7A29129CCD62}"/>
              </a:ext>
            </a:extLst>
          </p:cNvPr>
          <p:cNvGraphicFramePr/>
          <p:nvPr>
            <p:custDataLst>
              <p:tags r:id="rId3"/>
            </p:custDataLst>
            <p:extLst>
              <p:ext uri="{D42A27DB-BD31-4B8C-83A1-F6EECF244321}">
                <p14:modId xmlns:p14="http://schemas.microsoft.com/office/powerpoint/2010/main" val="2607466579"/>
              </p:ext>
            </p:extLst>
          </p:nvPr>
        </p:nvGraphicFramePr>
        <p:xfrm>
          <a:off x="6235700" y="3476625"/>
          <a:ext cx="2689225" cy="3094038"/>
        </p:xfrm>
        <a:graphic>
          <a:graphicData uri="http://schemas.openxmlformats.org/drawingml/2006/chart">
            <c:chart xmlns:c="http://schemas.openxmlformats.org/drawingml/2006/chart" xmlns:r="http://schemas.openxmlformats.org/officeDocument/2006/relationships" r:id="rId91"/>
          </a:graphicData>
        </a:graphic>
      </p:graphicFrame>
      <p:sp>
        <p:nvSpPr>
          <p:cNvPr id="427" name="テキスト プレースホルダ 9">
            <a:extLst>
              <a:ext uri="{FF2B5EF4-FFF2-40B4-BE49-F238E27FC236}">
                <a16:creationId xmlns:a16="http://schemas.microsoft.com/office/drawing/2014/main" id="{1B030363-935B-327D-5FB3-5F2A2C4FFF51}"/>
              </a:ext>
            </a:extLst>
          </p:cNvPr>
          <p:cNvSpPr>
            <a:spLocks/>
          </p:cNvSpPr>
          <p:nvPr>
            <p:custDataLst>
              <p:tags r:id="rId4"/>
            </p:custDataLst>
          </p:nvPr>
        </p:nvSpPr>
        <p:spPr bwMode="gray">
          <a:xfrm>
            <a:off x="6650038" y="4799013"/>
            <a:ext cx="322263" cy="152400"/>
          </a:xfrm>
          <a:prstGeom prst="rect">
            <a:avLst/>
          </a:prstGeom>
          <a:solidFill>
            <a:srgbClr val="DFE5E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8DC427-9184-4AEC-ACBF-630802DD60E4}" type="datetime'1.''5''''''''''''''''''''''''''''''''''''''''''''''''''%'''''">
              <a:rPr lang="en-US" altLang="en-US" sz="1000" smtClean="0">
                <a:effectLst/>
                <a:sym typeface="+mn-lt"/>
              </a:rPr>
              <a:pPr marL="0" lvl="0" indent="0" algn="ctr">
                <a:spcBef>
                  <a:spcPct val="0"/>
                </a:spcBef>
                <a:buNone/>
              </a:pPr>
              <a:t>1.5%</a:t>
            </a:fld>
            <a:endParaRPr kumimoji="1" lang="ja-JP" altLang="en-US" sz="1000" dirty="0">
              <a:sym typeface="+mn-lt"/>
            </a:endParaRPr>
          </a:p>
        </p:txBody>
      </p:sp>
      <p:sp>
        <p:nvSpPr>
          <p:cNvPr id="31" name="テキスト プレースホルダ 9">
            <a:extLst>
              <a:ext uri="{FF2B5EF4-FFF2-40B4-BE49-F238E27FC236}">
                <a16:creationId xmlns:a16="http://schemas.microsoft.com/office/drawing/2014/main" id="{146A6E1E-BB29-5AD7-42EA-DD12CB4C17E4}"/>
              </a:ext>
            </a:extLst>
          </p:cNvPr>
          <p:cNvSpPr>
            <a:spLocks/>
          </p:cNvSpPr>
          <p:nvPr>
            <p:custDataLst>
              <p:tags r:id="rId5"/>
            </p:custDataLst>
          </p:nvPr>
        </p:nvSpPr>
        <p:spPr bwMode="gray">
          <a:xfrm>
            <a:off x="6345238" y="4872038"/>
            <a:ext cx="322263" cy="152400"/>
          </a:xfrm>
          <a:prstGeom prst="rect">
            <a:avLst/>
          </a:prstGeom>
          <a:solidFill>
            <a:srgbClr val="9DB1C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082BEB-0479-4643-89C1-6CAC82B3C645}" type="datetime'''''''''''''''2.3''''''''''''''''''''''''''''''''''%'''''">
              <a:rPr lang="en-US" altLang="en-US" sz="1000" smtClean="0">
                <a:effectLst/>
                <a:sym typeface="+mn-lt"/>
              </a:rPr>
              <a:pPr marL="0" lvl="0" indent="0" algn="ctr">
                <a:spcBef>
                  <a:spcPct val="0"/>
                </a:spcBef>
                <a:buNone/>
              </a:pPr>
              <a:t>2.3%</a:t>
            </a:fld>
            <a:endParaRPr kumimoji="1" lang="ja-JP" altLang="en-US" sz="1000" dirty="0">
              <a:sym typeface="+mn-lt"/>
            </a:endParaRPr>
          </a:p>
        </p:txBody>
      </p:sp>
      <p:sp>
        <p:nvSpPr>
          <p:cNvPr id="10" name="テキスト ボックス 9">
            <a:extLst>
              <a:ext uri="{FF2B5EF4-FFF2-40B4-BE49-F238E27FC236}">
                <a16:creationId xmlns:a16="http://schemas.microsoft.com/office/drawing/2014/main" id="{AC27A49F-9505-983C-5362-322E7E3310D3}"/>
              </a:ext>
            </a:extLst>
          </p:cNvPr>
          <p:cNvSpPr txBox="1"/>
          <p:nvPr/>
        </p:nvSpPr>
        <p:spPr>
          <a:xfrm>
            <a:off x="8503570" y="2456626"/>
            <a:ext cx="1201956" cy="200055"/>
          </a:xfrm>
          <a:prstGeom prst="rect">
            <a:avLst/>
          </a:prstGeom>
          <a:noFill/>
        </p:spPr>
        <p:txBody>
          <a:bodyPr wrap="square">
            <a:spAutoFit/>
          </a:bodyPr>
          <a:lstStyle/>
          <a:p>
            <a:r>
              <a:rPr lang="en-US" altLang="ja-JP" sz="700" dirty="0">
                <a:solidFill>
                  <a:srgbClr val="000000"/>
                </a:solidFill>
                <a:cs typeface="Arial" panose="020B0604020202020204" pitchFamily="34" charset="0"/>
              </a:rPr>
              <a:t>※</a:t>
            </a:r>
            <a:r>
              <a:rPr lang="ja-JP" altLang="en-US" sz="700" dirty="0">
                <a:solidFill>
                  <a:srgbClr val="000000"/>
                </a:solidFill>
                <a:cs typeface="Arial" panose="020B0604020202020204" pitchFamily="34" charset="0"/>
              </a:rPr>
              <a:t>具体的な社名は非公開</a:t>
            </a:r>
            <a:endParaRPr lang="ja-JP" altLang="en-US" sz="700" dirty="0"/>
          </a:p>
        </p:txBody>
      </p:sp>
      <p:graphicFrame>
        <p:nvGraphicFramePr>
          <p:cNvPr id="486" name="Chart 485">
            <a:extLst>
              <a:ext uri="{FF2B5EF4-FFF2-40B4-BE49-F238E27FC236}">
                <a16:creationId xmlns:a16="http://schemas.microsoft.com/office/drawing/2014/main" id="{CF725B44-3A83-1681-E281-21E907CDAA4A}"/>
              </a:ext>
            </a:extLst>
          </p:cNvPr>
          <p:cNvGraphicFramePr/>
          <p:nvPr>
            <p:custDataLst>
              <p:tags r:id="rId6"/>
            </p:custDataLst>
            <p:extLst>
              <p:ext uri="{D42A27DB-BD31-4B8C-83A1-F6EECF244321}">
                <p14:modId xmlns:p14="http://schemas.microsoft.com/office/powerpoint/2010/main" val="4145953147"/>
              </p:ext>
            </p:extLst>
          </p:nvPr>
        </p:nvGraphicFramePr>
        <p:xfrm>
          <a:off x="347663" y="2470150"/>
          <a:ext cx="3851275" cy="3927475"/>
        </p:xfrm>
        <a:graphic>
          <a:graphicData uri="http://schemas.openxmlformats.org/drawingml/2006/chart">
            <c:chart xmlns:c="http://schemas.openxmlformats.org/drawingml/2006/chart" xmlns:r="http://schemas.openxmlformats.org/officeDocument/2006/relationships" r:id="rId92"/>
          </a:graphicData>
        </a:graphic>
      </p:graphicFrame>
      <p:cxnSp>
        <p:nvCxnSpPr>
          <p:cNvPr id="402" name="Straight Connector 401">
            <a:extLst>
              <a:ext uri="{FF2B5EF4-FFF2-40B4-BE49-F238E27FC236}">
                <a16:creationId xmlns:a16="http://schemas.microsoft.com/office/drawing/2014/main" id="{34443EEA-E6F7-12BA-8B22-64E5353F3B19}"/>
              </a:ext>
            </a:extLst>
          </p:cNvPr>
          <p:cNvCxnSpPr/>
          <p:nvPr>
            <p:custDataLst>
              <p:tags r:id="rId7"/>
            </p:custDataLst>
          </p:nvPr>
        </p:nvCxnSpPr>
        <p:spPr bwMode="auto">
          <a:xfrm flipH="1">
            <a:off x="865188" y="6089650"/>
            <a:ext cx="5556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460">
            <a:extLst>
              <a:ext uri="{FF2B5EF4-FFF2-40B4-BE49-F238E27FC236}">
                <a16:creationId xmlns:a16="http://schemas.microsoft.com/office/drawing/2014/main" id="{CE9834F1-2F95-5F34-D01F-A4AF5D51176E}"/>
              </a:ext>
            </a:extLst>
          </p:cNvPr>
          <p:cNvCxnSpPr/>
          <p:nvPr>
            <p:custDataLst>
              <p:tags r:id="rId8"/>
            </p:custDataLst>
          </p:nvPr>
        </p:nvCxnSpPr>
        <p:spPr bwMode="auto">
          <a:xfrm flipH="1">
            <a:off x="865188" y="4271963"/>
            <a:ext cx="55563" cy="968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F54EBB8B-0F38-FF98-9C02-79DBC8880321}"/>
              </a:ext>
            </a:extLst>
          </p:cNvPr>
          <p:cNvCxnSpPr/>
          <p:nvPr>
            <p:custDataLst>
              <p:tags r:id="rId9"/>
            </p:custDataLst>
          </p:nvPr>
        </p:nvCxnSpPr>
        <p:spPr bwMode="auto">
          <a:xfrm flipH="1" flipV="1">
            <a:off x="865188" y="4386263"/>
            <a:ext cx="55562" cy="79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458">
            <a:extLst>
              <a:ext uri="{FF2B5EF4-FFF2-40B4-BE49-F238E27FC236}">
                <a16:creationId xmlns:a16="http://schemas.microsoft.com/office/drawing/2014/main" id="{D7EF5AE9-1380-B315-7D35-D93B9EB5C727}"/>
              </a:ext>
            </a:extLst>
          </p:cNvPr>
          <p:cNvCxnSpPr/>
          <p:nvPr>
            <p:custDataLst>
              <p:tags r:id="rId10"/>
            </p:custDataLst>
          </p:nvPr>
        </p:nvCxnSpPr>
        <p:spPr bwMode="auto">
          <a:xfrm flipH="1" flipV="1">
            <a:off x="865188" y="4419600"/>
            <a:ext cx="55563" cy="968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405">
            <a:extLst>
              <a:ext uri="{FF2B5EF4-FFF2-40B4-BE49-F238E27FC236}">
                <a16:creationId xmlns:a16="http://schemas.microsoft.com/office/drawing/2014/main" id="{2D72A1C7-639D-B917-D0D8-9FCCBE14D6FE}"/>
              </a:ext>
            </a:extLst>
          </p:cNvPr>
          <p:cNvCxnSpPr/>
          <p:nvPr>
            <p:custDataLst>
              <p:tags r:id="rId11"/>
            </p:custDataLst>
          </p:nvPr>
        </p:nvCxnSpPr>
        <p:spPr bwMode="auto">
          <a:xfrm flipH="1">
            <a:off x="2093913" y="6062663"/>
            <a:ext cx="5556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33DDB9BB-DA93-B025-E300-4F1829CD2904}"/>
              </a:ext>
            </a:extLst>
          </p:cNvPr>
          <p:cNvCxnSpPr/>
          <p:nvPr>
            <p:custDataLst>
              <p:tags r:id="rId12"/>
            </p:custDataLst>
          </p:nvPr>
        </p:nvCxnSpPr>
        <p:spPr bwMode="auto">
          <a:xfrm flipH="1" flipV="1">
            <a:off x="1479550" y="4243389"/>
            <a:ext cx="55563"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478">
            <a:extLst>
              <a:ext uri="{FF2B5EF4-FFF2-40B4-BE49-F238E27FC236}">
                <a16:creationId xmlns:a16="http://schemas.microsoft.com/office/drawing/2014/main" id="{0FEFE148-4DEB-17A9-6917-1E84BAB07F81}"/>
              </a:ext>
            </a:extLst>
          </p:cNvPr>
          <p:cNvCxnSpPr/>
          <p:nvPr>
            <p:custDataLst>
              <p:tags r:id="rId13"/>
            </p:custDataLst>
          </p:nvPr>
        </p:nvCxnSpPr>
        <p:spPr bwMode="auto">
          <a:xfrm flipH="1">
            <a:off x="2708275" y="6042025"/>
            <a:ext cx="555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F0308698-BD70-F86F-6DAE-F467A63C4BFB}"/>
              </a:ext>
            </a:extLst>
          </p:cNvPr>
          <p:cNvCxnSpPr/>
          <p:nvPr>
            <p:custDataLst>
              <p:tags r:id="rId14"/>
            </p:custDataLst>
          </p:nvPr>
        </p:nvCxnSpPr>
        <p:spPr bwMode="auto">
          <a:xfrm flipH="1">
            <a:off x="2708275" y="3951288"/>
            <a:ext cx="55563"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88F9AAC5-503E-E426-40ED-67BA5D36E370}"/>
              </a:ext>
            </a:extLst>
          </p:cNvPr>
          <p:cNvCxnSpPr>
            <a:cxnSpLocks/>
          </p:cNvCxnSpPr>
          <p:nvPr>
            <p:custDataLst>
              <p:tags r:id="rId15"/>
            </p:custDataLst>
          </p:nvPr>
        </p:nvCxnSpPr>
        <p:spPr bwMode="auto">
          <a:xfrm flipH="1">
            <a:off x="1479550" y="4092576"/>
            <a:ext cx="5556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1B3F1F53-B6CF-CC85-F801-E58DFE66EC95}"/>
              </a:ext>
            </a:extLst>
          </p:cNvPr>
          <p:cNvCxnSpPr>
            <a:cxnSpLocks/>
          </p:cNvCxnSpPr>
          <p:nvPr>
            <p:custDataLst>
              <p:tags r:id="rId16"/>
            </p:custDataLst>
          </p:nvPr>
        </p:nvCxnSpPr>
        <p:spPr bwMode="auto">
          <a:xfrm flipH="1">
            <a:off x="1479550" y="4214813"/>
            <a:ext cx="55563" cy="4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 name="Straight Connector 409">
            <a:extLst>
              <a:ext uri="{FF2B5EF4-FFF2-40B4-BE49-F238E27FC236}">
                <a16:creationId xmlns:a16="http://schemas.microsoft.com/office/drawing/2014/main" id="{EA01E945-3AA0-AC83-F998-43721EFDDDEC}"/>
              </a:ext>
            </a:extLst>
          </p:cNvPr>
          <p:cNvCxnSpPr/>
          <p:nvPr>
            <p:custDataLst>
              <p:tags r:id="rId17"/>
            </p:custDataLst>
          </p:nvPr>
        </p:nvCxnSpPr>
        <p:spPr bwMode="auto">
          <a:xfrm flipH="1" flipV="1">
            <a:off x="2708275" y="4060824"/>
            <a:ext cx="55563" cy="127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9" name="Straight Connector 408">
            <a:extLst>
              <a:ext uri="{FF2B5EF4-FFF2-40B4-BE49-F238E27FC236}">
                <a16:creationId xmlns:a16="http://schemas.microsoft.com/office/drawing/2014/main" id="{E5425DBA-08E9-2CA2-5580-1D233F76173A}"/>
              </a:ext>
            </a:extLst>
          </p:cNvPr>
          <p:cNvCxnSpPr/>
          <p:nvPr>
            <p:custDataLst>
              <p:tags r:id="rId18"/>
            </p:custDataLst>
          </p:nvPr>
        </p:nvCxnSpPr>
        <p:spPr bwMode="auto">
          <a:xfrm flipH="1" flipV="1">
            <a:off x="2708275" y="4124325"/>
            <a:ext cx="55563"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 name="Straight Connector 411">
            <a:extLst>
              <a:ext uri="{FF2B5EF4-FFF2-40B4-BE49-F238E27FC236}">
                <a16:creationId xmlns:a16="http://schemas.microsoft.com/office/drawing/2014/main" id="{B8B3EB58-069F-CBBE-9106-4227F4C802E0}"/>
              </a:ext>
            </a:extLst>
          </p:cNvPr>
          <p:cNvCxnSpPr/>
          <p:nvPr>
            <p:custDataLst>
              <p:tags r:id="rId19"/>
            </p:custDataLst>
          </p:nvPr>
        </p:nvCxnSpPr>
        <p:spPr bwMode="auto">
          <a:xfrm flipH="1">
            <a:off x="3322638" y="3467100"/>
            <a:ext cx="5556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16E7F7B5-84DA-16AA-1589-90A040B3E37A}"/>
              </a:ext>
            </a:extLst>
          </p:cNvPr>
          <p:cNvCxnSpPr/>
          <p:nvPr>
            <p:custDataLst>
              <p:tags r:id="rId20"/>
            </p:custDataLst>
          </p:nvPr>
        </p:nvCxnSpPr>
        <p:spPr bwMode="auto">
          <a:xfrm flipH="1">
            <a:off x="1479550" y="6080125"/>
            <a:ext cx="555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 name="Straight Connector 410">
            <a:extLst>
              <a:ext uri="{FF2B5EF4-FFF2-40B4-BE49-F238E27FC236}">
                <a16:creationId xmlns:a16="http://schemas.microsoft.com/office/drawing/2014/main" id="{48891EAF-2B97-548D-CA9A-EB59CCCDC8A0}"/>
              </a:ext>
            </a:extLst>
          </p:cNvPr>
          <p:cNvCxnSpPr>
            <a:cxnSpLocks/>
          </p:cNvCxnSpPr>
          <p:nvPr>
            <p:custDataLst>
              <p:tags r:id="rId21"/>
            </p:custDataLst>
          </p:nvPr>
        </p:nvCxnSpPr>
        <p:spPr bwMode="auto">
          <a:xfrm flipH="1">
            <a:off x="3322638" y="3605213"/>
            <a:ext cx="5556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FCDDD373-762B-9D77-999B-F56434D97A88}"/>
              </a:ext>
            </a:extLst>
          </p:cNvPr>
          <p:cNvCxnSpPr/>
          <p:nvPr>
            <p:custDataLst>
              <p:tags r:id="rId22"/>
            </p:custDataLst>
          </p:nvPr>
        </p:nvCxnSpPr>
        <p:spPr bwMode="auto">
          <a:xfrm flipH="1">
            <a:off x="3937000" y="2771775"/>
            <a:ext cx="55563"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A93B7BD1-BB97-3A6C-EE21-4B677B06AC2C}"/>
              </a:ext>
            </a:extLst>
          </p:cNvPr>
          <p:cNvCxnSpPr/>
          <p:nvPr>
            <p:custDataLst>
              <p:tags r:id="rId23"/>
            </p:custDataLst>
          </p:nvPr>
        </p:nvCxnSpPr>
        <p:spPr bwMode="auto">
          <a:xfrm flipH="1">
            <a:off x="2093913" y="4140200"/>
            <a:ext cx="55563"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7" name="Straight Connector 406">
            <a:extLst>
              <a:ext uri="{FF2B5EF4-FFF2-40B4-BE49-F238E27FC236}">
                <a16:creationId xmlns:a16="http://schemas.microsoft.com/office/drawing/2014/main" id="{EA3EA7CD-E692-8B0B-36D2-4F1754C4BE9A}"/>
              </a:ext>
            </a:extLst>
          </p:cNvPr>
          <p:cNvCxnSpPr/>
          <p:nvPr>
            <p:custDataLst>
              <p:tags r:id="rId24"/>
            </p:custDataLst>
          </p:nvPr>
        </p:nvCxnSpPr>
        <p:spPr bwMode="auto">
          <a:xfrm flipH="1" flipV="1">
            <a:off x="2093913" y="4214813"/>
            <a:ext cx="55562"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EE53CBAB-8CFC-DC37-3E50-45EAD374E39B}"/>
              </a:ext>
            </a:extLst>
          </p:cNvPr>
          <p:cNvCxnSpPr/>
          <p:nvPr>
            <p:custDataLst>
              <p:tags r:id="rId25"/>
            </p:custDataLst>
          </p:nvPr>
        </p:nvCxnSpPr>
        <p:spPr bwMode="auto">
          <a:xfrm flipH="1" flipV="1">
            <a:off x="3937000" y="2854325"/>
            <a:ext cx="55563"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テキスト プレースホルダ 9">
            <a:extLst>
              <a:ext uri="{FF2B5EF4-FFF2-40B4-BE49-F238E27FC236}">
                <a16:creationId xmlns:a16="http://schemas.microsoft.com/office/drawing/2014/main" id="{9DAADEF8-7316-5ADC-882D-5DC5BDAC06C5}"/>
              </a:ext>
            </a:extLst>
          </p:cNvPr>
          <p:cNvSpPr>
            <a:spLocks/>
          </p:cNvSpPr>
          <p:nvPr>
            <p:custDataLst>
              <p:tags r:id="rId26"/>
            </p:custDataLst>
          </p:nvPr>
        </p:nvSpPr>
        <p:spPr bwMode="gray">
          <a:xfrm>
            <a:off x="650875" y="5472113"/>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7E34C-6F74-4FFE-A5C7-BD6DB1ADF039}" type="datetime'''''''''''''''''''''''''''''''''0''''.''''''''''5'''''">
              <a:rPr lang="ja-JP" altLang="en-US" sz="800" smtClean="0">
                <a:effectLst/>
              </a:rPr>
              <a:pPr/>
              <a:t>0.5</a:t>
            </a:fld>
            <a:endParaRPr kumimoji="1" lang="ja-JP" altLang="en-US" sz="800" dirty="0"/>
          </a:p>
        </p:txBody>
      </p:sp>
      <p:sp>
        <p:nvSpPr>
          <p:cNvPr id="48" name="テキスト プレースホルダ 9">
            <a:extLst>
              <a:ext uri="{FF2B5EF4-FFF2-40B4-BE49-F238E27FC236}">
                <a16:creationId xmlns:a16="http://schemas.microsoft.com/office/drawing/2014/main" id="{36D83CC9-077A-02BA-0866-2E492C50A9E7}"/>
              </a:ext>
            </a:extLst>
          </p:cNvPr>
          <p:cNvSpPr>
            <a:spLocks/>
          </p:cNvSpPr>
          <p:nvPr>
            <p:custDataLst>
              <p:tags r:id="rId27"/>
            </p:custDataLst>
          </p:nvPr>
        </p:nvSpPr>
        <p:spPr bwMode="gray">
          <a:xfrm>
            <a:off x="650875" y="6105525"/>
            <a:ext cx="171450" cy="122238"/>
          </a:xfrm>
          <a:prstGeom prst="rect">
            <a:avLst/>
          </a:prstGeom>
          <a:solidFill>
            <a:srgbClr val="DFE5EF"/>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20913D-FDA0-409E-B852-4F732055D33D}" type="datetime'''''''''''''''''1.''''''''''''''''''7'''''">
              <a:rPr lang="ja-JP" altLang="en-US" sz="800" smtClean="0">
                <a:effectLst/>
              </a:rPr>
              <a:pPr/>
              <a:t>1.7</a:t>
            </a:fld>
            <a:endParaRPr kumimoji="1" lang="ja-JP" altLang="en-US" sz="800" dirty="0"/>
          </a:p>
        </p:txBody>
      </p:sp>
      <p:sp>
        <p:nvSpPr>
          <p:cNvPr id="7" name="テキスト プレースホルダ 9">
            <a:extLst>
              <a:ext uri="{FF2B5EF4-FFF2-40B4-BE49-F238E27FC236}">
                <a16:creationId xmlns:a16="http://schemas.microsoft.com/office/drawing/2014/main" id="{43219C79-307A-41B9-5F19-A54B18784E1F}"/>
              </a:ext>
            </a:extLst>
          </p:cNvPr>
          <p:cNvSpPr>
            <a:spLocks/>
          </p:cNvSpPr>
          <p:nvPr>
            <p:custDataLst>
              <p:tags r:id="rId28"/>
            </p:custDataLst>
          </p:nvPr>
        </p:nvSpPr>
        <p:spPr bwMode="auto">
          <a:xfrm>
            <a:off x="590550"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5E6C9C-20D9-4CC3-8568-C7F1491EBE88}" type="datetime'''''''''''''''''''''''''''''''''''2''''''''''''''''0''''18'''">
              <a:rPr kumimoji="0" lang="ja-JP" altLang="en-US" sz="1000" smtClean="0"/>
              <a:pPr/>
              <a:t>2018</a:t>
            </a:fld>
            <a:endParaRPr kumimoji="0" lang="ja-JP" altLang="en-US" sz="1000" dirty="0"/>
          </a:p>
        </p:txBody>
      </p:sp>
      <p:sp>
        <p:nvSpPr>
          <p:cNvPr id="38" name="テキスト プレースホルダ 9">
            <a:extLst>
              <a:ext uri="{FF2B5EF4-FFF2-40B4-BE49-F238E27FC236}">
                <a16:creationId xmlns:a16="http://schemas.microsoft.com/office/drawing/2014/main" id="{578C7596-F714-6791-F893-3D8D545C6B9A}"/>
              </a:ext>
            </a:extLst>
          </p:cNvPr>
          <p:cNvSpPr>
            <a:spLocks/>
          </p:cNvSpPr>
          <p:nvPr>
            <p:custDataLst>
              <p:tags r:id="rId29"/>
            </p:custDataLst>
          </p:nvPr>
        </p:nvSpPr>
        <p:spPr bwMode="gray">
          <a:xfrm>
            <a:off x="650875" y="427672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82C13-1667-4E17-8CAE-918FE5A9302F}" type="datetime'''''''''''''''''1''''.''''''''''''''''''''0'''">
              <a:rPr lang="ja-JP" altLang="en-US" sz="800" smtClean="0">
                <a:effectLst/>
              </a:rPr>
              <a:pPr/>
              <a:t>1.0</a:t>
            </a:fld>
            <a:endParaRPr kumimoji="1" lang="ja-JP" altLang="en-US" sz="800" dirty="0"/>
          </a:p>
        </p:txBody>
      </p:sp>
      <p:sp>
        <p:nvSpPr>
          <p:cNvPr id="50" name="テキスト プレースホルダ 9">
            <a:extLst>
              <a:ext uri="{FF2B5EF4-FFF2-40B4-BE49-F238E27FC236}">
                <a16:creationId xmlns:a16="http://schemas.microsoft.com/office/drawing/2014/main" id="{E94BF331-8647-C004-9EE3-B7E855DAF871}"/>
              </a:ext>
            </a:extLst>
          </p:cNvPr>
          <p:cNvSpPr>
            <a:spLocks/>
          </p:cNvSpPr>
          <p:nvPr>
            <p:custDataLst>
              <p:tags r:id="rId30"/>
            </p:custDataLst>
          </p:nvPr>
        </p:nvSpPr>
        <p:spPr bwMode="gray">
          <a:xfrm>
            <a:off x="1265238" y="4233863"/>
            <a:ext cx="171450" cy="122238"/>
          </a:xfrm>
          <a:prstGeom prst="rect">
            <a:avLst/>
          </a:prstGeom>
          <a:solidFill>
            <a:srgbClr val="0064C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EE9A7-BD35-4DA9-87DE-5F8C0AB6B193}" type="datetime'''''''''''''''1''''''''.''''2'''''''''''">
              <a:rPr lang="ja-JP" altLang="en-US" sz="800" smtClean="0">
                <a:solidFill>
                  <a:schemeClr val="bg1"/>
                </a:solidFill>
                <a:effectLst/>
              </a:rPr>
              <a:pPr/>
              <a:t>1.2</a:t>
            </a:fld>
            <a:endParaRPr kumimoji="1" lang="ja-JP" altLang="en-US" sz="800" dirty="0">
              <a:solidFill>
                <a:schemeClr val="bg1"/>
              </a:solidFill>
            </a:endParaRPr>
          </a:p>
        </p:txBody>
      </p:sp>
      <p:sp>
        <p:nvSpPr>
          <p:cNvPr id="51" name="テキスト プレースホルダ 9">
            <a:extLst>
              <a:ext uri="{FF2B5EF4-FFF2-40B4-BE49-F238E27FC236}">
                <a16:creationId xmlns:a16="http://schemas.microsoft.com/office/drawing/2014/main" id="{B58C7740-B4B1-C93A-8C2B-9A6B2A3FDF89}"/>
              </a:ext>
            </a:extLst>
          </p:cNvPr>
          <p:cNvSpPr>
            <a:spLocks/>
          </p:cNvSpPr>
          <p:nvPr>
            <p:custDataLst>
              <p:tags r:id="rId31"/>
            </p:custDataLst>
          </p:nvPr>
        </p:nvSpPr>
        <p:spPr bwMode="gray">
          <a:xfrm>
            <a:off x="1265238" y="5505450"/>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1175F9-1528-41A1-96FF-FD251ACF6730}" type="datetime'''''''''0''''''''''.''''''''''''7'''''''''''''''''">
              <a:rPr lang="ja-JP" altLang="en-US" sz="800" smtClean="0">
                <a:effectLst/>
              </a:rPr>
              <a:pPr/>
              <a:t>0.7</a:t>
            </a:fld>
            <a:endParaRPr kumimoji="1" lang="ja-JP" altLang="en-US" sz="800" dirty="0"/>
          </a:p>
        </p:txBody>
      </p:sp>
      <p:sp>
        <p:nvSpPr>
          <p:cNvPr id="9" name="テキスト プレースホルダ 9">
            <a:extLst>
              <a:ext uri="{FF2B5EF4-FFF2-40B4-BE49-F238E27FC236}">
                <a16:creationId xmlns:a16="http://schemas.microsoft.com/office/drawing/2014/main" id="{35FF4830-B922-6C1E-466C-8A2ABAAFECFB}"/>
              </a:ext>
            </a:extLst>
          </p:cNvPr>
          <p:cNvSpPr>
            <a:spLocks/>
          </p:cNvSpPr>
          <p:nvPr>
            <p:custDataLst>
              <p:tags r:id="rId32"/>
            </p:custDataLst>
          </p:nvPr>
        </p:nvSpPr>
        <p:spPr bwMode="auto">
          <a:xfrm>
            <a:off x="1204913"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B23205-577C-42F6-BBEE-575DE6C16C20}" type="datetime'''''''''''''''''''2''0''19'''''''''">
              <a:rPr kumimoji="0" lang="ja-JP" altLang="en-US" sz="1000" smtClean="0"/>
              <a:pPr/>
              <a:t>2019</a:t>
            </a:fld>
            <a:endParaRPr kumimoji="0" lang="ja-JP" altLang="en-US" sz="1000" dirty="0"/>
          </a:p>
        </p:txBody>
      </p:sp>
      <p:sp>
        <p:nvSpPr>
          <p:cNvPr id="56" name="テキスト プレースホルダ 9">
            <a:extLst>
              <a:ext uri="{FF2B5EF4-FFF2-40B4-BE49-F238E27FC236}">
                <a16:creationId xmlns:a16="http://schemas.microsoft.com/office/drawing/2014/main" id="{EDAC2633-8A21-7B09-9651-BF904486E176}"/>
              </a:ext>
            </a:extLst>
          </p:cNvPr>
          <p:cNvSpPr>
            <a:spLocks/>
          </p:cNvSpPr>
          <p:nvPr>
            <p:custDataLst>
              <p:tags r:id="rId33"/>
            </p:custDataLst>
          </p:nvPr>
        </p:nvSpPr>
        <p:spPr bwMode="gray">
          <a:xfrm>
            <a:off x="1879600" y="40830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436BBE-671D-4338-A45B-DC435F1AE040}" type="datetime'1''''''''''''''''''''''.''''''''''''''''4'''''''''''''''">
              <a:rPr lang="ja-JP" altLang="en-US" sz="800" smtClean="0">
                <a:effectLst/>
              </a:rPr>
              <a:pPr/>
              <a:t>1.4</a:t>
            </a:fld>
            <a:endParaRPr kumimoji="1" lang="ja-JP" altLang="en-US" sz="800" dirty="0"/>
          </a:p>
        </p:txBody>
      </p:sp>
      <p:sp>
        <p:nvSpPr>
          <p:cNvPr id="58" name="テキスト プレースホルダ 9">
            <a:extLst>
              <a:ext uri="{FF2B5EF4-FFF2-40B4-BE49-F238E27FC236}">
                <a16:creationId xmlns:a16="http://schemas.microsoft.com/office/drawing/2014/main" id="{DCF862EF-96C8-68A7-7795-355805A4CC70}"/>
              </a:ext>
            </a:extLst>
          </p:cNvPr>
          <p:cNvSpPr>
            <a:spLocks/>
          </p:cNvSpPr>
          <p:nvPr>
            <p:custDataLst>
              <p:tags r:id="rId34"/>
            </p:custDataLst>
          </p:nvPr>
        </p:nvSpPr>
        <p:spPr bwMode="gray">
          <a:xfrm>
            <a:off x="1879600" y="5495925"/>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70018C-19C4-441D-9091-25DA3DA84F51}" type="datetime'''''''''''''0''''''''''''''''''''''''''''.''7'''''">
              <a:rPr lang="ja-JP" altLang="en-US" sz="800" smtClean="0">
                <a:effectLst/>
              </a:rPr>
              <a:pPr/>
              <a:t>0.7</a:t>
            </a:fld>
            <a:endParaRPr kumimoji="1" lang="ja-JP" altLang="en-US" sz="800" dirty="0"/>
          </a:p>
        </p:txBody>
      </p:sp>
      <p:sp>
        <p:nvSpPr>
          <p:cNvPr id="11" name="テキスト プレースホルダ 9">
            <a:extLst>
              <a:ext uri="{FF2B5EF4-FFF2-40B4-BE49-F238E27FC236}">
                <a16:creationId xmlns:a16="http://schemas.microsoft.com/office/drawing/2014/main" id="{CEAD9BA1-2393-91A6-54DF-EFE85F7E981A}"/>
              </a:ext>
            </a:extLst>
          </p:cNvPr>
          <p:cNvSpPr>
            <a:spLocks/>
          </p:cNvSpPr>
          <p:nvPr>
            <p:custDataLst>
              <p:tags r:id="rId35"/>
            </p:custDataLst>
          </p:nvPr>
        </p:nvSpPr>
        <p:spPr bwMode="auto">
          <a:xfrm>
            <a:off x="1819275"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69CD49-C894-4AA7-81F9-D36AF31E8140}" type="datetime'''''''''''''''''''''''''''''''''2''''0''20'''''">
              <a:rPr kumimoji="0" lang="ja-JP" altLang="en-US" sz="1000" smtClean="0"/>
              <a:pPr/>
              <a:t>2020</a:t>
            </a:fld>
            <a:endParaRPr kumimoji="0" lang="ja-JP" altLang="en-US" sz="1000" dirty="0"/>
          </a:p>
        </p:txBody>
      </p:sp>
      <p:sp>
        <p:nvSpPr>
          <p:cNvPr id="455" name="テキスト プレースホルダ 9">
            <a:extLst>
              <a:ext uri="{FF2B5EF4-FFF2-40B4-BE49-F238E27FC236}">
                <a16:creationId xmlns:a16="http://schemas.microsoft.com/office/drawing/2014/main" id="{043F8D62-6FB9-529E-D77D-F263B4CE5859}"/>
              </a:ext>
            </a:extLst>
          </p:cNvPr>
          <p:cNvSpPr>
            <a:spLocks/>
          </p:cNvSpPr>
          <p:nvPr>
            <p:custDataLst>
              <p:tags r:id="rId36"/>
            </p:custDataLst>
          </p:nvPr>
        </p:nvSpPr>
        <p:spPr bwMode="gray">
          <a:xfrm>
            <a:off x="3108325" y="5335588"/>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FC7101-460A-468A-A4B1-965C066CF84A}" type="datetime'''''''''''''0''.''''''7'''''''''''''''''''''''''''''''">
              <a:rPr lang="ja-JP" altLang="en-US" sz="800" smtClean="0">
                <a:effectLst/>
              </a:rPr>
              <a:pPr/>
              <a:t>0.7</a:t>
            </a:fld>
            <a:endParaRPr kumimoji="1" lang="ja-JP" altLang="en-US" sz="800" dirty="0"/>
          </a:p>
        </p:txBody>
      </p:sp>
      <p:sp>
        <p:nvSpPr>
          <p:cNvPr id="28" name="テキスト プレースホルダ 9">
            <a:extLst>
              <a:ext uri="{FF2B5EF4-FFF2-40B4-BE49-F238E27FC236}">
                <a16:creationId xmlns:a16="http://schemas.microsoft.com/office/drawing/2014/main" id="{7425F807-AD02-27DA-7ACD-D9EECB1BD405}"/>
              </a:ext>
            </a:extLst>
          </p:cNvPr>
          <p:cNvSpPr>
            <a:spLocks/>
          </p:cNvSpPr>
          <p:nvPr>
            <p:custDataLst>
              <p:tags r:id="rId37"/>
            </p:custDataLst>
          </p:nvPr>
        </p:nvSpPr>
        <p:spPr bwMode="auto">
          <a:xfrm>
            <a:off x="3048000"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AF549-1125-42CA-A8BF-E0662E920EBB}" type="datetime'''''''''''''''''''''2''''''0''''''''''''''''''''''''2''''2'''">
              <a:rPr kumimoji="0" lang="ja-JP" altLang="en-US" sz="1000" smtClean="0"/>
              <a:pPr/>
              <a:t>2022</a:t>
            </a:fld>
            <a:endParaRPr kumimoji="0" lang="ja-JP" altLang="en-US" sz="1000" dirty="0"/>
          </a:p>
        </p:txBody>
      </p:sp>
      <p:sp>
        <p:nvSpPr>
          <p:cNvPr id="63" name="テキスト プレースホルダ 9">
            <a:extLst>
              <a:ext uri="{FF2B5EF4-FFF2-40B4-BE49-F238E27FC236}">
                <a16:creationId xmlns:a16="http://schemas.microsoft.com/office/drawing/2014/main" id="{79E6FF7A-549B-EBA1-A006-FBD8BF017917}"/>
              </a:ext>
            </a:extLst>
          </p:cNvPr>
          <p:cNvSpPr>
            <a:spLocks/>
          </p:cNvSpPr>
          <p:nvPr>
            <p:custDataLst>
              <p:tags r:id="rId38"/>
            </p:custDataLst>
          </p:nvPr>
        </p:nvSpPr>
        <p:spPr bwMode="gray">
          <a:xfrm>
            <a:off x="2493963" y="5472113"/>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13E099-4DF7-4866-8969-575CD0805549}" type="datetime'0''''.''7'''''''''''''''''''''''''''''''''''''''''''''''''''">
              <a:rPr lang="ja-JP" altLang="en-US" sz="800" smtClean="0">
                <a:effectLst/>
              </a:rPr>
              <a:pPr/>
              <a:t>0.7</a:t>
            </a:fld>
            <a:endParaRPr kumimoji="1" lang="ja-JP" altLang="en-US" sz="800" dirty="0"/>
          </a:p>
        </p:txBody>
      </p:sp>
      <p:sp>
        <p:nvSpPr>
          <p:cNvPr id="171" name="テキスト プレースホルダ 9">
            <a:extLst>
              <a:ext uri="{FF2B5EF4-FFF2-40B4-BE49-F238E27FC236}">
                <a16:creationId xmlns:a16="http://schemas.microsoft.com/office/drawing/2014/main" id="{82A50F04-6264-12F0-F9AE-E1063A6CD370}"/>
              </a:ext>
            </a:extLst>
          </p:cNvPr>
          <p:cNvSpPr>
            <a:spLocks/>
          </p:cNvSpPr>
          <p:nvPr>
            <p:custDataLst>
              <p:tags r:id="rId39"/>
            </p:custDataLst>
          </p:nvPr>
        </p:nvSpPr>
        <p:spPr bwMode="gray">
          <a:xfrm>
            <a:off x="3108325" y="3457575"/>
            <a:ext cx="17145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A3D380-2C52-469E-9421-F6E87BED5DE1}" type="datetime'''''''''1''''.''''''''''''''''7'''">
              <a:rPr lang="ja-JP" altLang="en-US" sz="800" smtClean="0">
                <a:solidFill>
                  <a:schemeClr val="bg1"/>
                </a:solidFill>
                <a:effectLst/>
              </a:rPr>
              <a:pPr marL="0" lvl="0" indent="0" algn="ctr">
                <a:spcBef>
                  <a:spcPct val="0"/>
                </a:spcBef>
                <a:buNone/>
              </a:pPr>
              <a:t>1.7</a:t>
            </a:fld>
            <a:endParaRPr kumimoji="1" lang="ja-JP" altLang="en-US" sz="800" dirty="0">
              <a:solidFill>
                <a:schemeClr val="bg1"/>
              </a:solidFill>
            </a:endParaRPr>
          </a:p>
        </p:txBody>
      </p:sp>
      <p:sp>
        <p:nvSpPr>
          <p:cNvPr id="61" name="テキスト プレースホルダ 9">
            <a:extLst>
              <a:ext uri="{FF2B5EF4-FFF2-40B4-BE49-F238E27FC236}">
                <a16:creationId xmlns:a16="http://schemas.microsoft.com/office/drawing/2014/main" id="{2C11FC45-E0E0-C896-664F-FC41EA2ECFF9}"/>
              </a:ext>
            </a:extLst>
          </p:cNvPr>
          <p:cNvSpPr>
            <a:spLocks/>
          </p:cNvSpPr>
          <p:nvPr>
            <p:custDataLst>
              <p:tags r:id="rId40"/>
            </p:custDataLst>
          </p:nvPr>
        </p:nvSpPr>
        <p:spPr bwMode="gray">
          <a:xfrm>
            <a:off x="2493963" y="39131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20D5E-48FB-42BB-8347-190EBADFD167}" type="datetime'1''''''''''''''''.''''''''''''6'">
              <a:rPr lang="ja-JP" altLang="en-US" sz="800" smtClean="0">
                <a:effectLst/>
              </a:rPr>
              <a:pPr/>
              <a:t>1.6</a:t>
            </a:fld>
            <a:endParaRPr kumimoji="1" lang="ja-JP" altLang="en-US" sz="800" dirty="0"/>
          </a:p>
        </p:txBody>
      </p:sp>
      <p:sp>
        <p:nvSpPr>
          <p:cNvPr id="482" name="テキスト プレースホルダ 9">
            <a:extLst>
              <a:ext uri="{FF2B5EF4-FFF2-40B4-BE49-F238E27FC236}">
                <a16:creationId xmlns:a16="http://schemas.microsoft.com/office/drawing/2014/main" id="{60B26F95-A51E-65D8-881A-F3B9D436D095}"/>
              </a:ext>
            </a:extLst>
          </p:cNvPr>
          <p:cNvSpPr>
            <a:spLocks/>
          </p:cNvSpPr>
          <p:nvPr>
            <p:custDataLst>
              <p:tags r:id="rId41"/>
            </p:custDataLst>
          </p:nvPr>
        </p:nvSpPr>
        <p:spPr bwMode="auto">
          <a:xfrm>
            <a:off x="3662363"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23904-ABA0-4EE8-96C6-0142ADA9655E}" type="datetime'20''2''''''3'''''''''''''''''''''''''''''''">
              <a:rPr kumimoji="0" lang="ja-JP" altLang="en-US" sz="1000" smtClean="0"/>
              <a:pPr/>
              <a:t>2023</a:t>
            </a:fld>
            <a:endParaRPr kumimoji="0" lang="ja-JP" altLang="en-US" sz="1000" dirty="0"/>
          </a:p>
        </p:txBody>
      </p:sp>
      <p:sp>
        <p:nvSpPr>
          <p:cNvPr id="16" name="テキスト プレースホルダ 9">
            <a:extLst>
              <a:ext uri="{FF2B5EF4-FFF2-40B4-BE49-F238E27FC236}">
                <a16:creationId xmlns:a16="http://schemas.microsoft.com/office/drawing/2014/main" id="{67977860-664A-D99B-3A1D-B176A5F154AA}"/>
              </a:ext>
            </a:extLst>
          </p:cNvPr>
          <p:cNvSpPr>
            <a:spLocks/>
          </p:cNvSpPr>
          <p:nvPr>
            <p:custDataLst>
              <p:tags r:id="rId42"/>
            </p:custDataLst>
          </p:nvPr>
        </p:nvSpPr>
        <p:spPr bwMode="gray">
          <a:xfrm>
            <a:off x="622300" y="41544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D18904-D84D-4740-982D-B028698FD8C8}" type="datetime'''''3''''5''''''''''''.0'''''''''''''''''''''''''''">
              <a:rPr lang="ja-JP" altLang="en-US" sz="800" smtClean="0"/>
              <a:pPr/>
              <a:t>35.0</a:t>
            </a:fld>
            <a:endParaRPr kumimoji="1" lang="ja-JP" altLang="en-US" sz="800" dirty="0"/>
          </a:p>
        </p:txBody>
      </p:sp>
      <p:sp>
        <p:nvSpPr>
          <p:cNvPr id="17" name="テキスト プレースホルダ 9">
            <a:extLst>
              <a:ext uri="{FF2B5EF4-FFF2-40B4-BE49-F238E27FC236}">
                <a16:creationId xmlns:a16="http://schemas.microsoft.com/office/drawing/2014/main" id="{FEA0105C-9A1C-7E71-D1AF-F265EEB033EB}"/>
              </a:ext>
            </a:extLst>
          </p:cNvPr>
          <p:cNvSpPr>
            <a:spLocks/>
          </p:cNvSpPr>
          <p:nvPr>
            <p:custDataLst>
              <p:tags r:id="rId43"/>
            </p:custDataLst>
          </p:nvPr>
        </p:nvSpPr>
        <p:spPr bwMode="gray">
          <a:xfrm>
            <a:off x="1236663" y="40068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3998C-3EFC-4D35-B785-8E919FEB282F}" type="datetime'''''3''''''7''''''''''''''.''''''''''''''''''''''''''''9'''">
              <a:rPr lang="ja-JP" altLang="en-US" sz="800" smtClean="0"/>
              <a:pPr/>
              <a:t>37.9</a:t>
            </a:fld>
            <a:endParaRPr kumimoji="1" lang="ja-JP" altLang="en-US" sz="800" dirty="0"/>
          </a:p>
        </p:txBody>
      </p:sp>
      <p:sp>
        <p:nvSpPr>
          <p:cNvPr id="18" name="テキスト プレースホルダ 9">
            <a:extLst>
              <a:ext uri="{FF2B5EF4-FFF2-40B4-BE49-F238E27FC236}">
                <a16:creationId xmlns:a16="http://schemas.microsoft.com/office/drawing/2014/main" id="{84C417BE-4F44-EF58-22DD-89232C222E5C}"/>
              </a:ext>
            </a:extLst>
          </p:cNvPr>
          <p:cNvSpPr>
            <a:spLocks/>
          </p:cNvSpPr>
          <p:nvPr>
            <p:custDataLst>
              <p:tags r:id="rId44"/>
            </p:custDataLst>
          </p:nvPr>
        </p:nvSpPr>
        <p:spPr bwMode="gray">
          <a:xfrm>
            <a:off x="1851025" y="39592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F28793-4EFD-46BB-A897-10C7600EE0BD}" type="datetime'''''''''''''''''''''3''''''''''''''''8''''''''''''.8'''''''''">
              <a:rPr lang="ja-JP" altLang="en-US" sz="800" smtClean="0"/>
              <a:pPr/>
              <a:t>38.8</a:t>
            </a:fld>
            <a:endParaRPr kumimoji="1" lang="ja-JP" altLang="en-US" sz="800" dirty="0"/>
          </a:p>
        </p:txBody>
      </p:sp>
      <p:sp>
        <p:nvSpPr>
          <p:cNvPr id="488" name="テキスト プレースホルダ 9">
            <a:extLst>
              <a:ext uri="{FF2B5EF4-FFF2-40B4-BE49-F238E27FC236}">
                <a16:creationId xmlns:a16="http://schemas.microsoft.com/office/drawing/2014/main" id="{B2F539F6-31E7-04B1-D362-0F184FF96E17}"/>
              </a:ext>
            </a:extLst>
          </p:cNvPr>
          <p:cNvSpPr>
            <a:spLocks/>
          </p:cNvSpPr>
          <p:nvPr>
            <p:custDataLst>
              <p:tags r:id="rId45"/>
            </p:custDataLst>
          </p:nvPr>
        </p:nvSpPr>
        <p:spPr bwMode="gray">
          <a:xfrm>
            <a:off x="3722688" y="5064125"/>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71F045-DB11-4174-AEB6-07B76DB0B9F5}" type="datetime'''0''''''''''''''''''''.''''''''''''''''7'''''''''''''">
              <a:rPr lang="ja-JP" altLang="en-US" sz="800" smtClean="0">
                <a:effectLst/>
              </a:rPr>
              <a:pPr/>
              <a:t>0.7</a:t>
            </a:fld>
            <a:endParaRPr kumimoji="1" lang="ja-JP" altLang="en-US" sz="800" dirty="0"/>
          </a:p>
        </p:txBody>
      </p:sp>
      <p:sp>
        <p:nvSpPr>
          <p:cNvPr id="36" name="テキスト プレースホルダ 9">
            <a:extLst>
              <a:ext uri="{FF2B5EF4-FFF2-40B4-BE49-F238E27FC236}">
                <a16:creationId xmlns:a16="http://schemas.microsoft.com/office/drawing/2014/main" id="{2A89163F-D014-1037-9F1A-C5170490E284}"/>
              </a:ext>
            </a:extLst>
          </p:cNvPr>
          <p:cNvSpPr>
            <a:spLocks/>
          </p:cNvSpPr>
          <p:nvPr>
            <p:custDataLst>
              <p:tags r:id="rId46"/>
            </p:custDataLst>
          </p:nvPr>
        </p:nvSpPr>
        <p:spPr bwMode="gray">
          <a:xfrm>
            <a:off x="3079750" y="31670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CE3D7-71EF-4B82-AF45-B1739CAE4CB4}" type="datetime'''''''''5''3''''''''''.''''''''4'''">
              <a:rPr lang="ja-JP" altLang="en-US" sz="800" smtClean="0"/>
              <a:pPr/>
              <a:t>53.4</a:t>
            </a:fld>
            <a:endParaRPr kumimoji="1" lang="ja-JP" altLang="en-US" sz="800" dirty="0"/>
          </a:p>
        </p:txBody>
      </p:sp>
      <p:sp>
        <p:nvSpPr>
          <p:cNvPr id="485" name="テキスト プレースホルダ 9">
            <a:extLst>
              <a:ext uri="{FF2B5EF4-FFF2-40B4-BE49-F238E27FC236}">
                <a16:creationId xmlns:a16="http://schemas.microsoft.com/office/drawing/2014/main" id="{8FD309AD-66C6-6B80-51EF-74B8E39176CE}"/>
              </a:ext>
            </a:extLst>
          </p:cNvPr>
          <p:cNvSpPr>
            <a:spLocks/>
          </p:cNvSpPr>
          <p:nvPr>
            <p:custDataLst>
              <p:tags r:id="rId47"/>
            </p:custDataLst>
          </p:nvPr>
        </p:nvSpPr>
        <p:spPr bwMode="gray">
          <a:xfrm>
            <a:off x="3694113" y="2508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003284-E0E6-414A-8B68-90764B101BAD}" type="datetime'''''''''''''''''''''''''''''''''''''''''''''''6''5''.''''''5'">
              <a:rPr lang="ja-JP" altLang="en-US" sz="800" smtClean="0"/>
              <a:pPr/>
              <a:t>65.5</a:t>
            </a:fld>
            <a:endParaRPr kumimoji="1" lang="ja-JP" altLang="en-US" sz="800" dirty="0"/>
          </a:p>
        </p:txBody>
      </p:sp>
      <p:sp>
        <p:nvSpPr>
          <p:cNvPr id="27" name="テキスト プレースホルダ 9">
            <a:extLst>
              <a:ext uri="{FF2B5EF4-FFF2-40B4-BE49-F238E27FC236}">
                <a16:creationId xmlns:a16="http://schemas.microsoft.com/office/drawing/2014/main" id="{9D8AD359-FAAA-7F56-A37B-61CCD3B70FF4}"/>
              </a:ext>
            </a:extLst>
          </p:cNvPr>
          <p:cNvSpPr>
            <a:spLocks/>
          </p:cNvSpPr>
          <p:nvPr>
            <p:custDataLst>
              <p:tags r:id="rId48"/>
            </p:custDataLst>
          </p:nvPr>
        </p:nvSpPr>
        <p:spPr bwMode="auto">
          <a:xfrm>
            <a:off x="2433638"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C3DDE8-72D5-4B25-BA10-3AD6EE68B566}" type="datetime'''2''''''''''''''''''''''''''''021'">
              <a:rPr kumimoji="0" lang="ja-JP" altLang="en-US" sz="1000" smtClean="0"/>
              <a:pPr/>
              <a:t>2021</a:t>
            </a:fld>
            <a:endParaRPr kumimoji="0" lang="ja-JP" altLang="en-US" sz="1000" dirty="0"/>
          </a:p>
        </p:txBody>
      </p:sp>
      <p:sp>
        <p:nvSpPr>
          <p:cNvPr id="483" name="テキスト プレースホルダ 9">
            <a:extLst>
              <a:ext uri="{FF2B5EF4-FFF2-40B4-BE49-F238E27FC236}">
                <a16:creationId xmlns:a16="http://schemas.microsoft.com/office/drawing/2014/main" id="{0D4ED0D7-F73E-4266-04FE-EC1A7DB3EAD3}"/>
              </a:ext>
            </a:extLst>
          </p:cNvPr>
          <p:cNvSpPr>
            <a:spLocks/>
          </p:cNvSpPr>
          <p:nvPr>
            <p:custDataLst>
              <p:tags r:id="rId49"/>
            </p:custDataLst>
          </p:nvPr>
        </p:nvSpPr>
        <p:spPr bwMode="gray">
          <a:xfrm>
            <a:off x="1879600" y="4208463"/>
            <a:ext cx="171450" cy="122238"/>
          </a:xfrm>
          <a:prstGeom prst="rect">
            <a:avLst/>
          </a:prstGeom>
          <a:solidFill>
            <a:srgbClr val="0064C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C2FC7-96E3-43BB-B183-10CC1EA5EBC1}" type="datetime'''''''''''''''1''''''''''''''''''''''''''.''1'''''''''">
              <a:rPr lang="ja-JP" altLang="en-US" sz="800" smtClean="0">
                <a:solidFill>
                  <a:schemeClr val="bg1"/>
                </a:solidFill>
                <a:effectLst/>
              </a:rPr>
              <a:pPr marL="0" lvl="0" indent="0" algn="ctr">
                <a:spcBef>
                  <a:spcPct val="0"/>
                </a:spcBef>
                <a:buNone/>
              </a:pPr>
              <a:t>1.1</a:t>
            </a:fld>
            <a:endParaRPr kumimoji="1" lang="ja-JP" altLang="en-US" sz="800" dirty="0">
              <a:solidFill>
                <a:schemeClr val="bg1"/>
              </a:solidFill>
            </a:endParaRPr>
          </a:p>
        </p:txBody>
      </p:sp>
      <p:sp>
        <p:nvSpPr>
          <p:cNvPr id="35" name="テキスト プレースホルダ 9">
            <a:extLst>
              <a:ext uri="{FF2B5EF4-FFF2-40B4-BE49-F238E27FC236}">
                <a16:creationId xmlns:a16="http://schemas.microsoft.com/office/drawing/2014/main" id="{C21DB198-34AB-00D7-247D-BC605C66F65F}"/>
              </a:ext>
            </a:extLst>
          </p:cNvPr>
          <p:cNvSpPr>
            <a:spLocks/>
          </p:cNvSpPr>
          <p:nvPr>
            <p:custDataLst>
              <p:tags r:id="rId50"/>
            </p:custDataLst>
          </p:nvPr>
        </p:nvSpPr>
        <p:spPr bwMode="gray">
          <a:xfrm>
            <a:off x="2465388" y="37830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AD8F70-F7DF-423D-B95D-94974EA9E7D3}" type="datetime'''''''''''''4''''2''''''''''.''0'''''''''''''''''">
              <a:rPr lang="ja-JP" altLang="en-US" sz="800" smtClean="0"/>
              <a:pPr/>
              <a:t>42.0</a:t>
            </a:fld>
            <a:endParaRPr kumimoji="1" lang="ja-JP" altLang="en-US" sz="800" dirty="0"/>
          </a:p>
        </p:txBody>
      </p:sp>
      <p:sp>
        <p:nvSpPr>
          <p:cNvPr id="186" name="Rectangle 185">
            <a:extLst>
              <a:ext uri="{FF2B5EF4-FFF2-40B4-BE49-F238E27FC236}">
                <a16:creationId xmlns:a16="http://schemas.microsoft.com/office/drawing/2014/main" id="{21056E3D-FD8D-87D4-3153-FB335F6CE648}"/>
              </a:ext>
            </a:extLst>
          </p:cNvPr>
          <p:cNvSpPr/>
          <p:nvPr>
            <p:custDataLst>
              <p:tags r:id="rId51"/>
            </p:custDataLst>
          </p:nvPr>
        </p:nvSpPr>
        <p:spPr bwMode="auto">
          <a:xfrm>
            <a:off x="4256088" y="3829050"/>
            <a:ext cx="142875" cy="106363"/>
          </a:xfrm>
          <a:prstGeom prst="rect">
            <a:avLst/>
          </a:prstGeom>
          <a:solidFill>
            <a:srgbClr val="C0E6F4"/>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7" name="Rectangle 186">
            <a:extLst>
              <a:ext uri="{FF2B5EF4-FFF2-40B4-BE49-F238E27FC236}">
                <a16:creationId xmlns:a16="http://schemas.microsoft.com/office/drawing/2014/main" id="{BAAB6E99-27A0-C0E9-DE90-882F5DBF3880}"/>
              </a:ext>
            </a:extLst>
          </p:cNvPr>
          <p:cNvSpPr/>
          <p:nvPr>
            <p:custDataLst>
              <p:tags r:id="rId52"/>
            </p:custDataLst>
          </p:nvPr>
        </p:nvSpPr>
        <p:spPr bwMode="auto">
          <a:xfrm>
            <a:off x="4256088" y="4002088"/>
            <a:ext cx="142875" cy="106363"/>
          </a:xfrm>
          <a:prstGeom prst="rect">
            <a:avLst/>
          </a:prstGeom>
          <a:solidFill>
            <a:srgbClr val="80CCE8"/>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8" name="Rectangle 187">
            <a:extLst>
              <a:ext uri="{FF2B5EF4-FFF2-40B4-BE49-F238E27FC236}">
                <a16:creationId xmlns:a16="http://schemas.microsoft.com/office/drawing/2014/main" id="{B65392E9-B677-7A69-FEB3-6CB0792A0ACA}"/>
              </a:ext>
            </a:extLst>
          </p:cNvPr>
          <p:cNvSpPr/>
          <p:nvPr>
            <p:custDataLst>
              <p:tags r:id="rId53"/>
            </p:custDataLst>
          </p:nvPr>
        </p:nvSpPr>
        <p:spPr bwMode="auto">
          <a:xfrm>
            <a:off x="4256088" y="4175125"/>
            <a:ext cx="142875" cy="106363"/>
          </a:xfrm>
          <a:prstGeom prst="rect">
            <a:avLst/>
          </a:prstGeom>
          <a:solidFill>
            <a:srgbClr val="1F497D"/>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9" name="Rectangle 188">
            <a:extLst>
              <a:ext uri="{FF2B5EF4-FFF2-40B4-BE49-F238E27FC236}">
                <a16:creationId xmlns:a16="http://schemas.microsoft.com/office/drawing/2014/main" id="{14DF2308-297A-08CB-1B9A-75D880BF46E5}"/>
              </a:ext>
            </a:extLst>
          </p:cNvPr>
          <p:cNvSpPr/>
          <p:nvPr>
            <p:custDataLst>
              <p:tags r:id="rId54"/>
            </p:custDataLst>
          </p:nvPr>
        </p:nvSpPr>
        <p:spPr bwMode="auto">
          <a:xfrm>
            <a:off x="4256088" y="4348163"/>
            <a:ext cx="142875" cy="106363"/>
          </a:xfrm>
          <a:prstGeom prst="rect">
            <a:avLst/>
          </a:prstGeom>
          <a:solidFill>
            <a:srgbClr val="0064C8"/>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0" name="Rectangle 189">
            <a:extLst>
              <a:ext uri="{FF2B5EF4-FFF2-40B4-BE49-F238E27FC236}">
                <a16:creationId xmlns:a16="http://schemas.microsoft.com/office/drawing/2014/main" id="{9278C024-606A-FDBF-6F4C-BC099E82E297}"/>
              </a:ext>
            </a:extLst>
          </p:cNvPr>
          <p:cNvSpPr/>
          <p:nvPr>
            <p:custDataLst>
              <p:tags r:id="rId55"/>
            </p:custDataLst>
          </p:nvPr>
        </p:nvSpPr>
        <p:spPr bwMode="auto">
          <a:xfrm>
            <a:off x="4256088" y="4521200"/>
            <a:ext cx="142875" cy="106363"/>
          </a:xfrm>
          <a:prstGeom prst="rect">
            <a:avLst/>
          </a:prstGeom>
          <a:solidFill>
            <a:srgbClr val="3D6E81"/>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1" name="Rectangle 190">
            <a:extLst>
              <a:ext uri="{FF2B5EF4-FFF2-40B4-BE49-F238E27FC236}">
                <a16:creationId xmlns:a16="http://schemas.microsoft.com/office/drawing/2014/main" id="{AEF4102F-0320-8F43-6004-EADBD501CB25}"/>
              </a:ext>
            </a:extLst>
          </p:cNvPr>
          <p:cNvSpPr/>
          <p:nvPr>
            <p:custDataLst>
              <p:tags r:id="rId56"/>
            </p:custDataLst>
          </p:nvPr>
        </p:nvSpPr>
        <p:spPr bwMode="auto">
          <a:xfrm>
            <a:off x="4256088" y="4694238"/>
            <a:ext cx="142875" cy="106363"/>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4" name="Rectangle 383">
            <a:extLst>
              <a:ext uri="{FF2B5EF4-FFF2-40B4-BE49-F238E27FC236}">
                <a16:creationId xmlns:a16="http://schemas.microsoft.com/office/drawing/2014/main" id="{73B60AFF-1DA7-7808-891C-D3E94CCE44EE}"/>
              </a:ext>
            </a:extLst>
          </p:cNvPr>
          <p:cNvSpPr/>
          <p:nvPr>
            <p:custDataLst>
              <p:tags r:id="rId57"/>
            </p:custDataLst>
          </p:nvPr>
        </p:nvSpPr>
        <p:spPr bwMode="auto">
          <a:xfrm>
            <a:off x="4256088" y="4867275"/>
            <a:ext cx="142875" cy="106363"/>
          </a:xfrm>
          <a:prstGeom prst="rect">
            <a:avLst/>
          </a:prstGeom>
          <a:solidFill>
            <a:schemeClr val="accent3"/>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5" name="Rectangle 384">
            <a:extLst>
              <a:ext uri="{FF2B5EF4-FFF2-40B4-BE49-F238E27FC236}">
                <a16:creationId xmlns:a16="http://schemas.microsoft.com/office/drawing/2014/main" id="{B9CC1FC7-B3FA-9213-3AAE-CE109EED94AF}"/>
              </a:ext>
            </a:extLst>
          </p:cNvPr>
          <p:cNvSpPr/>
          <p:nvPr>
            <p:custDataLst>
              <p:tags r:id="rId58"/>
            </p:custDataLst>
          </p:nvPr>
        </p:nvSpPr>
        <p:spPr bwMode="auto">
          <a:xfrm>
            <a:off x="4256088" y="5040313"/>
            <a:ext cx="142875" cy="106363"/>
          </a:xfrm>
          <a:prstGeom prst="rect">
            <a:avLst/>
          </a:prstGeom>
          <a:solidFill>
            <a:srgbClr val="4C6C9C"/>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6" name="Rectangle 385">
            <a:extLst>
              <a:ext uri="{FF2B5EF4-FFF2-40B4-BE49-F238E27FC236}">
                <a16:creationId xmlns:a16="http://schemas.microsoft.com/office/drawing/2014/main" id="{9EBDBF48-4F88-3A12-B5C5-D34260BDBBC3}"/>
              </a:ext>
            </a:extLst>
          </p:cNvPr>
          <p:cNvSpPr/>
          <p:nvPr>
            <p:custDataLst>
              <p:tags r:id="rId59"/>
            </p:custDataLst>
          </p:nvPr>
        </p:nvSpPr>
        <p:spPr bwMode="auto">
          <a:xfrm>
            <a:off x="4256088" y="5213350"/>
            <a:ext cx="142875" cy="106363"/>
          </a:xfrm>
          <a:prstGeom prst="rect">
            <a:avLst/>
          </a:prstGeom>
          <a:solidFill>
            <a:srgbClr val="DFE5EF"/>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7" name="テキスト プレースホルダ 9">
            <a:extLst>
              <a:ext uri="{FF2B5EF4-FFF2-40B4-BE49-F238E27FC236}">
                <a16:creationId xmlns:a16="http://schemas.microsoft.com/office/drawing/2014/main" id="{23442B78-E8F3-8A6D-1315-0692B8411649}"/>
              </a:ext>
            </a:extLst>
          </p:cNvPr>
          <p:cNvSpPr>
            <a:spLocks/>
          </p:cNvSpPr>
          <p:nvPr>
            <p:custDataLst>
              <p:tags r:id="rId60"/>
            </p:custDataLst>
          </p:nvPr>
        </p:nvSpPr>
        <p:spPr bwMode="auto">
          <a:xfrm>
            <a:off x="4449763" y="3824288"/>
            <a:ext cx="3238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E48AA7D-0243-4130-9EFC-0061D9CB3F47}" type="datetime'A''''''''&amp;L'''''' ''''''''他'''''''''''''''''''''">
              <a:rPr lang="en-IN" altLang="en-US" sz="800" smtClean="0">
                <a:effectLst/>
              </a:rPr>
              <a:pPr marL="0" lvl="0" indent="0">
                <a:spcBef>
                  <a:spcPct val="0"/>
                </a:spcBef>
                <a:buNone/>
              </a:pPr>
              <a:t>A&amp;L 他</a:t>
            </a:fld>
            <a:endParaRPr kumimoji="1" lang="ja-JP" altLang="en-US" sz="800" dirty="0"/>
          </a:p>
        </p:txBody>
      </p:sp>
      <p:sp>
        <p:nvSpPr>
          <p:cNvPr id="178" name="テキスト プレースホルダ 9">
            <a:extLst>
              <a:ext uri="{FF2B5EF4-FFF2-40B4-BE49-F238E27FC236}">
                <a16:creationId xmlns:a16="http://schemas.microsoft.com/office/drawing/2014/main" id="{A2C4FA34-ADFD-4580-7D4E-96B1E703E8B4}"/>
              </a:ext>
            </a:extLst>
          </p:cNvPr>
          <p:cNvSpPr>
            <a:spLocks/>
          </p:cNvSpPr>
          <p:nvPr>
            <p:custDataLst>
              <p:tags r:id="rId61"/>
            </p:custDataLst>
          </p:nvPr>
        </p:nvSpPr>
        <p:spPr bwMode="auto">
          <a:xfrm>
            <a:off x="4449763" y="3997325"/>
            <a:ext cx="203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7048195-7A4A-4DB0-BF41-C564EB7A5591}" type="datetime'''''''''''''''''''''''''''''''''航''''空'''''''''''''''''">
              <a:rPr lang="ja-JP" altLang="en-US" sz="800" smtClean="0">
                <a:effectLst/>
              </a:rPr>
              <a:pPr marL="0" lvl="0" indent="0">
                <a:spcBef>
                  <a:spcPct val="0"/>
                </a:spcBef>
                <a:buNone/>
              </a:pPr>
              <a:t>航空</a:t>
            </a:fld>
            <a:endParaRPr kumimoji="1" lang="ja-JP" altLang="en-US" sz="800" dirty="0"/>
          </a:p>
        </p:txBody>
      </p:sp>
      <p:sp>
        <p:nvSpPr>
          <p:cNvPr id="179" name="テキスト プレースホルダ 9">
            <a:extLst>
              <a:ext uri="{FF2B5EF4-FFF2-40B4-BE49-F238E27FC236}">
                <a16:creationId xmlns:a16="http://schemas.microsoft.com/office/drawing/2014/main" id="{46D78943-2D23-8B5E-6974-EE0FEA86001A}"/>
              </a:ext>
            </a:extLst>
          </p:cNvPr>
          <p:cNvSpPr>
            <a:spLocks/>
          </p:cNvSpPr>
          <p:nvPr>
            <p:custDataLst>
              <p:tags r:id="rId62"/>
            </p:custDataLst>
          </p:nvPr>
        </p:nvSpPr>
        <p:spPr bwMode="auto">
          <a:xfrm>
            <a:off x="4449763" y="4170363"/>
            <a:ext cx="484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DC8DF3C-05A2-4297-BA8A-969964266001}" type="datetime'''''''エネ''''''''''''ル''''ギー'''''''''''''''''''''">
              <a:rPr lang="ja-JP" altLang="en-US" sz="800" smtClean="0">
                <a:effectLst/>
              </a:rPr>
              <a:pPr marL="0" lvl="0" indent="0">
                <a:spcBef>
                  <a:spcPct val="0"/>
                </a:spcBef>
                <a:buNone/>
              </a:pPr>
              <a:t>エネルギー</a:t>
            </a:fld>
            <a:endParaRPr kumimoji="1" lang="ja-JP" altLang="en-US" sz="800" dirty="0"/>
          </a:p>
        </p:txBody>
      </p:sp>
      <p:sp>
        <p:nvSpPr>
          <p:cNvPr id="180" name="テキスト プレースホルダ 9">
            <a:extLst>
              <a:ext uri="{FF2B5EF4-FFF2-40B4-BE49-F238E27FC236}">
                <a16:creationId xmlns:a16="http://schemas.microsoft.com/office/drawing/2014/main" id="{1D7CF3F9-3DBD-BBA7-232E-7A0CF136BB6E}"/>
              </a:ext>
            </a:extLst>
          </p:cNvPr>
          <p:cNvSpPr>
            <a:spLocks/>
          </p:cNvSpPr>
          <p:nvPr>
            <p:custDataLst>
              <p:tags r:id="rId63"/>
            </p:custDataLst>
          </p:nvPr>
        </p:nvSpPr>
        <p:spPr bwMode="auto">
          <a:xfrm>
            <a:off x="4449763" y="4343400"/>
            <a:ext cx="712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D53CBFB-ABC5-493C-B46E-F06F9BF79A94}" type="datetime'''エ''''ンジ''''''''''ニ''ア''リ''''''''''''''''ン''グ'''">
              <a:rPr lang="ja-JP" altLang="en-US" sz="800" smtClean="0">
                <a:effectLst/>
              </a:rPr>
              <a:pPr marL="0" lvl="0" indent="0">
                <a:spcBef>
                  <a:spcPct val="0"/>
                </a:spcBef>
                <a:buNone/>
              </a:pPr>
              <a:t>エンジニアリング</a:t>
            </a:fld>
            <a:endParaRPr kumimoji="1" lang="ja-JP" altLang="en-US" sz="800" dirty="0"/>
          </a:p>
        </p:txBody>
      </p:sp>
      <p:sp>
        <p:nvSpPr>
          <p:cNvPr id="183" name="テキスト プレースホルダ 9">
            <a:extLst>
              <a:ext uri="{FF2B5EF4-FFF2-40B4-BE49-F238E27FC236}">
                <a16:creationId xmlns:a16="http://schemas.microsoft.com/office/drawing/2014/main" id="{420FFE6A-5C1F-FC87-5D35-DB86F6D2C8AB}"/>
              </a:ext>
            </a:extLst>
          </p:cNvPr>
          <p:cNvSpPr>
            <a:spLocks/>
          </p:cNvSpPr>
          <p:nvPr>
            <p:custDataLst>
              <p:tags r:id="rId64"/>
            </p:custDataLst>
          </p:nvPr>
        </p:nvSpPr>
        <p:spPr bwMode="auto">
          <a:xfrm>
            <a:off x="4449763" y="4516438"/>
            <a:ext cx="406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E116D1E-269B-4EF8-8542-435538B6307E}" type="datetime'''''''医''''''''''''''''''''''療''保''''''''''''''険'''''''''''''">
              <a:rPr lang="ja-JP" altLang="en-US" sz="800" smtClean="0">
                <a:effectLst/>
              </a:rPr>
              <a:pPr marL="0" lvl="0" indent="0">
                <a:spcBef>
                  <a:spcPct val="0"/>
                </a:spcBef>
                <a:buNone/>
              </a:pPr>
              <a:t>医療保険</a:t>
            </a:fld>
            <a:endParaRPr kumimoji="1" lang="ja-JP" altLang="en-US" sz="800" dirty="0"/>
          </a:p>
        </p:txBody>
      </p:sp>
      <p:sp>
        <p:nvSpPr>
          <p:cNvPr id="181" name="テキスト プレースホルダ 9">
            <a:extLst>
              <a:ext uri="{FF2B5EF4-FFF2-40B4-BE49-F238E27FC236}">
                <a16:creationId xmlns:a16="http://schemas.microsoft.com/office/drawing/2014/main" id="{80B562A0-3607-3238-3300-9D9BCFD6794C}"/>
              </a:ext>
            </a:extLst>
          </p:cNvPr>
          <p:cNvSpPr>
            <a:spLocks/>
          </p:cNvSpPr>
          <p:nvPr>
            <p:custDataLst>
              <p:tags r:id="rId65"/>
            </p:custDataLst>
          </p:nvPr>
        </p:nvSpPr>
        <p:spPr bwMode="auto">
          <a:xfrm>
            <a:off x="4449763" y="4689475"/>
            <a:ext cx="406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CE1607E-1001-46B9-B3FE-DC92BE195183}" type="datetime'''''''''''''''海''''''''''上''''''''''''''''保''''険'''''''">
              <a:rPr lang="ja-JP" altLang="en-US" sz="800" smtClean="0">
                <a:effectLst/>
              </a:rPr>
              <a:pPr marL="0" lvl="0" indent="0">
                <a:spcBef>
                  <a:spcPct val="0"/>
                </a:spcBef>
                <a:buNone/>
              </a:pPr>
              <a:t>海上保険</a:t>
            </a:fld>
            <a:endParaRPr kumimoji="1" lang="ja-JP" altLang="en-US" sz="800" dirty="0"/>
          </a:p>
        </p:txBody>
      </p:sp>
      <p:sp>
        <p:nvSpPr>
          <p:cNvPr id="175" name="テキスト プレースホルダ 9">
            <a:extLst>
              <a:ext uri="{FF2B5EF4-FFF2-40B4-BE49-F238E27FC236}">
                <a16:creationId xmlns:a16="http://schemas.microsoft.com/office/drawing/2014/main" id="{0DC70AA9-4055-7F53-CCCB-B6C4A013F75D}"/>
              </a:ext>
            </a:extLst>
          </p:cNvPr>
          <p:cNvSpPr>
            <a:spLocks/>
          </p:cNvSpPr>
          <p:nvPr>
            <p:custDataLst>
              <p:tags r:id="rId66"/>
            </p:custDataLst>
          </p:nvPr>
        </p:nvSpPr>
        <p:spPr bwMode="auto">
          <a:xfrm>
            <a:off x="4449763" y="4862513"/>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0DD4BA0-EF32-44BD-B87D-B3FEA2C83367}" type="datetime'''自''''''''''''''''''動''''''''''''''''''''車'''''''''''''">
              <a:rPr lang="ja-JP" altLang="en-US" sz="800" smtClean="0">
                <a:effectLst/>
              </a:rPr>
              <a:pPr marL="0" lvl="0" indent="0">
                <a:spcBef>
                  <a:spcPct val="0"/>
                </a:spcBef>
                <a:buNone/>
              </a:pPr>
              <a:t>自動車</a:t>
            </a:fld>
            <a:endParaRPr kumimoji="1" lang="ja-JP" altLang="en-US" sz="800" dirty="0"/>
          </a:p>
        </p:txBody>
      </p:sp>
      <p:sp>
        <p:nvSpPr>
          <p:cNvPr id="182" name="テキスト プレースホルダ 9">
            <a:extLst>
              <a:ext uri="{FF2B5EF4-FFF2-40B4-BE49-F238E27FC236}">
                <a16:creationId xmlns:a16="http://schemas.microsoft.com/office/drawing/2014/main" id="{E213239A-3166-9A7B-4880-7B09CCD7E24F}"/>
              </a:ext>
            </a:extLst>
          </p:cNvPr>
          <p:cNvSpPr>
            <a:spLocks/>
          </p:cNvSpPr>
          <p:nvPr>
            <p:custDataLst>
              <p:tags r:id="rId67"/>
            </p:custDataLst>
          </p:nvPr>
        </p:nvSpPr>
        <p:spPr bwMode="auto">
          <a:xfrm>
            <a:off x="4449763" y="5035550"/>
            <a:ext cx="4365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5345B5A-B540-4902-BC6A-A8E87D298663}" type="datetime'''''P&amp;''S'''''''''''''''''''' ''''''''保''''''''''''''''''険'">
              <a:rPr lang="en-IN" altLang="en-US" sz="800" smtClean="0">
                <a:effectLst/>
              </a:rPr>
              <a:pPr marL="0" lvl="0" indent="0">
                <a:spcBef>
                  <a:spcPct val="0"/>
                </a:spcBef>
                <a:buNone/>
              </a:pPr>
              <a:t>P&amp;S 保険</a:t>
            </a:fld>
            <a:endParaRPr kumimoji="1" lang="ja-JP" altLang="en-US" sz="800" dirty="0"/>
          </a:p>
        </p:txBody>
      </p:sp>
      <p:sp>
        <p:nvSpPr>
          <p:cNvPr id="184" name="テキスト プレースホルダ 9">
            <a:extLst>
              <a:ext uri="{FF2B5EF4-FFF2-40B4-BE49-F238E27FC236}">
                <a16:creationId xmlns:a16="http://schemas.microsoft.com/office/drawing/2014/main" id="{315362AC-0A36-92B4-26D3-567DBCC618B2}"/>
              </a:ext>
            </a:extLst>
          </p:cNvPr>
          <p:cNvSpPr>
            <a:spLocks/>
          </p:cNvSpPr>
          <p:nvPr>
            <p:custDataLst>
              <p:tags r:id="rId68"/>
            </p:custDataLst>
          </p:nvPr>
        </p:nvSpPr>
        <p:spPr bwMode="auto">
          <a:xfrm>
            <a:off x="4449763" y="5208588"/>
            <a:ext cx="203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7AF8A1-9C0A-4646-AF66-F35D5A8D9BBD}" type="datetime'''''''''''''''''''''''''''''財''''''''''''''''産'''''''''''''''">
              <a:rPr lang="ja-JP" altLang="en-US" sz="800" smtClean="0">
                <a:effectLst/>
              </a:rPr>
              <a:pPr marL="0" lvl="0" indent="0">
                <a:spcBef>
                  <a:spcPct val="0"/>
                </a:spcBef>
                <a:buNone/>
              </a:pPr>
              <a:t>財産</a:t>
            </a:fld>
            <a:endParaRPr kumimoji="1" lang="ja-JP" altLang="en-US" sz="800" dirty="0"/>
          </a:p>
        </p:txBody>
      </p:sp>
      <p:sp>
        <p:nvSpPr>
          <p:cNvPr id="20" name="Rectangle 19">
            <a:extLst>
              <a:ext uri="{FF2B5EF4-FFF2-40B4-BE49-F238E27FC236}">
                <a16:creationId xmlns:a16="http://schemas.microsoft.com/office/drawing/2014/main" id="{48E08675-97EB-E81A-098A-B359030E780A}"/>
              </a:ext>
            </a:extLst>
          </p:cNvPr>
          <p:cNvSpPr/>
          <p:nvPr>
            <p:custDataLst>
              <p:tags r:id="rId69"/>
            </p:custDataLst>
          </p:nvPr>
        </p:nvSpPr>
        <p:spPr bwMode="auto">
          <a:xfrm>
            <a:off x="5850730" y="2730723"/>
            <a:ext cx="142875" cy="106363"/>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Rectangle 20">
            <a:extLst>
              <a:ext uri="{FF2B5EF4-FFF2-40B4-BE49-F238E27FC236}">
                <a16:creationId xmlns:a16="http://schemas.microsoft.com/office/drawing/2014/main" id="{F73D9F7E-F78F-DBF9-F7D1-37B5866DD6AA}"/>
              </a:ext>
            </a:extLst>
          </p:cNvPr>
          <p:cNvSpPr/>
          <p:nvPr>
            <p:custDataLst>
              <p:tags r:id="rId70"/>
            </p:custDataLst>
          </p:nvPr>
        </p:nvSpPr>
        <p:spPr bwMode="auto">
          <a:xfrm>
            <a:off x="5850730" y="2903760"/>
            <a:ext cx="142875" cy="106363"/>
          </a:xfrm>
          <a:prstGeom prst="rect">
            <a:avLst/>
          </a:prstGeom>
          <a:solidFill>
            <a:srgbClr val="0064C8"/>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Rectangle 21">
            <a:extLst>
              <a:ext uri="{FF2B5EF4-FFF2-40B4-BE49-F238E27FC236}">
                <a16:creationId xmlns:a16="http://schemas.microsoft.com/office/drawing/2014/main" id="{410BC78B-A0BF-CF6C-B430-302CD195C628}"/>
              </a:ext>
            </a:extLst>
          </p:cNvPr>
          <p:cNvSpPr/>
          <p:nvPr>
            <p:custDataLst>
              <p:tags r:id="rId71"/>
            </p:custDataLst>
          </p:nvPr>
        </p:nvSpPr>
        <p:spPr bwMode="auto">
          <a:xfrm>
            <a:off x="5850730" y="3076798"/>
            <a:ext cx="142875" cy="106363"/>
          </a:xfrm>
          <a:prstGeom prst="rect">
            <a:avLst/>
          </a:prstGeom>
          <a:solidFill>
            <a:srgbClr val="1F497D"/>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Rectangle 22">
            <a:extLst>
              <a:ext uri="{FF2B5EF4-FFF2-40B4-BE49-F238E27FC236}">
                <a16:creationId xmlns:a16="http://schemas.microsoft.com/office/drawing/2014/main" id="{75160B3C-95D4-5B34-B8F4-08867B1BC365}"/>
              </a:ext>
            </a:extLst>
          </p:cNvPr>
          <p:cNvSpPr/>
          <p:nvPr>
            <p:custDataLst>
              <p:tags r:id="rId72"/>
            </p:custDataLst>
          </p:nvPr>
        </p:nvSpPr>
        <p:spPr bwMode="auto">
          <a:xfrm>
            <a:off x="5850730" y="3249835"/>
            <a:ext cx="142875" cy="106363"/>
          </a:xfrm>
          <a:prstGeom prst="rect">
            <a:avLst/>
          </a:prstGeom>
          <a:solidFill>
            <a:srgbClr val="C0E6F4"/>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Rectangle 23">
            <a:extLst>
              <a:ext uri="{FF2B5EF4-FFF2-40B4-BE49-F238E27FC236}">
                <a16:creationId xmlns:a16="http://schemas.microsoft.com/office/drawing/2014/main" id="{8F422199-A249-D9F4-EA2F-874DCC666AC3}"/>
              </a:ext>
            </a:extLst>
          </p:cNvPr>
          <p:cNvSpPr/>
          <p:nvPr>
            <p:custDataLst>
              <p:tags r:id="rId73"/>
            </p:custDataLst>
          </p:nvPr>
        </p:nvSpPr>
        <p:spPr bwMode="auto">
          <a:xfrm>
            <a:off x="5850730" y="3422873"/>
            <a:ext cx="142875" cy="106363"/>
          </a:xfrm>
          <a:prstGeom prst="rect">
            <a:avLst/>
          </a:prstGeom>
          <a:solidFill>
            <a:srgbClr val="80CCE8"/>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5" name="Rectangle 24">
            <a:extLst>
              <a:ext uri="{FF2B5EF4-FFF2-40B4-BE49-F238E27FC236}">
                <a16:creationId xmlns:a16="http://schemas.microsoft.com/office/drawing/2014/main" id="{0FC9FA47-DF50-CAC8-15BB-48C733AD4E19}"/>
              </a:ext>
            </a:extLst>
          </p:cNvPr>
          <p:cNvSpPr/>
          <p:nvPr>
            <p:custDataLst>
              <p:tags r:id="rId74"/>
            </p:custDataLst>
          </p:nvPr>
        </p:nvSpPr>
        <p:spPr bwMode="auto">
          <a:xfrm>
            <a:off x="8077993" y="2730723"/>
            <a:ext cx="142875" cy="106363"/>
          </a:xfrm>
          <a:prstGeom prst="rect">
            <a:avLst/>
          </a:prstGeom>
          <a:solidFill>
            <a:srgbClr val="364D6E"/>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Rectangle 25">
            <a:extLst>
              <a:ext uri="{FF2B5EF4-FFF2-40B4-BE49-F238E27FC236}">
                <a16:creationId xmlns:a16="http://schemas.microsoft.com/office/drawing/2014/main" id="{BBEA8F8E-3B65-D934-7996-D5FF2911477C}"/>
              </a:ext>
            </a:extLst>
          </p:cNvPr>
          <p:cNvSpPr/>
          <p:nvPr>
            <p:custDataLst>
              <p:tags r:id="rId75"/>
            </p:custDataLst>
          </p:nvPr>
        </p:nvSpPr>
        <p:spPr bwMode="auto">
          <a:xfrm>
            <a:off x="8077993" y="2903760"/>
            <a:ext cx="142875" cy="106363"/>
          </a:xfrm>
          <a:prstGeom prst="rect">
            <a:avLst/>
          </a:prstGeom>
          <a:solidFill>
            <a:srgbClr val="9DB1CF"/>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ectangle 28">
            <a:extLst>
              <a:ext uri="{FF2B5EF4-FFF2-40B4-BE49-F238E27FC236}">
                <a16:creationId xmlns:a16="http://schemas.microsoft.com/office/drawing/2014/main" id="{DE68C6D1-37A9-080D-1730-86CC56548824}"/>
              </a:ext>
            </a:extLst>
          </p:cNvPr>
          <p:cNvSpPr/>
          <p:nvPr>
            <p:custDataLst>
              <p:tags r:id="rId76"/>
            </p:custDataLst>
          </p:nvPr>
        </p:nvSpPr>
        <p:spPr bwMode="auto">
          <a:xfrm>
            <a:off x="8077993" y="3076798"/>
            <a:ext cx="142875" cy="106363"/>
          </a:xfrm>
          <a:prstGeom prst="rect">
            <a:avLst/>
          </a:prstGeom>
          <a:solidFill>
            <a:srgbClr val="DFE5EF"/>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Rectangle 29">
            <a:extLst>
              <a:ext uri="{FF2B5EF4-FFF2-40B4-BE49-F238E27FC236}">
                <a16:creationId xmlns:a16="http://schemas.microsoft.com/office/drawing/2014/main" id="{56427D31-6F6E-F577-6D5B-9C3E0F51147B}"/>
              </a:ext>
            </a:extLst>
          </p:cNvPr>
          <p:cNvSpPr/>
          <p:nvPr>
            <p:custDataLst>
              <p:tags r:id="rId77"/>
            </p:custDataLst>
          </p:nvPr>
        </p:nvSpPr>
        <p:spPr bwMode="auto">
          <a:xfrm>
            <a:off x="8077993" y="3249835"/>
            <a:ext cx="142875" cy="106363"/>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46" name="テキスト プレースホルダ 9">
            <a:extLst>
              <a:ext uri="{FF2B5EF4-FFF2-40B4-BE49-F238E27FC236}">
                <a16:creationId xmlns:a16="http://schemas.microsoft.com/office/drawing/2014/main" id="{5CA6E76C-E637-8D72-152B-22AE6F9D8DF4}"/>
              </a:ext>
            </a:extLst>
          </p:cNvPr>
          <p:cNvSpPr>
            <a:spLocks/>
          </p:cNvSpPr>
          <p:nvPr>
            <p:custDataLst>
              <p:tags r:id="rId78"/>
            </p:custDataLst>
          </p:nvPr>
        </p:nvSpPr>
        <p:spPr bwMode="auto">
          <a:xfrm>
            <a:off x="6044405" y="2725960"/>
            <a:ext cx="18462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800" dirty="0"/>
              <a:t>協同組合保険会社</a:t>
            </a:r>
            <a:endParaRPr lang="ja-JP" altLang="en-US" sz="800" dirty="0">
              <a:sym typeface="+mn-lt"/>
            </a:endParaRPr>
          </a:p>
        </p:txBody>
      </p:sp>
      <p:sp>
        <p:nvSpPr>
          <p:cNvPr id="460" name="テキスト プレースホルダ 9">
            <a:extLst>
              <a:ext uri="{FF2B5EF4-FFF2-40B4-BE49-F238E27FC236}">
                <a16:creationId xmlns:a16="http://schemas.microsoft.com/office/drawing/2014/main" id="{918CEFBC-99E2-5411-FF21-96558C2F1A45}"/>
              </a:ext>
            </a:extLst>
          </p:cNvPr>
          <p:cNvSpPr>
            <a:spLocks/>
          </p:cNvSpPr>
          <p:nvPr>
            <p:custDataLst>
              <p:tags r:id="rId79"/>
            </p:custDataLst>
          </p:nvPr>
        </p:nvSpPr>
        <p:spPr bwMode="auto">
          <a:xfrm>
            <a:off x="6044405" y="3418110"/>
            <a:ext cx="193198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800" dirty="0"/>
              <a:t>地中海・湾岸保険及び再保険会社</a:t>
            </a:r>
            <a:endParaRPr lang="ja-JP" altLang="en-US" sz="800" dirty="0">
              <a:sym typeface="+mn-lt"/>
            </a:endParaRPr>
          </a:p>
        </p:txBody>
      </p:sp>
      <p:sp>
        <p:nvSpPr>
          <p:cNvPr id="451" name="テキスト プレースホルダ 9">
            <a:extLst>
              <a:ext uri="{FF2B5EF4-FFF2-40B4-BE49-F238E27FC236}">
                <a16:creationId xmlns:a16="http://schemas.microsoft.com/office/drawing/2014/main" id="{CD3085D2-BCBA-43BE-FCA6-AC6F70CCDBEF}"/>
              </a:ext>
            </a:extLst>
          </p:cNvPr>
          <p:cNvSpPr>
            <a:spLocks/>
          </p:cNvSpPr>
          <p:nvPr>
            <p:custDataLst>
              <p:tags r:id="rId80"/>
            </p:custDataLst>
          </p:nvPr>
        </p:nvSpPr>
        <p:spPr bwMode="auto">
          <a:xfrm>
            <a:off x="6044405" y="2898998"/>
            <a:ext cx="5635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3A6C86-5F0D-49E6-B7E0-0B8055CEE557}" type="datetime'''''Bu''p''''a'' ''''Ar''a''''''''''''bi''''''''''a'''''''">
              <a:rPr lang="en-US" altLang="en-US" sz="800" smtClean="0"/>
              <a:pPr marL="0" indent="0">
                <a:spcBef>
                  <a:spcPct val="0"/>
                </a:spcBef>
                <a:buNone/>
              </a:pPr>
              <a:t>Bupa Arabia</a:t>
            </a:fld>
            <a:r>
              <a:rPr lang="ja-JP" altLang="en-US" sz="800" dirty="0"/>
              <a:t>社</a:t>
            </a:r>
            <a:endParaRPr lang="ja-JP" altLang="en-US" sz="800" dirty="0">
              <a:sym typeface="+mn-lt"/>
            </a:endParaRPr>
          </a:p>
        </p:txBody>
      </p:sp>
      <p:sp>
        <p:nvSpPr>
          <p:cNvPr id="454" name="テキスト プレースホルダ 9">
            <a:extLst>
              <a:ext uri="{FF2B5EF4-FFF2-40B4-BE49-F238E27FC236}">
                <a16:creationId xmlns:a16="http://schemas.microsoft.com/office/drawing/2014/main" id="{010FCD47-58E5-2BFC-23C9-83C7E751AAC4}"/>
              </a:ext>
            </a:extLst>
          </p:cNvPr>
          <p:cNvSpPr>
            <a:spLocks/>
          </p:cNvSpPr>
          <p:nvPr>
            <p:custDataLst>
              <p:tags r:id="rId81"/>
            </p:custDataLst>
          </p:nvPr>
        </p:nvSpPr>
        <p:spPr bwMode="auto">
          <a:xfrm>
            <a:off x="6044405" y="3072035"/>
            <a:ext cx="7143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25E9C07-0FB8-42AE-88F9-AB6DB628504F}" type="datetime'''A''l ''''''''''''Ra''j''''hi'' ''''Takaf''''''''ul'">
              <a:rPr lang="en-US" altLang="en-US" sz="800" smtClean="0"/>
              <a:pPr marL="0" indent="0">
                <a:spcBef>
                  <a:spcPct val="0"/>
                </a:spcBef>
                <a:buNone/>
              </a:pPr>
              <a:t>Al Rajhi Takaful</a:t>
            </a:fld>
            <a:r>
              <a:rPr lang="ja-JP" altLang="en-US" sz="800" dirty="0"/>
              <a:t>社</a:t>
            </a:r>
            <a:endParaRPr lang="ja-JP" altLang="en-US" sz="800" dirty="0">
              <a:sym typeface="+mn-lt"/>
            </a:endParaRPr>
          </a:p>
        </p:txBody>
      </p:sp>
      <p:sp>
        <p:nvSpPr>
          <p:cNvPr id="457" name="テキスト プレースホルダ 9">
            <a:extLst>
              <a:ext uri="{FF2B5EF4-FFF2-40B4-BE49-F238E27FC236}">
                <a16:creationId xmlns:a16="http://schemas.microsoft.com/office/drawing/2014/main" id="{060FB851-AB3E-5049-DC4E-388FF93E8B94}"/>
              </a:ext>
            </a:extLst>
          </p:cNvPr>
          <p:cNvSpPr>
            <a:spLocks/>
          </p:cNvSpPr>
          <p:nvPr>
            <p:custDataLst>
              <p:tags r:id="rId82"/>
            </p:custDataLst>
          </p:nvPr>
        </p:nvSpPr>
        <p:spPr bwMode="auto">
          <a:xfrm>
            <a:off x="6044405" y="3245073"/>
            <a:ext cx="18113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err="1">
                <a:sym typeface="+mn-lt"/>
              </a:rPr>
              <a:t>Waala</a:t>
            </a:r>
            <a:r>
              <a:rPr lang="ja-JP" altLang="en-US" sz="800" dirty="0">
                <a:sym typeface="+mn-lt"/>
              </a:rPr>
              <a:t>社</a:t>
            </a:r>
          </a:p>
        </p:txBody>
      </p:sp>
      <p:sp>
        <p:nvSpPr>
          <p:cNvPr id="473" name="テキスト プレースホルダ 9">
            <a:extLst>
              <a:ext uri="{FF2B5EF4-FFF2-40B4-BE49-F238E27FC236}">
                <a16:creationId xmlns:a16="http://schemas.microsoft.com/office/drawing/2014/main" id="{06DA232B-FA46-BD7D-A49F-BAC8841CF1C9}"/>
              </a:ext>
            </a:extLst>
          </p:cNvPr>
          <p:cNvSpPr>
            <a:spLocks/>
          </p:cNvSpPr>
          <p:nvPr>
            <p:custDataLst>
              <p:tags r:id="rId83"/>
            </p:custDataLst>
          </p:nvPr>
        </p:nvSpPr>
        <p:spPr bwMode="auto">
          <a:xfrm>
            <a:off x="8271668" y="3072035"/>
            <a:ext cx="13858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United</a:t>
            </a:r>
            <a:r>
              <a:rPr lang="ja-JP" altLang="en-US" sz="800" dirty="0"/>
              <a:t>協同組合保険</a:t>
            </a:r>
            <a:endParaRPr lang="ja-JP" altLang="en-US" sz="800" dirty="0">
              <a:sym typeface="+mn-lt"/>
            </a:endParaRPr>
          </a:p>
        </p:txBody>
      </p:sp>
      <p:sp>
        <p:nvSpPr>
          <p:cNvPr id="465" name="テキスト プレースホルダ 9">
            <a:extLst>
              <a:ext uri="{FF2B5EF4-FFF2-40B4-BE49-F238E27FC236}">
                <a16:creationId xmlns:a16="http://schemas.microsoft.com/office/drawing/2014/main" id="{E171C4E9-81C7-A510-CA3D-6933C742B889}"/>
              </a:ext>
            </a:extLst>
          </p:cNvPr>
          <p:cNvSpPr>
            <a:spLocks/>
          </p:cNvSpPr>
          <p:nvPr>
            <p:custDataLst>
              <p:tags r:id="rId84"/>
            </p:custDataLst>
          </p:nvPr>
        </p:nvSpPr>
        <p:spPr bwMode="auto">
          <a:xfrm>
            <a:off x="8271668" y="2725960"/>
            <a:ext cx="13287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800" dirty="0">
                <a:sym typeface="+mn-lt"/>
              </a:rPr>
              <a:t>サウジ再保険会社</a:t>
            </a:r>
          </a:p>
        </p:txBody>
      </p:sp>
      <p:sp>
        <p:nvSpPr>
          <p:cNvPr id="469" name="テキスト プレースホルダ 9">
            <a:extLst>
              <a:ext uri="{FF2B5EF4-FFF2-40B4-BE49-F238E27FC236}">
                <a16:creationId xmlns:a16="http://schemas.microsoft.com/office/drawing/2014/main" id="{6730B0BB-0B9D-C31B-6F85-A1B6B78AA319}"/>
              </a:ext>
            </a:extLst>
          </p:cNvPr>
          <p:cNvSpPr>
            <a:spLocks/>
          </p:cNvSpPr>
          <p:nvPr>
            <p:custDataLst>
              <p:tags r:id="rId85"/>
            </p:custDataLst>
          </p:nvPr>
        </p:nvSpPr>
        <p:spPr bwMode="auto">
          <a:xfrm>
            <a:off x="8271668" y="2898998"/>
            <a:ext cx="9779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Gulf</a:t>
            </a:r>
            <a:r>
              <a:rPr lang="ja-JP" altLang="en-US" sz="800" dirty="0"/>
              <a:t>保険グループ</a:t>
            </a:r>
            <a:endParaRPr lang="ja-JP" altLang="en-US" sz="800" dirty="0">
              <a:sym typeface="+mn-lt"/>
            </a:endParaRPr>
          </a:p>
        </p:txBody>
      </p:sp>
      <p:sp>
        <p:nvSpPr>
          <p:cNvPr id="477" name="テキスト プレースホルダ 9">
            <a:extLst>
              <a:ext uri="{FF2B5EF4-FFF2-40B4-BE49-F238E27FC236}">
                <a16:creationId xmlns:a16="http://schemas.microsoft.com/office/drawing/2014/main" id="{DC5822D8-A788-9138-7A73-751CBEB34197}"/>
              </a:ext>
            </a:extLst>
          </p:cNvPr>
          <p:cNvSpPr>
            <a:spLocks/>
          </p:cNvSpPr>
          <p:nvPr>
            <p:custDataLst>
              <p:tags r:id="rId86"/>
            </p:custDataLst>
          </p:nvPr>
        </p:nvSpPr>
        <p:spPr bwMode="auto">
          <a:xfrm>
            <a:off x="8271668" y="3245073"/>
            <a:ext cx="2841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800" dirty="0">
                <a:sym typeface="+mn-lt"/>
              </a:rPr>
              <a:t>その他</a:t>
            </a:r>
          </a:p>
        </p:txBody>
      </p:sp>
      <p:sp>
        <p:nvSpPr>
          <p:cNvPr id="448" name="TextBox 447">
            <a:extLst>
              <a:ext uri="{FF2B5EF4-FFF2-40B4-BE49-F238E27FC236}">
                <a16:creationId xmlns:a16="http://schemas.microsoft.com/office/drawing/2014/main" id="{08272F1D-3D71-C6D8-AE63-2EF001468F15}"/>
              </a:ext>
            </a:extLst>
          </p:cNvPr>
          <p:cNvSpPr txBox="1"/>
          <p:nvPr/>
        </p:nvSpPr>
        <p:spPr>
          <a:xfrm>
            <a:off x="200025" y="2462699"/>
            <a:ext cx="1893888" cy="246221"/>
          </a:xfrm>
          <a:prstGeom prst="rect">
            <a:avLst/>
          </a:prstGeom>
          <a:noFill/>
        </p:spPr>
        <p:txBody>
          <a:bodyPr wrap="squar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億サウジアラビア・リヤル）</a:t>
            </a:r>
          </a:p>
        </p:txBody>
      </p:sp>
    </p:spTree>
    <p:extLst>
      <p:ext uri="{BB962C8B-B14F-4D97-AF65-F5344CB8AC3E}">
        <p14:creationId xmlns:p14="http://schemas.microsoft.com/office/powerpoint/2010/main" val="4572466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98837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2" name="Chart 41">
            <a:extLst>
              <a:ext uri="{FF2B5EF4-FFF2-40B4-BE49-F238E27FC236}">
                <a16:creationId xmlns:a16="http://schemas.microsoft.com/office/drawing/2014/main" id="{CD0E6959-E584-984E-0622-31E6F1D873C4}"/>
              </a:ext>
            </a:extLst>
          </p:cNvPr>
          <p:cNvGraphicFramePr/>
          <p:nvPr>
            <p:custDataLst>
              <p:tags r:id="rId2"/>
            </p:custDataLst>
            <p:extLst>
              <p:ext uri="{D42A27DB-BD31-4B8C-83A1-F6EECF244321}">
                <p14:modId xmlns:p14="http://schemas.microsoft.com/office/powerpoint/2010/main" val="464541075"/>
              </p:ext>
            </p:extLst>
          </p:nvPr>
        </p:nvGraphicFramePr>
        <p:xfrm>
          <a:off x="574675" y="2925763"/>
          <a:ext cx="8853488" cy="350678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17813"/>
            <a:ext cx="8293100" cy="27924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4"/>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5"/>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6"/>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7"/>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8"/>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9"/>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0"/>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2"/>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3"/>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4"/>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5"/>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6"/>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7"/>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8"/>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9"/>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0"/>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3"/>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6241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A4F7EA79-57FF-44E7-8CBD-E8CA3FC1209A}" type="datetime'''''''+''''''''2''''''''''''''''''0%'''''''''''''''''''''''">
              <a:rPr lang="en-US" altLang="en-US" sz="1400" b="1" smtClean="0">
                <a:effectLst/>
              </a:rPr>
              <a:pPr/>
              <a:t>+20%</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n Monetary Authority (SAM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で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サウジアラビ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民間保険医療市場は、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以上に成長している。</a:t>
            </a:r>
          </a:p>
        </p:txBody>
      </p:sp>
    </p:spTree>
    <p:extLst>
      <p:ext uri="{BB962C8B-B14F-4D97-AF65-F5344CB8AC3E}">
        <p14:creationId xmlns:p14="http://schemas.microsoft.com/office/powerpoint/2010/main" val="9404757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F08F8E-FBEE-4C2D-AAC2-4C5751F1AB6C}"/>
              </a:ext>
            </a:extLst>
          </p:cNvPr>
          <p:cNvGraphicFramePr>
            <a:graphicFrameLocks noChangeAspect="1"/>
          </p:cNvGraphicFramePr>
          <p:nvPr>
            <p:custDataLst>
              <p:tags r:id="rId1"/>
            </p:custDataLst>
            <p:extLst>
              <p:ext uri="{D42A27DB-BD31-4B8C-83A1-F6EECF244321}">
                <p14:modId xmlns:p14="http://schemas.microsoft.com/office/powerpoint/2010/main" val="90081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Object 5" hidden="1">
                        <a:extLst>
                          <a:ext uri="{FF2B5EF4-FFF2-40B4-BE49-F238E27FC236}">
                            <a16:creationId xmlns:a16="http://schemas.microsoft.com/office/drawing/2014/main" id="{0BF08F8E-FBEE-4C2D-AAC2-4C5751F1AB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会社（</a:t>
            </a:r>
            <a:r>
              <a:rPr lang="en-US" altLang="ja-JP" dirty="0"/>
              <a:t>1/2</a:t>
            </a:r>
            <a:r>
              <a:rPr lang="ja-JP" altLang="en-US" dirty="0"/>
              <a:t>）</a:t>
            </a:r>
            <a:endParaRPr lang="en-US" altLang="ja-JP" dirty="0"/>
          </a:p>
        </p:txBody>
      </p:sp>
      <p:sp>
        <p:nvSpPr>
          <p:cNvPr id="5" name="テキスト ボックス 4"/>
          <p:cNvSpPr txBox="1"/>
          <p:nvPr/>
        </p:nvSpPr>
        <p:spPr>
          <a:xfrm>
            <a:off x="200472" y="1124744"/>
            <a:ext cx="9505056" cy="465769"/>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zh-TW" altLang="en-US" sz="1400" dirty="0">
                <a:solidFill>
                  <a:srgbClr val="000000"/>
                </a:solidFill>
                <a:latin typeface="ＭＳ Ｐゴシック" panose="020B0600070205080204" pitchFamily="50" charset="-128"/>
                <a:cs typeface="Arial" panose="020B0604020202020204" pitchFamily="34" charset="0"/>
              </a:rPr>
              <a:t>共同保険健康評議会（</a:t>
            </a:r>
            <a:r>
              <a:rPr lang="en-US" altLang="zh-TW" sz="1400" dirty="0">
                <a:solidFill>
                  <a:srgbClr val="000000"/>
                </a:solidFill>
                <a:latin typeface="ＭＳ Ｐゴシック" panose="020B0600070205080204" pitchFamily="50" charset="-128"/>
                <a:cs typeface="Arial" panose="020B0604020202020204" pitchFamily="34" charset="0"/>
              </a:rPr>
              <a:t>CHIC</a:t>
            </a:r>
            <a:r>
              <a:rPr lang="zh-TW" altLang="en-US" sz="1400" dirty="0">
                <a:solidFill>
                  <a:srgbClr val="000000"/>
                </a:solidFill>
                <a:latin typeface="ＭＳ Ｐゴシック" panose="020B0600070205080204" pitchFamily="50" charset="-128"/>
                <a:cs typeface="Arial" panose="020B0604020202020204" pitchFamily="34" charset="0"/>
              </a:rPr>
              <a:t>）</a:t>
            </a:r>
            <a:r>
              <a:rPr lang="ja-JP" altLang="en-US" sz="1400" dirty="0" err="1">
                <a:solidFill>
                  <a:srgbClr val="000000"/>
                </a:solidFill>
                <a:latin typeface="ＭＳ Ｐゴシック" panose="020B0600070205080204" pitchFamily="50" charset="-128"/>
                <a:cs typeface="Arial" panose="020B0604020202020204" pitchFamily="34" charset="0"/>
              </a:rPr>
              <a:t>が認</a:t>
            </a:r>
            <a:r>
              <a:rPr lang="ja-JP" altLang="en-US" sz="1400" dirty="0">
                <a:solidFill>
                  <a:srgbClr val="000000"/>
                </a:solidFill>
                <a:latin typeface="ＭＳ Ｐゴシック" panose="020B0600070205080204" pitchFamily="50" charset="-128"/>
                <a:cs typeface="Arial" panose="020B0604020202020204" pitchFamily="34" charset="0"/>
              </a:rPr>
              <a:t>証した保険会社（</a:t>
            </a:r>
            <a:r>
              <a:rPr lang="en-US" altLang="ja-JP" sz="1400" dirty="0">
                <a:solidFill>
                  <a:srgbClr val="000000"/>
                </a:solidFill>
                <a:latin typeface="ＭＳ Ｐゴシック" panose="020B0600070205080204" pitchFamily="50" charset="-128"/>
                <a:cs typeface="Arial" panose="020B0604020202020204" pitchFamily="34" charset="0"/>
              </a:rPr>
              <a:t>Health-Care Services Provider</a:t>
            </a:r>
            <a:r>
              <a:rPr lang="ja-JP" altLang="en-US" sz="1400" dirty="0">
                <a:solidFill>
                  <a:srgbClr val="000000"/>
                </a:solidFill>
                <a:latin typeface="ＭＳ Ｐゴシック" panose="020B0600070205080204" pitchFamily="50" charset="-128"/>
                <a:cs typeface="Arial" panose="020B0604020202020204" pitchFamily="34" charset="0"/>
              </a:rPr>
              <a:t>）</a:t>
            </a:r>
            <a:r>
              <a:rPr lang="en-US" altLang="ja-JP" sz="1400" dirty="0">
                <a:solidFill>
                  <a:srgbClr val="000000"/>
                </a:solidFill>
                <a:latin typeface="ＭＳ Ｐゴシック" panose="020B0600070205080204" pitchFamily="50" charset="-128"/>
                <a:cs typeface="Arial" panose="020B0604020202020204" pitchFamily="34" charset="0"/>
              </a:rPr>
              <a:t>27</a:t>
            </a:r>
            <a:r>
              <a:rPr lang="ja-JP" altLang="en-US" sz="1400" dirty="0">
                <a:solidFill>
                  <a:srgbClr val="000000"/>
                </a:solidFill>
                <a:latin typeface="ＭＳ Ｐゴシック" panose="020B0600070205080204" pitchFamily="50" charset="-128"/>
                <a:cs typeface="Arial" panose="020B0604020202020204" pitchFamily="34" charset="0"/>
              </a:rPr>
              <a:t>社は、以下の通り。</a:t>
            </a:r>
            <a:endParaRPr lang="en-US" altLang="ja-JP" sz="1400" dirty="0">
              <a:solidFill>
                <a:srgbClr val="000000"/>
              </a:solidFill>
              <a:latin typeface="ＭＳ Ｐゴシック" panose="020B0600070205080204" pitchFamily="50" charset="-128"/>
              <a:cs typeface="Arial" panose="020B0604020202020204" pitchFamily="34" charset="0"/>
            </a:endParaRPr>
          </a:p>
          <a:p>
            <a:pPr marL="647700" lvl="1" indent="-190500">
              <a:lnSpc>
                <a:spcPct val="110000"/>
              </a:lnSpc>
              <a:spcAft>
                <a:spcPts val="200"/>
              </a:spcAft>
              <a:buClr>
                <a:srgbClr val="5F8AC3"/>
              </a:buClr>
              <a:buFont typeface="Wingdings" panose="05000000000000000000" pitchFamily="2" charset="2"/>
              <a:buChar char="l"/>
            </a:pPr>
            <a:r>
              <a:rPr lang="ja-JP" altLang="en-US" sz="1200" dirty="0">
                <a:solidFill>
                  <a:srgbClr val="000000"/>
                </a:solidFill>
                <a:latin typeface="ＭＳ Ｐゴシック" panose="020B0600070205080204" pitchFamily="50" charset="-128"/>
                <a:cs typeface="Arial" panose="020B0604020202020204" pitchFamily="34" charset="0"/>
              </a:rPr>
              <a:t>外国資本が含まれる保険会社もあり、東京海上日動火災保険（東京海上）が出資する</a:t>
            </a:r>
            <a:r>
              <a:rPr lang="en-US" altLang="ja-JP" sz="1200" dirty="0" err="1">
                <a:solidFill>
                  <a:srgbClr val="000000"/>
                </a:solidFill>
                <a:latin typeface="ＭＳ Ｐゴシック" panose="020B0600070205080204" pitchFamily="50" charset="-128"/>
                <a:ea typeface="ＭＳ Ｐゴシック" panose="020B0600070205080204" pitchFamily="50" charset="-128"/>
              </a:rPr>
              <a:t>Alinma</a:t>
            </a:r>
            <a:r>
              <a:rPr lang="en-US" altLang="ja-JP" sz="1200" dirty="0">
                <a:solidFill>
                  <a:srgbClr val="000000"/>
                </a:solidFill>
                <a:latin typeface="ＭＳ Ｐゴシック" panose="020B0600070205080204" pitchFamily="50" charset="-128"/>
                <a:ea typeface="ＭＳ Ｐゴシック" panose="020B0600070205080204" pitchFamily="50" charset="-128"/>
              </a:rPr>
              <a:t> </a:t>
            </a:r>
            <a:r>
              <a:rPr lang="en-US" altLang="ja-JP" sz="1200" dirty="0" err="1">
                <a:solidFill>
                  <a:srgbClr val="000000"/>
                </a:solidFill>
                <a:latin typeface="ＭＳ Ｐゴシック" panose="020B0600070205080204" pitchFamily="50" charset="-128"/>
                <a:ea typeface="ＭＳ Ｐゴシック" panose="020B0600070205080204" pitchFamily="50" charset="-128"/>
              </a:rPr>
              <a:t>Tokio</a:t>
            </a:r>
            <a:r>
              <a:rPr lang="en-US" altLang="ja-JP" sz="1200" dirty="0">
                <a:solidFill>
                  <a:srgbClr val="000000"/>
                </a:solidFill>
                <a:latin typeface="ＭＳ Ｐゴシック" panose="020B0600070205080204" pitchFamily="50" charset="-128"/>
                <a:ea typeface="ＭＳ Ｐゴシック" panose="020B0600070205080204" pitchFamily="50" charset="-128"/>
              </a:rPr>
              <a:t> Marine</a:t>
            </a:r>
            <a:r>
              <a:rPr lang="ja-JP" altLang="en-US" sz="1200" dirty="0">
                <a:solidFill>
                  <a:srgbClr val="000000"/>
                </a:solidFill>
                <a:latin typeface="ＭＳ Ｐゴシック" panose="020B0600070205080204" pitchFamily="50" charset="-128"/>
                <a:ea typeface="ＭＳ Ｐゴシック" panose="020B0600070205080204" pitchFamily="50" charset="-128"/>
              </a:rPr>
              <a:t>も</a:t>
            </a:r>
            <a:r>
              <a:rPr lang="en-US" altLang="ja-JP" sz="1200" dirty="0">
                <a:solidFill>
                  <a:srgbClr val="000000"/>
                </a:solidFill>
                <a:latin typeface="ＭＳ Ｐゴシック" panose="020B0600070205080204" pitchFamily="50" charset="-128"/>
                <a:ea typeface="ＭＳ Ｐゴシック" panose="020B0600070205080204" pitchFamily="50" charset="-128"/>
              </a:rPr>
              <a:t>27</a:t>
            </a:r>
            <a:r>
              <a:rPr lang="ja-JP" altLang="en-US" sz="1200" dirty="0">
                <a:solidFill>
                  <a:srgbClr val="000000"/>
                </a:solidFill>
                <a:latin typeface="ＭＳ Ｐゴシック" panose="020B0600070205080204" pitchFamily="50" charset="-128"/>
                <a:ea typeface="ＭＳ Ｐゴシック" panose="020B0600070205080204" pitchFamily="50" charset="-128"/>
              </a:rPr>
              <a:t>社に含まれている。</a:t>
            </a:r>
            <a:endParaRPr lang="en-US" altLang="ja-JP" sz="1200" dirty="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ボックス 53"/>
          <p:cNvSpPr txBox="1"/>
          <p:nvPr/>
        </p:nvSpPr>
        <p:spPr>
          <a:xfrm>
            <a:off x="200471" y="6669360"/>
            <a:ext cx="9505503"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サウジアラビア協同保険評議会</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ja-JP" altLang="en-US" sz="800" dirty="0">
                <a:solidFill>
                  <a:srgbClr val="000000"/>
                </a:solidFill>
                <a:cs typeface="Arial" panose="020B0604020202020204" pitchFamily="34" charset="0"/>
              </a:rPr>
              <a:t>各社</a:t>
            </a:r>
            <a:r>
              <a:rPr lang="en-US" altLang="ja-JP" sz="800" dirty="0">
                <a:solidFill>
                  <a:srgbClr val="000000"/>
                </a:solidFill>
                <a:cs typeface="Arial" panose="020B0604020202020204" pitchFamily="34" charset="0"/>
              </a:rPr>
              <a:t>HP</a:t>
            </a:r>
            <a:endParaRPr lang="ja-JP" altLang="en-US" sz="800" dirty="0">
              <a:solidFill>
                <a:srgbClr val="000000"/>
              </a:solidFill>
              <a:cs typeface="Arial" panose="020B0604020202020204" pitchFamily="34" charset="0"/>
            </a:endParaRPr>
          </a:p>
        </p:txBody>
      </p:sp>
      <p:graphicFrame>
        <p:nvGraphicFramePr>
          <p:cNvPr id="13" name="Group 1026"/>
          <p:cNvGraphicFramePr>
            <a:graphicFrameLocks noGrp="1"/>
          </p:cNvGraphicFramePr>
          <p:nvPr>
            <p:extLst>
              <p:ext uri="{D42A27DB-BD31-4B8C-83A1-F6EECF244321}">
                <p14:modId xmlns:p14="http://schemas.microsoft.com/office/powerpoint/2010/main" val="1816239242"/>
              </p:ext>
            </p:extLst>
          </p:nvPr>
        </p:nvGraphicFramePr>
        <p:xfrm>
          <a:off x="200472" y="1845635"/>
          <a:ext cx="9505056" cy="4644390"/>
        </p:xfrm>
        <a:graphic>
          <a:graphicData uri="http://schemas.openxmlformats.org/drawingml/2006/table">
            <a:tbl>
              <a:tblPr/>
              <a:tblGrid>
                <a:gridCol w="4530725">
                  <a:extLst>
                    <a:ext uri="{9D8B030D-6E8A-4147-A177-3AD203B41FA5}">
                      <a16:colId xmlns:a16="http://schemas.microsoft.com/office/drawing/2014/main" val="20000"/>
                    </a:ext>
                  </a:extLst>
                </a:gridCol>
                <a:gridCol w="4974331">
                  <a:extLst>
                    <a:ext uri="{9D8B030D-6E8A-4147-A177-3AD203B41FA5}">
                      <a16:colId xmlns:a16="http://schemas.microsoft.com/office/drawing/2014/main" val="20001"/>
                    </a:ext>
                  </a:extLst>
                </a:gridCol>
              </a:tblGrid>
              <a:tr h="57424">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企業名</a:t>
                      </a:r>
                      <a:endParaRPr kumimoji="1" lang="en-US" altLang="ja-JP"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主な出資外国企業（国籍）、持株比率</a:t>
                      </a:r>
                      <a:r>
                        <a:rPr kumimoji="1" lang="en-US" altLang="ja-JP" sz="900" b="0" i="0" u="none" strike="noStrike" cap="none" normalizeH="0" baseline="30000" dirty="0">
                          <a:ln>
                            <a:noFill/>
                          </a:ln>
                          <a:solidFill>
                            <a:schemeClr val="bg1"/>
                          </a:solidFill>
                          <a:effectLst/>
                          <a:latin typeface="HGP創英角ｺﾞｼｯｸUB" panose="020B0900000000000000" pitchFamily="50" charset="-128"/>
                          <a:ea typeface="HGP創英角ｺﾞｼｯｸUB" panose="020B0900000000000000" pitchFamily="50" charset="-128"/>
                        </a:rPr>
                        <a:t>※</a:t>
                      </a:r>
                    </a:p>
                  </a:txBody>
                  <a:tcPr marL="89992" marR="89992"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he Mediterranean &amp; Gulf Cooperative Insurance &amp; Reinsurance Company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edGulf</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ed Cooperative Insurance Group(ACIG)</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ed Cooperative Insurance Group</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0.0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9263">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hli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isr</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Life Insurance</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ジプト）：</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625%</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Tawuni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general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United Cooperative Insurance (WALA'A)</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International General Insurance Co. Ltd.</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ヨルダ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7.49%</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lami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ctr" latinLnBrk="0" hangingPunct="1">
                        <a:lnSpc>
                          <a:spcPct val="95000"/>
                        </a:lnSpc>
                        <a:spcBef>
                          <a:spcPts val="0"/>
                        </a:spcBef>
                        <a:spcAft>
                          <a:spcPts val="0"/>
                        </a:spcAft>
                        <a:buClrTx/>
                        <a:buSzTx/>
                        <a:buFontTx/>
                        <a:buNone/>
                        <a:tabLst/>
                        <a:defRPr/>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rabian cooperative Insurance Company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ico</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rabian Cooperative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30.0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United Cooperative Assurance Company (UCA)</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Union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MANA for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XA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クサ（フランス）：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0.0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67792">
                <a:tc>
                  <a:txBody>
                    <a:bodyPr/>
                    <a:lstStyle/>
                    <a:p>
                      <a:pPr algn="l" rtl="1"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linma</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Tokio</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Marine</a:t>
                      </a:r>
                      <a:r>
                        <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 </a:t>
                      </a:r>
                      <a:r>
                        <a:rPr lang="en-US" altLang="ja-JP"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Company</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ar-AE" sz="1000" b="0" i="0" u="none" strike="noStrike" dirty="0">
                          <a:solidFill>
                            <a:srgbClr val="000000"/>
                          </a:solidFill>
                          <a:effectLst/>
                          <a:latin typeface="ＭＳ Ｐゴシック" panose="020B0600070205080204" pitchFamily="50" charset="-128"/>
                          <a:ea typeface="ＭＳ Ｐゴシック" panose="020B0600070205080204" pitchFamily="50" charset="-128"/>
                        </a:rPr>
                        <a:t>شركة الأنماء طوكيو مارين</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rtl="1" fontAlgn="ctr">
                        <a:lnSpc>
                          <a:spcPct val="95000"/>
                        </a:lnSpc>
                      </a:pP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東京海上日動火災保険（日本）： </a:t>
                      </a:r>
                      <a:r>
                        <a:rPr lang="en-US" altLang="zh-TW" sz="1000" b="0" i="0" u="none" strike="noStrike" dirty="0">
                          <a:solidFill>
                            <a:srgbClr val="000000"/>
                          </a:solidFill>
                          <a:effectLst/>
                          <a:latin typeface="ＭＳ Ｐゴシック" panose="020B0600070205080204" pitchFamily="50" charset="-128"/>
                          <a:ea typeface="ＭＳ Ｐゴシック" panose="020B0600070205080204" pitchFamily="50" charset="-128"/>
                        </a:rPr>
                        <a:t>28.7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rade Union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 Insurance Cooperativ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 Insurance Co</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レバノ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Jordan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ヨルダン）</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n Shield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Rajhi</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mpany for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it-IT"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Rajhi Insurance Co. Ltd.</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6.5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gr</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8"/>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anz Saudi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Fransi</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9"/>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Buruj</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クウェート）：</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2.5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BUPA Arabia for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1"/>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lam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2"/>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olidarity Saudi Takaful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3"/>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Ena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4"/>
                  </a:ext>
                </a:extLst>
              </a:tr>
              <a:tr h="131596">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MetLife AIG ANB for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merican Life Insurance Company （</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30.00%</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IG MEA Investments and Services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Inc</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 ：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0.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alath</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amp; Re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6"/>
                  </a:ext>
                </a:extLst>
              </a:tr>
              <a:tr h="131596">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Waf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he New India Assurance Co. Ltd</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Life Insurance Corporation of India</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lnSpc>
                          <a:spcPct val="95000"/>
                        </a:lnSpc>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LIC International </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7"/>
                  </a:ext>
                </a:extLst>
              </a:tr>
            </a:tbl>
          </a:graphicData>
        </a:graphic>
      </p:graphicFrame>
      <p:grpSp>
        <p:nvGrpSpPr>
          <p:cNvPr id="15" name="グループ化 7"/>
          <p:cNvGrpSpPr/>
          <p:nvPr/>
        </p:nvGrpSpPr>
        <p:grpSpPr>
          <a:xfrm>
            <a:off x="200471" y="1598929"/>
            <a:ext cx="9505503" cy="288032"/>
            <a:chOff x="4803500" y="2113806"/>
            <a:chExt cx="2954133" cy="288032"/>
          </a:xfrm>
        </p:grpSpPr>
        <p:cxnSp>
          <p:nvCxnSpPr>
            <p:cNvPr id="16" name="直線コネクタ 15"/>
            <p:cNvCxnSpPr/>
            <p:nvPr/>
          </p:nvCxnSpPr>
          <p:spPr>
            <a:xfrm>
              <a:off x="4808984" y="2329830"/>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共同保険健康評議会（</a:t>
              </a:r>
              <a:r>
                <a:rPr lang="en-US" altLang="ja-JP" sz="1400" dirty="0">
                  <a:solidFill>
                    <a:srgbClr val="000000"/>
                  </a:solidFill>
                  <a:latin typeface="Arial Black" pitchFamily="34" charset="0"/>
                  <a:ea typeface="HGP創英角ｺﾞｼｯｸUB" pitchFamily="50" charset="-128"/>
                </a:rPr>
                <a:t>CHIC</a:t>
              </a:r>
              <a:r>
                <a:rPr lang="ja-JP" altLang="en-US" sz="1400" dirty="0">
                  <a:solidFill>
                    <a:srgbClr val="000000"/>
                  </a:solidFill>
                  <a:latin typeface="Arial Black" pitchFamily="34" charset="0"/>
                  <a:ea typeface="HGP創英角ｺﾞｼｯｸUB" pitchFamily="50" charset="-128"/>
                </a:rPr>
                <a:t>）が認証する保険会社一覧と主な出資外国企業（</a:t>
              </a:r>
              <a:r>
                <a:rPr lang="en-US" altLang="ja-JP" sz="1400" dirty="0">
                  <a:solidFill>
                    <a:srgbClr val="000000"/>
                  </a:solidFill>
                  <a:latin typeface="Arial Black" pitchFamily="34" charset="0"/>
                  <a:ea typeface="HGP創英角ｺﾞｼｯｸUB" pitchFamily="50" charset="-128"/>
                </a:rPr>
                <a:t>2016</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11</a:t>
              </a:r>
              <a:r>
                <a:rPr lang="ja-JP" altLang="en-US" sz="1400" dirty="0">
                  <a:solidFill>
                    <a:srgbClr val="000000"/>
                  </a:solidFill>
                  <a:latin typeface="Arial Black" pitchFamily="34" charset="0"/>
                  <a:ea typeface="HGP創英角ｺﾞｼｯｸUB" pitchFamily="50" charset="-128"/>
                </a:rPr>
                <a:t>月時点）</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43" name="テキスト ボックス 42"/>
          <p:cNvSpPr txBox="1"/>
          <p:nvPr/>
        </p:nvSpPr>
        <p:spPr>
          <a:xfrm>
            <a:off x="2792760" y="6633646"/>
            <a:ext cx="1872208"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持株比率の記載がないものは、不明。</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602295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0318B9-59B7-4ACF-9BC2-AA17F4108C90}"/>
              </a:ext>
            </a:extLst>
          </p:cNvPr>
          <p:cNvGraphicFramePr>
            <a:graphicFrameLocks noChangeAspect="1"/>
          </p:cNvGraphicFramePr>
          <p:nvPr>
            <p:custDataLst>
              <p:tags r:id="rId1"/>
            </p:custDataLst>
            <p:extLst>
              <p:ext uri="{D42A27DB-BD31-4B8C-83A1-F6EECF244321}">
                <p14:modId xmlns:p14="http://schemas.microsoft.com/office/powerpoint/2010/main" val="3121021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Object 5" hidden="1">
                        <a:extLst>
                          <a:ext uri="{FF2B5EF4-FFF2-40B4-BE49-F238E27FC236}">
                            <a16:creationId xmlns:a16="http://schemas.microsoft.com/office/drawing/2014/main" id="{830318B9-59B7-4ACF-9BC2-AA17F4108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会社（</a:t>
            </a:r>
            <a:r>
              <a:rPr lang="en-US" altLang="ja-JP" dirty="0"/>
              <a:t>2/2</a:t>
            </a:r>
            <a:r>
              <a:rPr lang="ja-JP" altLang="en-US" dirty="0"/>
              <a:t>）</a:t>
            </a:r>
            <a:endParaRPr lang="en-US" altLang="ja-JP"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の投資銀行</a:t>
            </a:r>
            <a:r>
              <a:rPr lang="en-US" altLang="ja-JP" sz="1400" dirty="0" err="1">
                <a:solidFill>
                  <a:srgbClr val="000000"/>
                </a:solidFill>
                <a:cs typeface="Arial" panose="020B0604020202020204" pitchFamily="34" charset="0"/>
              </a:rPr>
              <a:t>Albilad</a:t>
            </a:r>
            <a:r>
              <a:rPr lang="en-US" altLang="ja-JP" sz="1400" dirty="0">
                <a:solidFill>
                  <a:srgbClr val="000000"/>
                </a:solidFill>
                <a:cs typeface="Arial" panose="020B0604020202020204" pitchFamily="34" charset="0"/>
              </a:rPr>
              <a:t> Capital​</a:t>
            </a:r>
            <a:r>
              <a:rPr lang="ja-JP" altLang="en-US" sz="1400" dirty="0">
                <a:solidFill>
                  <a:srgbClr val="000000"/>
                </a:solidFill>
                <a:cs typeface="Arial" panose="020B0604020202020204" pitchFamily="34" charset="0"/>
              </a:rPr>
              <a:t>によると、</a:t>
            </a:r>
            <a:r>
              <a:rPr lang="en-US" altLang="ja-JP" sz="1400" dirty="0">
                <a:solidFill>
                  <a:srgbClr val="000000"/>
                </a:solidFill>
                <a:cs typeface="Arial" panose="020B0604020202020204" pitchFamily="34" charset="0"/>
              </a:rPr>
              <a:t>2015</a:t>
            </a:r>
            <a:r>
              <a:rPr lang="ja-JP" altLang="en-US" sz="1400" dirty="0">
                <a:solidFill>
                  <a:srgbClr val="000000"/>
                </a:solidFill>
                <a:cs typeface="Arial" panose="020B0604020202020204" pitchFamily="34" charset="0"/>
              </a:rPr>
              <a:t>年時点でのサウジアラビアの保険市場における大手</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社は、</a:t>
            </a:r>
            <a:br>
              <a:rPr lang="en-US" altLang="ja-JP" sz="1400" dirty="0">
                <a:solidFill>
                  <a:srgbClr val="000000"/>
                </a:solidFill>
                <a:cs typeface="Arial" panose="020B0604020202020204" pitchFamily="34" charset="0"/>
              </a:rPr>
            </a:br>
            <a:r>
              <a:rPr lang="en-US" altLang="ja-JP" sz="1400" dirty="0" err="1">
                <a:solidFill>
                  <a:srgbClr val="000000"/>
                </a:solidFill>
                <a:cs typeface="Arial" panose="020B0604020202020204" pitchFamily="34" charset="0"/>
              </a:rPr>
              <a:t>Tawuniya</a:t>
            </a:r>
            <a:r>
              <a:rPr lang="ja-JP" altLang="en-US" sz="1400" dirty="0" err="1">
                <a:solidFill>
                  <a:srgbClr val="000000"/>
                </a:solidFill>
                <a:cs typeface="Arial" panose="020B0604020202020204" pitchFamily="34" charset="0"/>
              </a:rPr>
              <a:t>、</a:t>
            </a:r>
            <a:r>
              <a:rPr lang="en-US" altLang="ja-JP" sz="1400" dirty="0" err="1">
                <a:solidFill>
                  <a:srgbClr val="000000"/>
                </a:solidFill>
                <a:cs typeface="Arial" panose="020B0604020202020204" pitchFamily="34" charset="0"/>
              </a:rPr>
              <a:t>Bupa</a:t>
            </a:r>
            <a:r>
              <a:rPr lang="ja-JP" altLang="en-US" sz="1400" dirty="0">
                <a:solidFill>
                  <a:srgbClr val="000000"/>
                </a:solidFill>
                <a:cs typeface="Arial" panose="020B0604020202020204" pitchFamily="34" charset="0"/>
              </a:rPr>
              <a:t> </a:t>
            </a:r>
            <a:r>
              <a:rPr lang="en-US" altLang="ja-JP" sz="1400" dirty="0">
                <a:solidFill>
                  <a:srgbClr val="000000"/>
                </a:solidFill>
                <a:cs typeface="Arial" panose="020B0604020202020204" pitchFamily="34" charset="0"/>
              </a:rPr>
              <a:t>Arabia</a:t>
            </a:r>
            <a:r>
              <a:rPr lang="ja-JP" altLang="en-US" sz="1400" dirty="0" err="1">
                <a:solidFill>
                  <a:srgbClr val="000000"/>
                </a:solidFill>
                <a:cs typeface="Arial" panose="020B0604020202020204" pitchFamily="34" charset="0"/>
              </a:rPr>
              <a:t>、</a:t>
            </a:r>
            <a:r>
              <a:rPr lang="en-US" altLang="ja-JP" sz="1400" dirty="0" err="1">
                <a:solidFill>
                  <a:srgbClr val="000000"/>
                </a:solidFill>
                <a:cs typeface="Arial" panose="020B0604020202020204" pitchFamily="34" charset="0"/>
              </a:rPr>
              <a:t>MedGulf</a:t>
            </a:r>
            <a:r>
              <a:rPr lang="ja-JP" altLang="en-US" sz="1400" dirty="0">
                <a:solidFill>
                  <a:srgbClr val="000000"/>
                </a:solidFill>
                <a:cs typeface="Arial" panose="020B0604020202020204" pitchFamily="34" charset="0"/>
              </a:rPr>
              <a:t>の</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社であ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各社の概要は以下の通り。</a:t>
            </a:r>
            <a:endParaRPr lang="en-US" altLang="ja-JP" sz="1400" dirty="0">
              <a:solidFill>
                <a:srgbClr val="000000"/>
              </a:solidFill>
              <a:cs typeface="Arial" panose="020B0604020202020204" pitchFamily="34" charset="0"/>
            </a:endParaRPr>
          </a:p>
        </p:txBody>
      </p:sp>
      <p:sp>
        <p:nvSpPr>
          <p:cNvPr id="54" name="テキスト ボックス 53"/>
          <p:cNvSpPr txBox="1"/>
          <p:nvPr/>
        </p:nvSpPr>
        <p:spPr>
          <a:xfrm>
            <a:off x="200471" y="6597932"/>
            <a:ext cx="9505503"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各社</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en-US" altLang="ja-JP" sz="800" dirty="0" err="1"/>
              <a:t>Marcopolis</a:t>
            </a:r>
            <a:r>
              <a:rPr lang="en-US" altLang="ja-JP" sz="800" dirty="0"/>
              <a:t> HP</a:t>
            </a:r>
          </a:p>
        </p:txBody>
      </p:sp>
      <p:graphicFrame>
        <p:nvGraphicFramePr>
          <p:cNvPr id="14" name="表 13"/>
          <p:cNvGraphicFramePr>
            <a:graphicFrameLocks noGrp="1"/>
          </p:cNvGraphicFramePr>
          <p:nvPr/>
        </p:nvGraphicFramePr>
        <p:xfrm>
          <a:off x="1118674" y="2595368"/>
          <a:ext cx="7668653" cy="3941808"/>
        </p:xfrm>
        <a:graphic>
          <a:graphicData uri="http://schemas.openxmlformats.org/drawingml/2006/table">
            <a:tbl>
              <a:tblPr firstRow="1" bandRow="1">
                <a:tableStyleId>{5C22544A-7EE6-4342-B048-85BDC9FD1C3A}</a:tableStyleId>
              </a:tblPr>
              <a:tblGrid>
                <a:gridCol w="2124037">
                  <a:extLst>
                    <a:ext uri="{9D8B030D-6E8A-4147-A177-3AD203B41FA5}">
                      <a16:colId xmlns:a16="http://schemas.microsoft.com/office/drawing/2014/main" val="20000"/>
                    </a:ext>
                  </a:extLst>
                </a:gridCol>
                <a:gridCol w="5544616">
                  <a:extLst>
                    <a:ext uri="{9D8B030D-6E8A-4147-A177-3AD203B41FA5}">
                      <a16:colId xmlns:a16="http://schemas.microsoft.com/office/drawing/2014/main" val="20001"/>
                    </a:ext>
                  </a:extLst>
                </a:gridCol>
              </a:tblGrid>
              <a:tr h="0">
                <a:tc>
                  <a:txBody>
                    <a:bodyPr/>
                    <a:lstStyle/>
                    <a:p>
                      <a:pPr algn="ctr" fontAlgn="ctr"/>
                      <a:r>
                        <a:rPr kumimoji="1" lang="ja-JP" altLang="en-US" sz="1100" b="0" dirty="0">
                          <a:latin typeface="HGP創英角ｺﾞｼｯｸUB" panose="020B0900000000000000" pitchFamily="50" charset="-128"/>
                          <a:ea typeface="HGP創英角ｺﾞｼｯｸUB" panose="020B0900000000000000" pitchFamily="50" charset="-128"/>
                        </a:rPr>
                        <a:t>企業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02580">
                <a:tc>
                  <a:txBody>
                    <a:bodyPr/>
                    <a:lstStyle/>
                    <a:p>
                      <a:pPr algn="l" defTabSz="955675" fontAlgn="ctr">
                        <a:buClr>
                          <a:schemeClr val="bg2"/>
                        </a:buClr>
                        <a:buSzPct val="100000"/>
                      </a:pPr>
                      <a:r>
                        <a:rPr lang="en-US" altLang="ja-JP" sz="1200" dirty="0" err="1">
                          <a:latin typeface="Arial Black" panose="020B0A04020102020204" pitchFamily="34" charset="0"/>
                          <a:ea typeface="HGP創英角ｺﾞｼｯｸUB" panose="020B0900000000000000" pitchFamily="50" charset="-128"/>
                        </a:rPr>
                        <a:t>Tawuniya</a:t>
                      </a:r>
                      <a:r>
                        <a:rPr lang="en-US" altLang="ja-JP" sz="1200" dirty="0">
                          <a:latin typeface="Arial Black" panose="020B0A04020102020204" pitchFamily="34" charset="0"/>
                          <a:ea typeface="HGP創英角ｺﾞｼｯｸUB" panose="020B0900000000000000" pitchFamily="50" charset="-128"/>
                        </a:rPr>
                        <a:t> cooperative Insurance Company</a:t>
                      </a: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1200" dirty="0"/>
                        <a:t>保険業界</a:t>
                      </a:r>
                      <a:r>
                        <a:rPr lang="en-US" altLang="ja-JP" sz="1200" dirty="0"/>
                        <a:t>1</a:t>
                      </a:r>
                      <a:r>
                        <a:rPr lang="ja-JP" altLang="en-US" sz="1200" dirty="0"/>
                        <a:t>位（</a:t>
                      </a:r>
                      <a:r>
                        <a:rPr lang="en-US" altLang="ja-JP" sz="1200" dirty="0"/>
                        <a:t>2015</a:t>
                      </a:r>
                      <a:r>
                        <a:rPr lang="ja-JP" altLang="en-US" sz="1200" dirty="0"/>
                        <a:t>年）、医療保険、自動車保険分野では、ともに</a:t>
                      </a:r>
                      <a:r>
                        <a:rPr lang="en-US" altLang="ja-JP" sz="1200" dirty="0"/>
                        <a:t>2</a:t>
                      </a:r>
                      <a:r>
                        <a:rPr lang="ja-JP" altLang="en-US" sz="1200" dirty="0"/>
                        <a:t>位の保険会社</a:t>
                      </a:r>
                      <a:endParaRPr lang="en-US" altLang="ja-JP" sz="1200" dirty="0"/>
                    </a:p>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en-US" altLang="ja-JP" sz="1200" dirty="0"/>
                        <a:t>1986</a:t>
                      </a:r>
                      <a:r>
                        <a:rPr lang="ja-JP" altLang="en-US" sz="1200" dirty="0"/>
                        <a:t>年創立</a:t>
                      </a:r>
                      <a:endParaRPr lang="en-US" altLang="ja-JP" sz="1200" dirty="0"/>
                    </a:p>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en-US" altLang="ja-JP" sz="1200" dirty="0"/>
                        <a:t>2014</a:t>
                      </a:r>
                      <a:r>
                        <a:rPr lang="ja-JP" altLang="en-US" sz="1200" dirty="0"/>
                        <a:t>年の総保険料収入は、約</a:t>
                      </a:r>
                      <a:r>
                        <a:rPr lang="en-US" altLang="ja-JP" sz="1200" dirty="0"/>
                        <a:t>62</a:t>
                      </a:r>
                      <a:r>
                        <a:rPr lang="ja-JP" altLang="en-US" sz="1200" dirty="0"/>
                        <a:t>億リヤル</a:t>
                      </a:r>
                      <a:endParaRPr lang="en-US" altLang="ja-JP" sz="1200" dirty="0"/>
                    </a:p>
                    <a:p>
                      <a:pPr marL="112713" indent="-112713" algn="l"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1200" dirty="0"/>
                        <a:t>主要株主は、</a:t>
                      </a:r>
                      <a:r>
                        <a:rPr lang="en-US" altLang="ja-JP" sz="1200" dirty="0"/>
                        <a:t>Public Pension Agency</a:t>
                      </a:r>
                      <a:r>
                        <a:rPr lang="ja-JP" altLang="en-US" sz="1200" dirty="0"/>
                        <a:t>（持株比率：</a:t>
                      </a:r>
                      <a:r>
                        <a:rPr lang="en-US" altLang="ja-JP" sz="1200" dirty="0"/>
                        <a:t>23.79%</a:t>
                      </a:r>
                      <a:r>
                        <a:rPr lang="ja-JP" altLang="en-US" sz="1200" dirty="0"/>
                        <a:t>）、</a:t>
                      </a:r>
                      <a:r>
                        <a:rPr lang="en-US" altLang="ja-JP" sz="1200" dirty="0"/>
                        <a:t>General Organization for Social Insurance</a:t>
                      </a:r>
                      <a:r>
                        <a:rPr lang="ja-JP" altLang="en-US" sz="1200" dirty="0"/>
                        <a:t>（持株比率：</a:t>
                      </a:r>
                      <a:r>
                        <a:rPr lang="en-US" altLang="ja-JP" sz="1200" dirty="0"/>
                        <a:t>22.83%</a:t>
                      </a:r>
                      <a:r>
                        <a:rPr lang="ja-JP" altLang="en-US" sz="1200" dirty="0"/>
                        <a:t>）であり、いずれも政府系機関</a:t>
                      </a:r>
                      <a:endParaRPr lang="en-US" altLang="ja-JP" sz="1200" dirty="0"/>
                    </a:p>
                  </a:txBody>
                  <a:tcPr marT="720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2580">
                <a:tc>
                  <a:txBody>
                    <a:bodyPr/>
                    <a:lstStyle/>
                    <a:p>
                      <a:pPr marL="0" algn="l" defTabSz="955675" rtl="0" eaLnBrk="1" fontAlgn="ctr" latinLnBrk="0" hangingPunct="1">
                        <a:buClr>
                          <a:schemeClr val="bg2"/>
                        </a:buClr>
                        <a:buSzPct val="100000"/>
                      </a:pP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BUPA Arabia for Cooperative Insurance</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保険業界</a:t>
                      </a:r>
                      <a:r>
                        <a:rPr kumimoji="1" lang="en-US" altLang="ja-JP" sz="1200" kern="1200" dirty="0">
                          <a:solidFill>
                            <a:schemeClr val="dk1"/>
                          </a:solidFill>
                          <a:latin typeface="+mn-lt"/>
                          <a:ea typeface="+mn-ea"/>
                          <a:cs typeface="+mn-cs"/>
                        </a:rPr>
                        <a:t>2</a:t>
                      </a:r>
                      <a:r>
                        <a:rPr kumimoji="1" lang="ja-JP" altLang="en-US" sz="1200" kern="1200" dirty="0">
                          <a:solidFill>
                            <a:schemeClr val="dk1"/>
                          </a:solidFill>
                          <a:latin typeface="+mn-lt"/>
                          <a:ea typeface="+mn-ea"/>
                          <a:cs typeface="+mn-cs"/>
                        </a:rPr>
                        <a:t>位（</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ただし医療保険分野では</a:t>
                      </a:r>
                      <a:r>
                        <a:rPr kumimoji="1" lang="en-US" altLang="ja-JP" sz="1200" kern="1200" dirty="0">
                          <a:solidFill>
                            <a:schemeClr val="dk1"/>
                          </a:solidFill>
                          <a:latin typeface="+mn-lt"/>
                          <a:ea typeface="+mn-ea"/>
                          <a:cs typeface="+mn-cs"/>
                        </a:rPr>
                        <a:t>1</a:t>
                      </a:r>
                      <a:r>
                        <a:rPr kumimoji="1" lang="ja-JP" altLang="en-US" sz="1200" kern="1200" dirty="0">
                          <a:solidFill>
                            <a:schemeClr val="dk1"/>
                          </a:solidFill>
                          <a:latin typeface="+mn-lt"/>
                          <a:ea typeface="+mn-ea"/>
                          <a:cs typeface="+mn-cs"/>
                        </a:rPr>
                        <a:t>位の保険会社</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1997</a:t>
                      </a:r>
                      <a:r>
                        <a:rPr kumimoji="1" lang="ja-JP" altLang="en-US" sz="1200" kern="1200" dirty="0">
                          <a:solidFill>
                            <a:schemeClr val="dk1"/>
                          </a:solidFill>
                          <a:latin typeface="+mn-lt"/>
                          <a:ea typeface="+mn-ea"/>
                          <a:cs typeface="+mn-cs"/>
                        </a:rPr>
                        <a:t>年創立</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の総保険料収入は、約</a:t>
                      </a:r>
                      <a:r>
                        <a:rPr kumimoji="1" lang="en-US" altLang="ja-JP" sz="1200" kern="1200" dirty="0">
                          <a:solidFill>
                            <a:schemeClr val="dk1"/>
                          </a:solidFill>
                          <a:latin typeface="+mn-lt"/>
                          <a:ea typeface="+mn-ea"/>
                          <a:cs typeface="+mn-cs"/>
                        </a:rPr>
                        <a:t>57</a:t>
                      </a:r>
                      <a:r>
                        <a:rPr kumimoji="1" lang="ja-JP" altLang="en-US" sz="1200" kern="1200" dirty="0">
                          <a:solidFill>
                            <a:schemeClr val="dk1"/>
                          </a:solidFill>
                          <a:latin typeface="+mn-lt"/>
                          <a:ea typeface="+mn-ea"/>
                          <a:cs typeface="+mn-cs"/>
                        </a:rPr>
                        <a:t>億リヤル</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主要株主は、ロンドンに拠点を持つ民間会社</a:t>
                      </a:r>
                      <a:r>
                        <a:rPr kumimoji="1" lang="en-US" altLang="ja-JP" sz="1200" kern="1200" dirty="0" err="1">
                          <a:solidFill>
                            <a:schemeClr val="dk1"/>
                          </a:solidFill>
                          <a:latin typeface="+mn-lt"/>
                          <a:ea typeface="+mn-ea"/>
                          <a:cs typeface="+mn-cs"/>
                        </a:rPr>
                        <a:t>Bupa</a:t>
                      </a:r>
                      <a:r>
                        <a:rPr kumimoji="1" lang="en-US" altLang="ja-JP" sz="1200" kern="1200" dirty="0">
                          <a:solidFill>
                            <a:schemeClr val="dk1"/>
                          </a:solidFill>
                          <a:latin typeface="+mn-lt"/>
                          <a:ea typeface="+mn-ea"/>
                          <a:cs typeface="+mn-cs"/>
                        </a:rPr>
                        <a:t> Investments Overseas Limited</a:t>
                      </a:r>
                      <a:r>
                        <a:rPr kumimoji="1" lang="ja-JP" altLang="en-US" sz="1200" kern="1200" dirty="0">
                          <a:solidFill>
                            <a:schemeClr val="dk1"/>
                          </a:solidFill>
                          <a:latin typeface="+mn-lt"/>
                          <a:ea typeface="+mn-ea"/>
                          <a:cs typeface="+mn-cs"/>
                        </a:rPr>
                        <a:t>（持株比率：</a:t>
                      </a:r>
                      <a:r>
                        <a:rPr kumimoji="1" lang="en-US" altLang="ja-JP" sz="1200" kern="1200" dirty="0">
                          <a:solidFill>
                            <a:schemeClr val="dk1"/>
                          </a:solidFill>
                          <a:latin typeface="+mn-lt"/>
                          <a:ea typeface="+mn-ea"/>
                          <a:cs typeface="+mn-cs"/>
                        </a:rPr>
                        <a:t>26.25%</a:t>
                      </a:r>
                      <a:r>
                        <a:rPr kumimoji="1" lang="ja-JP" altLang="en-US" sz="1200" kern="1200" dirty="0">
                          <a:solidFill>
                            <a:schemeClr val="dk1"/>
                          </a:solidFill>
                          <a:latin typeface="+mn-lt"/>
                          <a:ea typeface="+mn-ea"/>
                          <a:cs typeface="+mn-cs"/>
                        </a:rPr>
                        <a:t>）</a:t>
                      </a:r>
                      <a:endParaRPr kumimoji="1" lang="en-US" altLang="ja-JP" sz="1200" kern="1200" dirty="0">
                        <a:solidFill>
                          <a:schemeClr val="dk1"/>
                        </a:solidFill>
                        <a:latin typeface="+mn-lt"/>
                        <a:ea typeface="+mn-ea"/>
                        <a:cs typeface="+mn-cs"/>
                      </a:endParaRPr>
                    </a:p>
                  </a:txBody>
                  <a:tcPr marT="72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02580">
                <a:tc>
                  <a:txBody>
                    <a:bodyPr/>
                    <a:lstStyle/>
                    <a:p>
                      <a:pPr marL="0" algn="l" defTabSz="955675" rtl="0" eaLnBrk="1" fontAlgn="ctr" latinLnBrk="0" hangingPunct="1">
                        <a:buClr>
                          <a:schemeClr val="bg2"/>
                        </a:buClr>
                        <a:buSzPct val="100000"/>
                      </a:pP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The Mediterranean &amp; Gulf Cooperative Insurance &amp; Reinsurance Company (</a:t>
                      </a:r>
                      <a:r>
                        <a:rPr kumimoji="1" lang="en-US" altLang="ja-JP" sz="1200" kern="1200" dirty="0" err="1">
                          <a:solidFill>
                            <a:schemeClr val="dk1"/>
                          </a:solidFill>
                          <a:latin typeface="Arial Black" panose="020B0A04020102020204" pitchFamily="34" charset="0"/>
                          <a:ea typeface="HGP創英角ｺﾞｼｯｸUB" panose="020B0900000000000000" pitchFamily="50" charset="-128"/>
                          <a:cs typeface="+mn-cs"/>
                        </a:rPr>
                        <a:t>MedGulf</a:t>
                      </a: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保険業界</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位（</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医療保険、自動車保険では、ともに</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位の保険会社。</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1995</a:t>
                      </a:r>
                      <a:r>
                        <a:rPr kumimoji="1" lang="ja-JP" altLang="en-US" sz="1200" kern="1200" dirty="0">
                          <a:solidFill>
                            <a:schemeClr val="dk1"/>
                          </a:solidFill>
                          <a:latin typeface="+mn-lt"/>
                          <a:ea typeface="+mn-ea"/>
                          <a:cs typeface="+mn-cs"/>
                        </a:rPr>
                        <a:t>年創立</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の総保険料収入は、約</a:t>
                      </a:r>
                      <a:r>
                        <a:rPr kumimoji="1" lang="en-US" altLang="ja-JP" sz="1200" kern="1200" dirty="0">
                          <a:solidFill>
                            <a:schemeClr val="dk1"/>
                          </a:solidFill>
                          <a:latin typeface="+mn-lt"/>
                          <a:ea typeface="+mn-ea"/>
                          <a:cs typeface="+mn-cs"/>
                        </a:rPr>
                        <a:t>44</a:t>
                      </a:r>
                      <a:r>
                        <a:rPr kumimoji="1" lang="ja-JP" altLang="en-US" sz="1200" kern="1200" dirty="0">
                          <a:solidFill>
                            <a:schemeClr val="dk1"/>
                          </a:solidFill>
                          <a:latin typeface="+mn-lt"/>
                          <a:ea typeface="+mn-ea"/>
                          <a:cs typeface="+mn-cs"/>
                        </a:rPr>
                        <a:t>億リヤル</a:t>
                      </a:r>
                      <a:endParaRPr kumimoji="1" lang="en-US" altLang="ja-JP" sz="1200" kern="1200" dirty="0">
                        <a:solidFill>
                          <a:schemeClr val="dk1"/>
                        </a:solidFill>
                        <a:latin typeface="+mn-lt"/>
                        <a:ea typeface="+mn-ea"/>
                        <a:cs typeface="+mn-cs"/>
                      </a:endParaRPr>
                    </a:p>
                  </a:txBody>
                  <a:tcPr marT="72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15" name="グループ化 7"/>
          <p:cNvGrpSpPr/>
          <p:nvPr/>
        </p:nvGrpSpPr>
        <p:grpSpPr>
          <a:xfrm>
            <a:off x="1118692" y="2235056"/>
            <a:ext cx="7668616" cy="288032"/>
            <a:chOff x="4760412" y="2113806"/>
            <a:chExt cx="2997220"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760412"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における大手</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社の概要</a:t>
              </a:r>
            </a:p>
          </p:txBody>
        </p:sp>
      </p:grpSp>
      <p:sp>
        <p:nvSpPr>
          <p:cNvPr id="12" name="正方形/長方形 10"/>
          <p:cNvSpPr/>
          <p:nvPr/>
        </p:nvSpPr>
        <p:spPr>
          <a:xfrm>
            <a:off x="7401270" y="6597352"/>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14733344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708016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8" name="オブジェクト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保健政策は、保健省（</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inistry of Health</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管轄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164449"/>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www.moh.gov.sa/en/Ministry/Structure/Pages/WatsNews-2012-04-02-001.asp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4" name="グループ化 7"/>
          <p:cNvGrpSpPr/>
          <p:nvPr/>
        </p:nvGrpSpPr>
        <p:grpSpPr>
          <a:xfrm>
            <a:off x="200471" y="1628800"/>
            <a:ext cx="9505057" cy="288032"/>
            <a:chOff x="4803500" y="2113806"/>
            <a:chExt cx="2954133" cy="288032"/>
          </a:xfrm>
        </p:grpSpPr>
        <p:cxnSp>
          <p:nvCxnSpPr>
            <p:cNvPr id="39" name="直線コネクタ 3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の組織体制</a:t>
              </a:r>
              <a:endParaRPr lang="en-US" altLang="ko-KR" sz="1400" dirty="0">
                <a:solidFill>
                  <a:srgbClr val="000000"/>
                </a:solidFill>
                <a:latin typeface="Arial Black" pitchFamily="34" charset="0"/>
                <a:ea typeface="HGP創英角ｺﾞｼｯｸUB" pitchFamily="50" charset="-128"/>
              </a:endParaRPr>
            </a:p>
          </p:txBody>
        </p:sp>
      </p:grpSp>
      <p:sp>
        <p:nvSpPr>
          <p:cNvPr id="53" name="角丸四角形 52"/>
          <p:cNvSpPr/>
          <p:nvPr/>
        </p:nvSpPr>
        <p:spPr>
          <a:xfrm>
            <a:off x="4160912" y="1988840"/>
            <a:ext cx="1584176" cy="342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a:t>
            </a:r>
          </a:p>
        </p:txBody>
      </p:sp>
      <p:sp>
        <p:nvSpPr>
          <p:cNvPr id="54" name="角丸四角形 53"/>
          <p:cNvSpPr/>
          <p:nvPr/>
        </p:nvSpPr>
        <p:spPr>
          <a:xfrm>
            <a:off x="6537176" y="248152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オフィス</a:t>
            </a:r>
          </a:p>
        </p:txBody>
      </p:sp>
      <p:sp>
        <p:nvSpPr>
          <p:cNvPr id="57" name="角丸四角形 56"/>
          <p:cNvSpPr/>
          <p:nvPr/>
        </p:nvSpPr>
        <p:spPr>
          <a:xfrm>
            <a:off x="6537176" y="2899369"/>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広報担当</a:t>
            </a:r>
            <a:endParaRPr kumimoji="1" lang="ja-JP" altLang="en-US" sz="1200" dirty="0"/>
          </a:p>
        </p:txBody>
      </p:sp>
      <p:sp>
        <p:nvSpPr>
          <p:cNvPr id="61" name="角丸四角形 60"/>
          <p:cNvSpPr/>
          <p:nvPr/>
        </p:nvSpPr>
        <p:spPr>
          <a:xfrm>
            <a:off x="2216696" y="382274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事務次官</a:t>
            </a:r>
          </a:p>
        </p:txBody>
      </p:sp>
      <p:sp>
        <p:nvSpPr>
          <p:cNvPr id="62" name="角丸四角形 61"/>
          <p:cNvSpPr/>
          <p:nvPr/>
        </p:nvSpPr>
        <p:spPr>
          <a:xfrm>
            <a:off x="56456" y="4761200"/>
            <a:ext cx="1440000" cy="468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公衆衛生</a:t>
            </a:r>
            <a:endParaRPr kumimoji="1" lang="en-US" altLang="ja-JP" sz="1200" dirty="0"/>
          </a:p>
          <a:p>
            <a:pPr marL="0" algn="ctr" fontAlgn="ctr">
              <a:lnSpc>
                <a:spcPct val="114000"/>
              </a:lnSpc>
              <a:spcAft>
                <a:spcPts val="400"/>
              </a:spcAft>
            </a:pPr>
            <a:r>
              <a:rPr kumimoji="1" lang="ja-JP" altLang="en-US" sz="1200" dirty="0"/>
              <a:t>担当副大臣</a:t>
            </a:r>
          </a:p>
        </p:txBody>
      </p:sp>
      <p:sp>
        <p:nvSpPr>
          <p:cNvPr id="63" name="角丸四角形 62"/>
          <p:cNvSpPr/>
          <p:nvPr/>
        </p:nvSpPr>
        <p:spPr>
          <a:xfrm>
            <a:off x="1568664"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治療サービス</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77" name="角丸四角形 76"/>
          <p:cNvSpPr/>
          <p:nvPr/>
        </p:nvSpPr>
        <p:spPr>
          <a:xfrm>
            <a:off x="704528" y="1988840"/>
            <a:ext cx="2592288"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メディカル・シティ、専門病院評議会</a:t>
            </a:r>
            <a:endParaRPr kumimoji="1" lang="ja-JP" altLang="en-US" sz="1200" dirty="0"/>
          </a:p>
        </p:txBody>
      </p:sp>
      <p:sp>
        <p:nvSpPr>
          <p:cNvPr id="78" name="角丸四角形 77"/>
          <p:cNvSpPr/>
          <p:nvPr/>
        </p:nvSpPr>
        <p:spPr>
          <a:xfrm>
            <a:off x="6537176" y="3301406"/>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en-US" altLang="ja-JP" sz="1200" dirty="0"/>
              <a:t>IT</a:t>
            </a:r>
            <a:r>
              <a:rPr lang="ja-JP" altLang="en-US" sz="1200" dirty="0"/>
              <a:t>担当</a:t>
            </a:r>
            <a:endParaRPr kumimoji="1" lang="ja-JP" altLang="en-US" sz="1200" dirty="0"/>
          </a:p>
        </p:txBody>
      </p:sp>
      <p:cxnSp>
        <p:nvCxnSpPr>
          <p:cNvPr id="79" name="カギ線コネクタ 78"/>
          <p:cNvCxnSpPr>
            <a:stCxn id="53" idx="2"/>
            <a:endCxn id="54" idx="1"/>
          </p:cNvCxnSpPr>
          <p:nvPr/>
        </p:nvCxnSpPr>
        <p:spPr>
          <a:xfrm rot="16200000" flipH="1">
            <a:off x="5583840" y="1700000"/>
            <a:ext cx="322497"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カギ線コネクタ 79"/>
          <p:cNvCxnSpPr>
            <a:stCxn id="53" idx="2"/>
            <a:endCxn id="57" idx="1"/>
          </p:cNvCxnSpPr>
          <p:nvPr/>
        </p:nvCxnSpPr>
        <p:spPr>
          <a:xfrm rot="16200000" flipH="1">
            <a:off x="5374919" y="1908921"/>
            <a:ext cx="740338"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61" idx="0"/>
            <a:endCxn id="53" idx="2"/>
          </p:cNvCxnSpPr>
          <p:nvPr/>
        </p:nvCxnSpPr>
        <p:spPr>
          <a:xfrm rot="5400000" flipH="1" flipV="1">
            <a:off x="3234939" y="2104685"/>
            <a:ext cx="1491906" cy="1944216"/>
          </a:xfrm>
          <a:prstGeom prst="bentConnector3">
            <a:avLst>
              <a:gd name="adj1" fmla="val 6075"/>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a:stCxn id="62" idx="0"/>
            <a:endCxn id="61" idx="2"/>
          </p:cNvCxnSpPr>
          <p:nvPr/>
        </p:nvCxnSpPr>
        <p:spPr>
          <a:xfrm rot="5400000" flipH="1" flipV="1">
            <a:off x="1595202" y="3347618"/>
            <a:ext cx="594836" cy="2232328"/>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カギ線コネクタ 83"/>
          <p:cNvCxnSpPr>
            <a:stCxn id="63" idx="0"/>
            <a:endCxn id="61" idx="2"/>
          </p:cNvCxnSpPr>
          <p:nvPr/>
        </p:nvCxnSpPr>
        <p:spPr>
          <a:xfrm rot="5400000" flipH="1" flipV="1">
            <a:off x="2351306" y="4103722"/>
            <a:ext cx="594836" cy="72012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a:stCxn id="77" idx="3"/>
            <a:endCxn id="53" idx="1"/>
          </p:cNvCxnSpPr>
          <p:nvPr/>
        </p:nvCxnSpPr>
        <p:spPr>
          <a:xfrm flipV="1">
            <a:off x="3296816" y="2159840"/>
            <a:ext cx="864096" cy="80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2" name="角丸四角形 91"/>
          <p:cNvSpPr/>
          <p:nvPr/>
        </p:nvSpPr>
        <p:spPr>
          <a:xfrm>
            <a:off x="3080872"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研究所・貯蔵血液</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3" name="角丸四角形 92"/>
          <p:cNvSpPr/>
          <p:nvPr/>
        </p:nvSpPr>
        <p:spPr>
          <a:xfrm>
            <a:off x="4593080"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医療用品・設備</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4" name="角丸四角形 93"/>
          <p:cNvSpPr/>
          <p:nvPr/>
        </p:nvSpPr>
        <p:spPr>
          <a:xfrm>
            <a:off x="6285327"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計画・変革</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5" name="角丸四角形 94"/>
          <p:cNvSpPr/>
          <p:nvPr/>
        </p:nvSpPr>
        <p:spPr>
          <a:xfrm>
            <a:off x="7497248"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人事</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cxnSp>
        <p:nvCxnSpPr>
          <p:cNvPr id="96" name="カギ線コネクタ 95"/>
          <p:cNvCxnSpPr>
            <a:stCxn id="53" idx="2"/>
            <a:endCxn id="78" idx="1"/>
          </p:cNvCxnSpPr>
          <p:nvPr/>
        </p:nvCxnSpPr>
        <p:spPr>
          <a:xfrm rot="16200000" flipH="1">
            <a:off x="5173901" y="2109939"/>
            <a:ext cx="1142375"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7" name="角丸四角形 96"/>
          <p:cNvSpPr/>
          <p:nvPr/>
        </p:nvSpPr>
        <p:spPr>
          <a:xfrm>
            <a:off x="2144687" y="248152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法務担当</a:t>
            </a:r>
          </a:p>
        </p:txBody>
      </p:sp>
      <p:sp>
        <p:nvSpPr>
          <p:cNvPr id="98" name="角丸四角形 97"/>
          <p:cNvSpPr/>
          <p:nvPr/>
        </p:nvSpPr>
        <p:spPr>
          <a:xfrm>
            <a:off x="2144687" y="2899369"/>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内部監査担当</a:t>
            </a:r>
            <a:endParaRPr kumimoji="1" lang="ja-JP" altLang="en-US" sz="1200" dirty="0"/>
          </a:p>
        </p:txBody>
      </p:sp>
      <p:sp>
        <p:nvSpPr>
          <p:cNvPr id="99" name="角丸四角形 98"/>
          <p:cNvSpPr/>
          <p:nvPr/>
        </p:nvSpPr>
        <p:spPr>
          <a:xfrm>
            <a:off x="2144687" y="3301406"/>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調査担当</a:t>
            </a:r>
            <a:endParaRPr kumimoji="1" lang="ja-JP" altLang="en-US" sz="1200" dirty="0"/>
          </a:p>
        </p:txBody>
      </p:sp>
      <p:cxnSp>
        <p:nvCxnSpPr>
          <p:cNvPr id="100" name="カギ線コネクタ 99"/>
          <p:cNvCxnSpPr>
            <a:stCxn id="97" idx="3"/>
            <a:endCxn id="53" idx="2"/>
          </p:cNvCxnSpPr>
          <p:nvPr/>
        </p:nvCxnSpPr>
        <p:spPr>
          <a:xfrm flipV="1">
            <a:off x="3728863" y="2330840"/>
            <a:ext cx="1224137" cy="322497"/>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カギ線コネクタ 100"/>
          <p:cNvCxnSpPr>
            <a:stCxn id="98" idx="3"/>
            <a:endCxn id="53" idx="2"/>
          </p:cNvCxnSpPr>
          <p:nvPr/>
        </p:nvCxnSpPr>
        <p:spPr>
          <a:xfrm flipV="1">
            <a:off x="3728863" y="2330840"/>
            <a:ext cx="1224137" cy="740338"/>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カギ線コネクタ 101"/>
          <p:cNvCxnSpPr>
            <a:stCxn id="99" idx="3"/>
            <a:endCxn id="53" idx="2"/>
          </p:cNvCxnSpPr>
          <p:nvPr/>
        </p:nvCxnSpPr>
        <p:spPr>
          <a:xfrm flipV="1">
            <a:off x="3728863" y="2330840"/>
            <a:ext cx="1224137" cy="1142375"/>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カギ線コネクタ 102"/>
          <p:cNvCxnSpPr>
            <a:stCxn id="92" idx="0"/>
            <a:endCxn id="61" idx="2"/>
          </p:cNvCxnSpPr>
          <p:nvPr/>
        </p:nvCxnSpPr>
        <p:spPr>
          <a:xfrm rot="16200000" flipV="1">
            <a:off x="3107410" y="4067738"/>
            <a:ext cx="594836" cy="792088"/>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カギ線コネクタ 103"/>
          <p:cNvCxnSpPr>
            <a:stCxn id="93" idx="0"/>
            <a:endCxn id="61" idx="2"/>
          </p:cNvCxnSpPr>
          <p:nvPr/>
        </p:nvCxnSpPr>
        <p:spPr>
          <a:xfrm rot="16200000" flipV="1">
            <a:off x="3863514" y="3311634"/>
            <a:ext cx="594836" cy="230429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カギ線コネクタ 116"/>
          <p:cNvCxnSpPr>
            <a:stCxn id="94" idx="0"/>
            <a:endCxn id="53" idx="2"/>
          </p:cNvCxnSpPr>
          <p:nvPr/>
        </p:nvCxnSpPr>
        <p:spPr>
          <a:xfrm rot="16200000" flipV="1">
            <a:off x="5124060" y="2159780"/>
            <a:ext cx="1530208" cy="1872327"/>
          </a:xfrm>
          <a:prstGeom prst="bentConnector3">
            <a:avLst>
              <a:gd name="adj1" fmla="val 8377"/>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2" name="カギ線コネクタ 121"/>
          <p:cNvCxnSpPr>
            <a:stCxn id="95" idx="0"/>
            <a:endCxn id="53" idx="2"/>
          </p:cNvCxnSpPr>
          <p:nvPr/>
        </p:nvCxnSpPr>
        <p:spPr>
          <a:xfrm rot="16200000" flipV="1">
            <a:off x="5730020" y="1553820"/>
            <a:ext cx="1530208" cy="3084248"/>
          </a:xfrm>
          <a:prstGeom prst="bentConnector3">
            <a:avLst>
              <a:gd name="adj1" fmla="val 8461"/>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1" name="角丸四角形 130"/>
          <p:cNvSpPr/>
          <p:nvPr/>
        </p:nvSpPr>
        <p:spPr>
          <a:xfrm>
            <a:off x="6105288"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地域調整・支援</a:t>
            </a:r>
            <a:endParaRPr lang="en-US" altLang="ja-JP" sz="1200" dirty="0"/>
          </a:p>
          <a:p>
            <a:pPr algn="ctr" fontAlgn="ctr">
              <a:lnSpc>
                <a:spcPct val="114000"/>
              </a:lnSpc>
              <a:spcAft>
                <a:spcPts val="400"/>
              </a:spcAft>
            </a:pPr>
            <a:r>
              <a:rPr kumimoji="1" lang="ja-JP" altLang="en-US" sz="1200" dirty="0"/>
              <a:t>部署</a:t>
            </a:r>
          </a:p>
        </p:txBody>
      </p:sp>
      <p:cxnSp>
        <p:nvCxnSpPr>
          <p:cNvPr id="132" name="カギ線コネクタ 131"/>
          <p:cNvCxnSpPr>
            <a:stCxn id="131" idx="0"/>
            <a:endCxn id="61" idx="2"/>
          </p:cNvCxnSpPr>
          <p:nvPr/>
        </p:nvCxnSpPr>
        <p:spPr>
          <a:xfrm rot="16200000" flipV="1">
            <a:off x="4619618" y="2555530"/>
            <a:ext cx="594836" cy="381650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8" name="角丸四角形 137"/>
          <p:cNvSpPr/>
          <p:nvPr/>
        </p:nvSpPr>
        <p:spPr>
          <a:xfrm>
            <a:off x="8769544"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財務・総務</a:t>
            </a:r>
            <a:endParaRPr lang="en-US" altLang="ja-JP" sz="1200" dirty="0"/>
          </a:p>
          <a:p>
            <a:pPr algn="ctr" fontAlgn="ctr">
              <a:lnSpc>
                <a:spcPct val="114000"/>
              </a:lnSpc>
              <a:spcAft>
                <a:spcPts val="400"/>
              </a:spcAft>
            </a:pPr>
            <a:r>
              <a:rPr kumimoji="1" lang="ja-JP" altLang="en-US" sz="1200" dirty="0"/>
              <a:t>担当局長</a:t>
            </a:r>
          </a:p>
        </p:txBody>
      </p:sp>
      <p:cxnSp>
        <p:nvCxnSpPr>
          <p:cNvPr id="139" name="カギ線コネクタ 138"/>
          <p:cNvCxnSpPr>
            <a:stCxn id="138" idx="0"/>
            <a:endCxn id="53" idx="2"/>
          </p:cNvCxnSpPr>
          <p:nvPr/>
        </p:nvCxnSpPr>
        <p:spPr>
          <a:xfrm rot="16200000" flipV="1">
            <a:off x="6366168" y="917672"/>
            <a:ext cx="1530208" cy="4356544"/>
          </a:xfrm>
          <a:prstGeom prst="bentConnector3">
            <a:avLst>
              <a:gd name="adj1" fmla="val 8295"/>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8" name="角丸四角形 147"/>
          <p:cNvSpPr/>
          <p:nvPr/>
        </p:nvSpPr>
        <p:spPr>
          <a:xfrm>
            <a:off x="1712560" y="5838110"/>
            <a:ext cx="1152208" cy="327194"/>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公的医療機関</a:t>
            </a:r>
            <a:endParaRPr kumimoji="1" lang="ja-JP" altLang="en-US" sz="1200" dirty="0"/>
          </a:p>
        </p:txBody>
      </p:sp>
      <p:cxnSp>
        <p:nvCxnSpPr>
          <p:cNvPr id="150" name="直線コネクタ 149"/>
          <p:cNvCxnSpPr>
            <a:stCxn id="63" idx="2"/>
            <a:endCxn id="148" idx="0"/>
          </p:cNvCxnSpPr>
          <p:nvPr/>
        </p:nvCxnSpPr>
        <p:spPr>
          <a:xfrm>
            <a:off x="2288664" y="5229200"/>
            <a:ext cx="0" cy="60891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角丸四角形 46"/>
          <p:cNvSpPr/>
          <p:nvPr/>
        </p:nvSpPr>
        <p:spPr>
          <a:xfrm>
            <a:off x="2396536" y="5406062"/>
            <a:ext cx="864336" cy="327194"/>
          </a:xfrm>
          <a:prstGeom prst="roundRect">
            <a:avLst/>
          </a:prstGeom>
          <a:solidFill>
            <a:srgbClr val="A2BBDC"/>
          </a:solidFill>
        </p:spPr>
        <p:txBody>
          <a:bodyPr wrap="square" rtlCol="0" anchor="ctr">
            <a:noAutofit/>
          </a:bodyPr>
          <a:lstStyle/>
          <a:p>
            <a:pPr algn="ctr" fontAlgn="ctr">
              <a:lnSpc>
                <a:spcPct val="114000"/>
              </a:lnSpc>
              <a:spcAft>
                <a:spcPts val="400"/>
              </a:spcAft>
            </a:pPr>
            <a:r>
              <a:rPr lang="zh-CN" altLang="en-US" sz="900" dirty="0"/>
              <a:t>副大臣補佐（病院担当）</a:t>
            </a:r>
            <a:endParaRPr kumimoji="1" lang="ja-JP" altLang="en-US" sz="900" dirty="0"/>
          </a:p>
        </p:txBody>
      </p:sp>
      <p:cxnSp>
        <p:nvCxnSpPr>
          <p:cNvPr id="48" name="カギ線コネクタ 47"/>
          <p:cNvCxnSpPr>
            <a:stCxn id="47" idx="1"/>
            <a:endCxn id="63" idx="2"/>
          </p:cNvCxnSpPr>
          <p:nvPr/>
        </p:nvCxnSpPr>
        <p:spPr>
          <a:xfrm rot="10800000">
            <a:off x="2288664" y="5229201"/>
            <a:ext cx="107872" cy="340459"/>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正方形/長方形 48"/>
          <p:cNvSpPr/>
          <p:nvPr/>
        </p:nvSpPr>
        <p:spPr>
          <a:xfrm>
            <a:off x="3260872" y="5445908"/>
            <a:ext cx="1107996" cy="215444"/>
          </a:xfrm>
          <a:prstGeom prst="rect">
            <a:avLst/>
          </a:prstGeom>
        </p:spPr>
        <p:txBody>
          <a:bodyPr wrap="none">
            <a:spAutoFit/>
          </a:bodyPr>
          <a:lstStyle/>
          <a:p>
            <a:pPr lvl="0"/>
            <a:r>
              <a:rPr lang="ja-JP" altLang="en-US" sz="800" dirty="0">
                <a:solidFill>
                  <a:srgbClr val="000000"/>
                </a:solidFill>
                <a:cs typeface="Arial" panose="020B0604020202020204" pitchFamily="34" charset="0"/>
              </a:rPr>
              <a:t>医療施設開設の窓口</a:t>
            </a:r>
            <a:endParaRPr lang="en-US" altLang="ja-JP" sz="800" dirty="0">
              <a:solidFill>
                <a:srgbClr val="000000"/>
              </a:solidFill>
              <a:cs typeface="Arial" panose="020B0604020202020204" pitchFamily="34" charset="0"/>
            </a:endParaRPr>
          </a:p>
        </p:txBody>
      </p:sp>
      <p:grpSp>
        <p:nvGrpSpPr>
          <p:cNvPr id="13" name="グループ化 12"/>
          <p:cNvGrpSpPr/>
          <p:nvPr/>
        </p:nvGrpSpPr>
        <p:grpSpPr>
          <a:xfrm>
            <a:off x="7185248" y="5661352"/>
            <a:ext cx="2504728" cy="1123956"/>
            <a:chOff x="6393160" y="5445908"/>
            <a:chExt cx="3512840" cy="1412092"/>
          </a:xfrm>
        </p:grpSpPr>
        <p:cxnSp>
          <p:nvCxnSpPr>
            <p:cNvPr id="10" name="直線コネクタ 9"/>
            <p:cNvCxnSpPr/>
            <p:nvPr/>
          </p:nvCxnSpPr>
          <p:spPr>
            <a:xfrm>
              <a:off x="6393160" y="5445908"/>
              <a:ext cx="35128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6393160" y="5445908"/>
              <a:ext cx="0" cy="14120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5" name="角丸四角形 64"/>
          <p:cNvSpPr/>
          <p:nvPr/>
        </p:nvSpPr>
        <p:spPr>
          <a:xfrm>
            <a:off x="7924797" y="6270158"/>
            <a:ext cx="1078583" cy="327194"/>
          </a:xfrm>
          <a:prstGeom prst="roundRect">
            <a:avLst/>
          </a:prstGeom>
          <a:solidFill>
            <a:srgbClr val="83A4D1"/>
          </a:solidFill>
        </p:spPr>
        <p:txBody>
          <a:bodyPr wrap="square" rtlCol="0" anchor="ctr">
            <a:noAutofit/>
          </a:bodyPr>
          <a:lstStyle/>
          <a:p>
            <a:pPr algn="ctr" fontAlgn="ctr">
              <a:lnSpc>
                <a:spcPct val="114000"/>
              </a:lnSpc>
              <a:spcAft>
                <a:spcPts val="400"/>
              </a:spcAft>
            </a:pPr>
            <a:r>
              <a:rPr lang="ja-JP" altLang="en-US" sz="900" dirty="0"/>
              <a:t>健康局・理事会</a:t>
            </a:r>
            <a:r>
              <a:rPr kumimoji="1" lang="ja-JP" altLang="en-US" sz="900" dirty="0"/>
              <a:t>（</a:t>
            </a:r>
            <a:r>
              <a:rPr kumimoji="1" lang="en-US" altLang="ja-JP" sz="900" dirty="0"/>
              <a:t>GDHA</a:t>
            </a:r>
            <a:r>
              <a:rPr kumimoji="1" lang="ja-JP" altLang="en-US" sz="900" dirty="0"/>
              <a:t>）</a:t>
            </a:r>
          </a:p>
        </p:txBody>
      </p:sp>
      <p:sp>
        <p:nvSpPr>
          <p:cNvPr id="66" name="正方形/長方形 65"/>
          <p:cNvSpPr/>
          <p:nvPr/>
        </p:nvSpPr>
        <p:spPr>
          <a:xfrm>
            <a:off x="7294657" y="5758080"/>
            <a:ext cx="2338863" cy="461665"/>
          </a:xfrm>
          <a:prstGeom prst="rect">
            <a:avLst/>
          </a:prstGeom>
        </p:spPr>
        <p:txBody>
          <a:bodyPr wrap="square">
            <a:spAutoFit/>
          </a:bodyPr>
          <a:lstStyle/>
          <a:p>
            <a:pPr lvl="0"/>
            <a:r>
              <a:rPr lang="ja-JP" altLang="en-US" sz="800" dirty="0">
                <a:solidFill>
                  <a:srgbClr val="000000"/>
                </a:solidFill>
                <a:cs typeface="Arial" panose="020B0604020202020204" pitchFamily="34" charset="0"/>
              </a:rPr>
              <a:t>サウジアラビア全土を</a:t>
            </a:r>
            <a:r>
              <a:rPr lang="en-US" altLang="ja-JP" sz="800" dirty="0">
                <a:solidFill>
                  <a:srgbClr val="000000"/>
                </a:solidFill>
                <a:cs typeface="Arial" panose="020B0604020202020204" pitchFamily="34" charset="0"/>
              </a:rPr>
              <a:t>20</a:t>
            </a:r>
            <a:r>
              <a:rPr lang="ja-JP" altLang="en-US" sz="800" dirty="0">
                <a:solidFill>
                  <a:srgbClr val="000000"/>
                </a:solidFill>
                <a:cs typeface="Arial" panose="020B0604020202020204" pitchFamily="34" charset="0"/>
              </a:rPr>
              <a:t>のエリアに分け、各エリアに健康局・理事会（</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General Directorate of Health Affairs</a:t>
            </a:r>
            <a:r>
              <a:rPr lang="ja-JP" altLang="en-US" sz="800" dirty="0">
                <a:solidFill>
                  <a:srgbClr val="000000"/>
                </a:solidFill>
                <a:cs typeface="Arial" panose="020B0604020202020204" pitchFamily="34" charset="0"/>
              </a:rPr>
              <a:t>）が設置されている。</a:t>
            </a:r>
            <a:endParaRPr lang="en-US"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6075898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D6E594-C2A3-4937-99E8-4E9EE55AE60D}"/>
              </a:ext>
            </a:extLst>
          </p:cNvPr>
          <p:cNvGraphicFramePr>
            <a:graphicFrameLocks noChangeAspect="1"/>
          </p:cNvGraphicFramePr>
          <p:nvPr>
            <p:custDataLst>
              <p:tags r:id="rId1"/>
            </p:custDataLst>
            <p:extLst>
              <p:ext uri="{D42A27DB-BD31-4B8C-83A1-F6EECF244321}">
                <p14:modId xmlns:p14="http://schemas.microsoft.com/office/powerpoint/2010/main" val="4020030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7" name="Object 6" hidden="1">
                        <a:extLst>
                          <a:ext uri="{FF2B5EF4-FFF2-40B4-BE49-F238E27FC236}">
                            <a16:creationId xmlns:a16="http://schemas.microsoft.com/office/drawing/2014/main" id="{9ED6E594-C2A3-4937-99E8-4E9EE55AE6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に関する規制</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療養、診断、研究、リハビリ、介護のサービスを行う機関は、以下の規制に従わなければならない。</a:t>
            </a:r>
            <a:endParaRPr lang="en-US" altLang="ja-JP" sz="1400" dirty="0">
              <a:solidFill>
                <a:srgbClr val="000000"/>
              </a:solidFill>
              <a:cs typeface="Arial" panose="020B0604020202020204" pitchFamily="34" charset="0"/>
            </a:endParaRPr>
          </a:p>
        </p:txBody>
      </p:sp>
      <p:grpSp>
        <p:nvGrpSpPr>
          <p:cNvPr id="58" name="グループ化 7"/>
          <p:cNvGrpSpPr/>
          <p:nvPr/>
        </p:nvGrpSpPr>
        <p:grpSpPr>
          <a:xfrm>
            <a:off x="920550" y="2420888"/>
            <a:ext cx="8064898" cy="288032"/>
            <a:chOff x="4803500" y="2113806"/>
            <a:chExt cx="2954133" cy="288032"/>
          </a:xfrm>
        </p:grpSpPr>
        <p:cxnSp>
          <p:nvCxnSpPr>
            <p:cNvPr id="59" name="直線コネクタ 5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に関する規制</a:t>
              </a:r>
            </a:p>
          </p:txBody>
        </p:sp>
      </p:grpSp>
      <p:sp>
        <p:nvSpPr>
          <p:cNvPr id="61" name="角丸四角形 60"/>
          <p:cNvSpPr/>
          <p:nvPr/>
        </p:nvSpPr>
        <p:spPr>
          <a:xfrm>
            <a:off x="920551" y="2780928"/>
            <a:ext cx="8064896" cy="2484492"/>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一般的な医療機関</a:t>
            </a:r>
            <a:r>
              <a:rPr lang="en-US" altLang="ja-JP" sz="1200" dirty="0">
                <a:solidFill>
                  <a:srgbClr val="000000"/>
                </a:solidFill>
              </a:rPr>
              <a:t>(general healthcare center)</a:t>
            </a:r>
            <a:r>
              <a:rPr lang="ja-JP" altLang="en-US" sz="1200" dirty="0">
                <a:solidFill>
                  <a:srgbClr val="000000"/>
                </a:solidFill>
              </a:rPr>
              <a:t>は少なくとも</a:t>
            </a:r>
            <a:r>
              <a:rPr lang="en-US" altLang="ja-JP" sz="1200" dirty="0">
                <a:solidFill>
                  <a:srgbClr val="000000"/>
                </a:solidFill>
              </a:rPr>
              <a:t>3</a:t>
            </a:r>
            <a:r>
              <a:rPr lang="ja-JP" altLang="en-US" sz="1200" dirty="0" err="1">
                <a:solidFill>
                  <a:srgbClr val="000000"/>
                </a:solidFill>
              </a:rPr>
              <a:t>つの</a:t>
            </a:r>
            <a:r>
              <a:rPr lang="ja-JP" altLang="en-US" sz="1200" dirty="0">
                <a:solidFill>
                  <a:srgbClr val="000000"/>
                </a:solidFill>
              </a:rPr>
              <a:t>専門領域に対応できるようにしなけれ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特殊な医療機関</a:t>
            </a:r>
            <a:r>
              <a:rPr lang="en-US" altLang="ja-JP" sz="1200" dirty="0">
                <a:solidFill>
                  <a:srgbClr val="000000"/>
                </a:solidFill>
              </a:rPr>
              <a:t>(specialized healthcare center)</a:t>
            </a:r>
            <a:r>
              <a:rPr lang="ja-JP" altLang="en-US" sz="1200" dirty="0">
                <a:solidFill>
                  <a:srgbClr val="000000"/>
                </a:solidFill>
              </a:rPr>
              <a:t>は少なくとも</a:t>
            </a:r>
            <a:r>
              <a:rPr lang="en-US" altLang="ja-JP" sz="1200" dirty="0">
                <a:solidFill>
                  <a:srgbClr val="000000"/>
                </a:solidFill>
              </a:rPr>
              <a:t>1</a:t>
            </a:r>
            <a:r>
              <a:rPr lang="ja-JP" altLang="en-US" sz="1200" dirty="0" err="1">
                <a:solidFill>
                  <a:srgbClr val="000000"/>
                </a:solidFill>
              </a:rPr>
              <a:t>つの</a:t>
            </a:r>
            <a:r>
              <a:rPr lang="ja-JP" altLang="en-US" sz="1200" dirty="0">
                <a:solidFill>
                  <a:srgbClr val="000000"/>
                </a:solidFill>
              </a:rPr>
              <a:t>専門領域を持たね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患者の診断、療養ができるオフィス（クリニック</a:t>
            </a:r>
            <a:r>
              <a:rPr lang="en-US" altLang="ja-JP" sz="1200" baseline="30000" dirty="0">
                <a:solidFill>
                  <a:srgbClr val="000000"/>
                </a:solidFill>
              </a:rPr>
              <a:t>※1</a:t>
            </a:r>
            <a:r>
              <a:rPr lang="ja-JP" altLang="en-US" sz="1200" dirty="0">
                <a:solidFill>
                  <a:srgbClr val="000000"/>
                </a:solidFill>
              </a:rPr>
              <a:t>）を準備すること。</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放射線センターは</a:t>
            </a:r>
            <a:r>
              <a:rPr lang="en-US" altLang="ja-JP" sz="1200" dirty="0">
                <a:solidFill>
                  <a:srgbClr val="000000"/>
                </a:solidFill>
              </a:rPr>
              <a:t>X </a:t>
            </a:r>
            <a:r>
              <a:rPr lang="ja-JP" altLang="en-US" sz="1200" dirty="0">
                <a:solidFill>
                  <a:srgbClr val="000000"/>
                </a:solidFill>
              </a:rPr>
              <a:t>線診断装置が必要であ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日帰り手術のできる施設を用意す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医師や薬剤師を含む医療スタッフは保健省（</a:t>
            </a:r>
            <a:r>
              <a:rPr lang="en-US" altLang="ja-JP" sz="1200" dirty="0">
                <a:solidFill>
                  <a:srgbClr val="000000"/>
                </a:solidFill>
              </a:rPr>
              <a:t>MOH</a:t>
            </a:r>
            <a:r>
              <a:rPr lang="ja-JP" altLang="en-US" sz="1200" dirty="0">
                <a:solidFill>
                  <a:srgbClr val="000000"/>
                </a:solidFill>
              </a:rPr>
              <a:t>）や</a:t>
            </a:r>
            <a:r>
              <a:rPr lang="en-US" altLang="ja-JP" sz="1200" dirty="0">
                <a:solidFill>
                  <a:srgbClr val="000000"/>
                </a:solidFill>
              </a:rPr>
              <a:t>GDHA</a:t>
            </a:r>
            <a:r>
              <a:rPr lang="en-US" altLang="ja-JP" sz="1200" baseline="30000" dirty="0">
                <a:solidFill>
                  <a:srgbClr val="000000"/>
                </a:solidFill>
              </a:rPr>
              <a:t>※2</a:t>
            </a:r>
            <a:r>
              <a:rPr lang="en-US" altLang="ja-JP" sz="1200" dirty="0">
                <a:solidFill>
                  <a:srgbClr val="000000"/>
                </a:solidFill>
              </a:rPr>
              <a:t> </a:t>
            </a:r>
            <a:r>
              <a:rPr lang="ja-JP" altLang="en-US" sz="1200" dirty="0">
                <a:solidFill>
                  <a:srgbClr val="000000"/>
                </a:solidFill>
              </a:rPr>
              <a:t>のライセンスを取らね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病院は、必要な設備、研究施設、</a:t>
            </a:r>
            <a:r>
              <a:rPr lang="en-US" altLang="ja-JP" sz="1200" dirty="0">
                <a:solidFill>
                  <a:srgbClr val="000000"/>
                </a:solidFill>
              </a:rPr>
              <a:t>X </a:t>
            </a:r>
            <a:r>
              <a:rPr lang="ja-JP" altLang="en-US" sz="1200" dirty="0">
                <a:solidFill>
                  <a:srgbClr val="000000"/>
                </a:solidFill>
              </a:rPr>
              <a:t>線装置、緊急救命装置、手術施設を設置す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最低病床数は、一般病院では</a:t>
            </a:r>
            <a:r>
              <a:rPr lang="en-US" altLang="ja-JP" sz="1200" dirty="0">
                <a:solidFill>
                  <a:srgbClr val="000000"/>
                </a:solidFill>
              </a:rPr>
              <a:t>30</a:t>
            </a:r>
            <a:r>
              <a:rPr lang="ja-JP" altLang="en-US" sz="1200" dirty="0">
                <a:solidFill>
                  <a:srgbClr val="000000"/>
                </a:solidFill>
              </a:rPr>
              <a:t>床、</a:t>
            </a:r>
            <a:r>
              <a:rPr lang="en-US" altLang="ja-JP" sz="1200" dirty="0">
                <a:solidFill>
                  <a:srgbClr val="000000"/>
                </a:solidFill>
              </a:rPr>
              <a:t>2</a:t>
            </a:r>
            <a:r>
              <a:rPr lang="ja-JP" altLang="en-US" sz="1200" dirty="0" err="1">
                <a:solidFill>
                  <a:srgbClr val="000000"/>
                </a:solidFill>
              </a:rPr>
              <a:t>つの</a:t>
            </a:r>
            <a:r>
              <a:rPr lang="ja-JP" altLang="en-US" sz="1200" dirty="0">
                <a:solidFill>
                  <a:srgbClr val="000000"/>
                </a:solidFill>
              </a:rPr>
              <a:t>専門領域を持つ病院では</a:t>
            </a:r>
            <a:r>
              <a:rPr lang="en-US" altLang="ja-JP" sz="1200" dirty="0">
                <a:solidFill>
                  <a:srgbClr val="000000"/>
                </a:solidFill>
              </a:rPr>
              <a:t>20</a:t>
            </a:r>
            <a:r>
              <a:rPr lang="ja-JP" altLang="en-US" sz="1200" dirty="0">
                <a:solidFill>
                  <a:srgbClr val="000000"/>
                </a:solidFill>
              </a:rPr>
              <a:t>床、</a:t>
            </a:r>
            <a:r>
              <a:rPr lang="en-US" altLang="ja-JP" sz="1200" dirty="0">
                <a:solidFill>
                  <a:srgbClr val="000000"/>
                </a:solidFill>
              </a:rPr>
              <a:t>1</a:t>
            </a:r>
            <a:r>
              <a:rPr lang="ja-JP" altLang="en-US" sz="1200" dirty="0" err="1">
                <a:solidFill>
                  <a:srgbClr val="000000"/>
                </a:solidFill>
              </a:rPr>
              <a:t>つの</a:t>
            </a:r>
            <a:r>
              <a:rPr lang="ja-JP" altLang="en-US" sz="1200" dirty="0">
                <a:solidFill>
                  <a:srgbClr val="000000"/>
                </a:solidFill>
              </a:rPr>
              <a:t>専門領域のみの病院では</a:t>
            </a:r>
            <a:r>
              <a:rPr lang="en-US" altLang="ja-JP" sz="1200" dirty="0">
                <a:solidFill>
                  <a:srgbClr val="000000"/>
                </a:solidFill>
              </a:rPr>
              <a:t>10</a:t>
            </a:r>
            <a:r>
              <a:rPr lang="ja-JP" altLang="en-US" sz="1200" dirty="0">
                <a:solidFill>
                  <a:srgbClr val="000000"/>
                </a:solidFill>
              </a:rPr>
              <a:t>床</a:t>
            </a:r>
            <a:r>
              <a:rPr lang="en-US" altLang="ja-JP" sz="1200" dirty="0">
                <a:solidFill>
                  <a:srgbClr val="000000"/>
                </a:solidFill>
              </a:rPr>
              <a:t> </a:t>
            </a:r>
            <a:r>
              <a:rPr lang="ja-JP" altLang="en-US" sz="1200" dirty="0">
                <a:solidFill>
                  <a:srgbClr val="000000"/>
                </a:solidFill>
              </a:rPr>
              <a:t>とする。</a:t>
            </a:r>
            <a:endParaRPr lang="en-US" altLang="ja-JP" sz="1200" dirty="0">
              <a:solidFill>
                <a:srgbClr val="000000"/>
              </a:solidFill>
            </a:endParaRPr>
          </a:p>
        </p:txBody>
      </p:sp>
      <p:sp>
        <p:nvSpPr>
          <p:cNvPr id="11" name="テキスト ボックス 10"/>
          <p:cNvSpPr txBox="1"/>
          <p:nvPr/>
        </p:nvSpPr>
        <p:spPr>
          <a:xfrm>
            <a:off x="200472" y="6525344"/>
            <a:ext cx="8928992" cy="216024"/>
          </a:xfrm>
          <a:prstGeom prst="rect">
            <a:avLst/>
          </a:prstGeom>
          <a:noFill/>
        </p:spPr>
        <p:txBody>
          <a:bodyPr wrap="square" lIns="0" tIns="0" rIns="0" bIns="0" rtlCol="0">
            <a:noAutofit/>
          </a:bodyPr>
          <a:lstStyle/>
          <a:p>
            <a:r>
              <a:rPr lang="ja-JP" altLang="en-US" sz="800" dirty="0">
                <a:cs typeface="Arial" panose="020B0604020202020204" pitchFamily="34" charset="0"/>
              </a:rPr>
              <a:t>（出所）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r>
              <a:rPr lang="en-US" altLang="ja-JP" sz="800" dirty="0" err="1">
                <a:cs typeface="Arial" panose="020B0604020202020204" pitchFamily="34" charset="0"/>
              </a:rPr>
              <a:t>King&amp;Spalding</a:t>
            </a:r>
            <a:r>
              <a:rPr lang="en-US" altLang="ja-JP" sz="800" dirty="0">
                <a:cs typeface="Arial" panose="020B0604020202020204" pitchFamily="34" charset="0"/>
              </a:rPr>
              <a:t> Healthcare and Pharmaceutical Industries in Saudi Arabia</a:t>
            </a:r>
            <a:r>
              <a:rPr lang="ja-JP" altLang="en-US" sz="800" dirty="0">
                <a:cs typeface="Arial" panose="020B0604020202020204" pitchFamily="34" charset="0"/>
              </a:rPr>
              <a:t>（</a:t>
            </a:r>
            <a:r>
              <a:rPr lang="en-US" altLang="ja-JP" sz="800" dirty="0">
                <a:cs typeface="Arial" panose="020B0604020202020204" pitchFamily="34" charset="0"/>
              </a:rPr>
              <a:t>2009 </a:t>
            </a:r>
            <a:r>
              <a:rPr lang="ja-JP" altLang="en-US" sz="800" dirty="0">
                <a:cs typeface="Arial" panose="020B0604020202020204" pitchFamily="34" charset="0"/>
              </a:rPr>
              <a:t>年</a:t>
            </a:r>
            <a:r>
              <a:rPr lang="en-US" altLang="ja-JP" sz="800" dirty="0">
                <a:cs typeface="Arial" panose="020B0604020202020204" pitchFamily="34" charset="0"/>
              </a:rPr>
              <a:t>11 </a:t>
            </a:r>
            <a:r>
              <a:rPr lang="ja-JP" altLang="en-US" sz="800" dirty="0">
                <a:cs typeface="Arial" panose="020B0604020202020204" pitchFamily="34" charset="0"/>
              </a:rPr>
              <a:t>月時点）に基づく。）</a:t>
            </a:r>
            <a:endParaRPr lang="en-US" altLang="ja-JP" sz="800" dirty="0">
              <a:cs typeface="Arial" panose="020B0604020202020204" pitchFamily="34" charset="0"/>
            </a:endParaRPr>
          </a:p>
        </p:txBody>
      </p:sp>
      <p:sp>
        <p:nvSpPr>
          <p:cNvPr id="6" name="正方形/長方形 5"/>
          <p:cNvSpPr/>
          <p:nvPr/>
        </p:nvSpPr>
        <p:spPr>
          <a:xfrm>
            <a:off x="908842" y="5337427"/>
            <a:ext cx="8351966" cy="338554"/>
          </a:xfrm>
          <a:prstGeom prst="rect">
            <a:avLst/>
          </a:prstGeom>
        </p:spPr>
        <p:txBody>
          <a:bodyPr wrap="none">
            <a:spAutoFit/>
          </a:bodyPr>
          <a:lstStyle/>
          <a:p>
            <a:pPr lvl="0"/>
            <a:r>
              <a:rPr lang="en-US" altLang="ja-JP" sz="800" dirty="0">
                <a:solidFill>
                  <a:srgbClr val="000000"/>
                </a:solidFill>
                <a:cs typeface="Arial" panose="020B0604020202020204" pitchFamily="34" charset="0"/>
              </a:rPr>
              <a:t>※1</a:t>
            </a:r>
            <a:r>
              <a:rPr lang="ja-JP" altLang="en-US" sz="800" dirty="0">
                <a:solidFill>
                  <a:srgbClr val="000000"/>
                </a:solidFill>
                <a:cs typeface="Arial" panose="020B0604020202020204" pitchFamily="34" charset="0"/>
              </a:rPr>
              <a:t>　クリニック（</a:t>
            </a:r>
            <a:r>
              <a:rPr lang="en-US" altLang="ja-JP" sz="800" dirty="0">
                <a:solidFill>
                  <a:srgbClr val="000000"/>
                </a:solidFill>
                <a:cs typeface="Arial" panose="020B0604020202020204" pitchFamily="34" charset="0"/>
              </a:rPr>
              <a:t>Clinic</a:t>
            </a:r>
            <a:r>
              <a:rPr lang="ja-JP" altLang="en-US" sz="800" dirty="0">
                <a:solidFill>
                  <a:srgbClr val="000000"/>
                </a:solidFill>
                <a:cs typeface="Arial" panose="020B0604020202020204" pitchFamily="34" charset="0"/>
              </a:rPr>
              <a:t>）とは、</a:t>
            </a:r>
            <a:r>
              <a:rPr lang="en-US" altLang="ja-JP" sz="800" dirty="0">
                <a:solidFill>
                  <a:srgbClr val="000000"/>
                </a:solidFill>
                <a:cs typeface="Arial" panose="020B0604020202020204" pitchFamily="34" charset="0"/>
              </a:rPr>
              <a:t>Facility where a patients are received, examined and treated.</a:t>
            </a:r>
            <a:r>
              <a:rPr lang="ja-JP" altLang="en-US" sz="800" dirty="0">
                <a:solidFill>
                  <a:srgbClr val="000000"/>
                </a:solidFill>
                <a:cs typeface="Arial" panose="020B0604020202020204" pitchFamily="34" charset="0"/>
              </a:rPr>
              <a:t>として定義され、入院施設の必要がない。一方で、病院（</a:t>
            </a:r>
            <a:r>
              <a:rPr lang="en-US" altLang="ja-JP" sz="800" dirty="0">
                <a:solidFill>
                  <a:srgbClr val="000000"/>
                </a:solidFill>
                <a:cs typeface="Arial" panose="020B0604020202020204" pitchFamily="34" charset="0"/>
              </a:rPr>
              <a:t>Hospital</a:t>
            </a:r>
            <a:r>
              <a:rPr lang="ja-JP" altLang="en-US" sz="800" dirty="0">
                <a:solidFill>
                  <a:srgbClr val="000000"/>
                </a:solidFill>
                <a:cs typeface="Arial" panose="020B0604020202020204" pitchFamily="34" charset="0"/>
              </a:rPr>
              <a:t>）は、入院施設が必要となる。</a:t>
            </a:r>
            <a:endParaRPr lang="en-US" altLang="ja-JP" sz="800" dirty="0">
              <a:solidFill>
                <a:srgbClr val="000000"/>
              </a:solidFill>
              <a:cs typeface="Arial" panose="020B0604020202020204" pitchFamily="34" charset="0"/>
            </a:endParaRPr>
          </a:p>
          <a:p>
            <a:pPr lvl="0"/>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とは、</a:t>
            </a:r>
            <a:r>
              <a:rPr lang="en-US" altLang="ja-JP" sz="800" dirty="0">
                <a:solidFill>
                  <a:srgbClr val="000000"/>
                </a:solidFill>
              </a:rPr>
              <a:t>General Directorate of Health Affairs</a:t>
            </a:r>
            <a:r>
              <a:rPr lang="ja-JP" altLang="en-US" sz="800" dirty="0">
                <a:solidFill>
                  <a:srgbClr val="000000"/>
                </a:solidFill>
              </a:rPr>
              <a:t>（健康局・理事会）の略称。</a:t>
            </a:r>
            <a:endParaRPr lang="en-US"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9624207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270B1E-2D3A-4805-BF3E-724CF0595A7F}"/>
              </a:ext>
            </a:extLst>
          </p:cNvPr>
          <p:cNvGraphicFramePr>
            <a:graphicFrameLocks noChangeAspect="1"/>
          </p:cNvGraphicFramePr>
          <p:nvPr>
            <p:custDataLst>
              <p:tags r:id="rId1"/>
            </p:custDataLst>
            <p:extLst>
              <p:ext uri="{D42A27DB-BD31-4B8C-83A1-F6EECF244321}">
                <p14:modId xmlns:p14="http://schemas.microsoft.com/office/powerpoint/2010/main" val="195381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9" name="Object 8" hidden="1">
                        <a:extLst>
                          <a:ext uri="{FF2B5EF4-FFF2-40B4-BE49-F238E27FC236}">
                            <a16:creationId xmlns:a16="http://schemas.microsoft.com/office/drawing/2014/main" id="{16270B1E-2D3A-4805-BF3E-724CF0595A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施設開設に関する規制</a:t>
            </a:r>
            <a:endParaRPr lang="en-US" altLang="ja-JP" dirty="0"/>
          </a:p>
        </p:txBody>
      </p:sp>
      <p:sp>
        <p:nvSpPr>
          <p:cNvPr id="4" name="テキスト ボックス 3"/>
          <p:cNvSpPr txBox="1"/>
          <p:nvPr/>
        </p:nvSpPr>
        <p:spPr>
          <a:xfrm>
            <a:off x="200472" y="1124744"/>
            <a:ext cx="9505056" cy="4657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医療施設開設までには、大きく</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ステップが必要とな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dirty="0">
              <a:solidFill>
                <a:srgbClr val="FF0000"/>
              </a:solidFill>
              <a:cs typeface="Arial" panose="020B0604020202020204" pitchFamily="34" charset="0"/>
            </a:endParaRPr>
          </a:p>
        </p:txBody>
      </p:sp>
      <p:grpSp>
        <p:nvGrpSpPr>
          <p:cNvPr id="5" name="グループ化 7"/>
          <p:cNvGrpSpPr/>
          <p:nvPr/>
        </p:nvGrpSpPr>
        <p:grpSpPr>
          <a:xfrm>
            <a:off x="200471" y="2398241"/>
            <a:ext cx="9505055"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施設開設までの流れ</a:t>
              </a:r>
            </a:p>
          </p:txBody>
        </p:sp>
      </p:grpSp>
      <p:sp>
        <p:nvSpPr>
          <p:cNvPr id="20" name="テキスト ボックス 19"/>
          <p:cNvSpPr txBox="1"/>
          <p:nvPr/>
        </p:nvSpPr>
        <p:spPr>
          <a:xfrm>
            <a:off x="200472" y="6525344"/>
            <a:ext cx="8928992" cy="216024"/>
          </a:xfrm>
          <a:prstGeom prst="rect">
            <a:avLst/>
          </a:prstGeom>
          <a:noFill/>
        </p:spPr>
        <p:txBody>
          <a:bodyPr wrap="square" lIns="0" tIns="0" rIns="0" bIns="0" rtlCol="0">
            <a:noAutofit/>
          </a:bodyPr>
          <a:lstStyle/>
          <a:p>
            <a:r>
              <a:rPr lang="ja-JP" altLang="en-US" sz="800" dirty="0">
                <a:cs typeface="Arial" panose="020B0604020202020204" pitchFamily="34" charset="0"/>
              </a:rPr>
              <a:t>（出所）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r>
              <a:rPr lang="en-US" altLang="ja-JP" sz="800" dirty="0" err="1">
                <a:cs typeface="Arial" panose="020B0604020202020204" pitchFamily="34" charset="0"/>
              </a:rPr>
              <a:t>King&amp;Spalding</a:t>
            </a:r>
            <a:r>
              <a:rPr lang="en-US" altLang="ja-JP" sz="800" dirty="0">
                <a:cs typeface="Arial" panose="020B0604020202020204" pitchFamily="34" charset="0"/>
              </a:rPr>
              <a:t> Healthcare and Pharmaceutical Industries in Saudi Arabia</a:t>
            </a:r>
            <a:r>
              <a:rPr lang="ja-JP" altLang="en-US" sz="800" dirty="0">
                <a:cs typeface="Arial" panose="020B0604020202020204" pitchFamily="34" charset="0"/>
              </a:rPr>
              <a:t>（</a:t>
            </a:r>
            <a:r>
              <a:rPr lang="en-US" altLang="ja-JP" sz="800" dirty="0">
                <a:cs typeface="Arial" panose="020B0604020202020204" pitchFamily="34" charset="0"/>
              </a:rPr>
              <a:t>2009 </a:t>
            </a:r>
            <a:r>
              <a:rPr lang="ja-JP" altLang="en-US" sz="800" dirty="0">
                <a:cs typeface="Arial" panose="020B0604020202020204" pitchFamily="34" charset="0"/>
              </a:rPr>
              <a:t>年</a:t>
            </a:r>
            <a:r>
              <a:rPr lang="en-US" altLang="ja-JP" sz="800" dirty="0">
                <a:cs typeface="Arial" panose="020B0604020202020204" pitchFamily="34" charset="0"/>
              </a:rPr>
              <a:t>11 </a:t>
            </a:r>
            <a:r>
              <a:rPr lang="ja-JP" altLang="en-US" sz="800" dirty="0">
                <a:cs typeface="Arial" panose="020B0604020202020204" pitchFamily="34" charset="0"/>
              </a:rPr>
              <a:t>月時点）に基づく。）</a:t>
            </a:r>
            <a:endParaRPr lang="en-US" altLang="ja-JP" sz="800" dirty="0">
              <a:cs typeface="Arial" panose="020B0604020202020204" pitchFamily="34" charset="0"/>
            </a:endParaRPr>
          </a:p>
        </p:txBody>
      </p:sp>
      <p:sp>
        <p:nvSpPr>
          <p:cNvPr id="25" name="テキスト ボックス 24"/>
          <p:cNvSpPr txBox="1"/>
          <p:nvPr/>
        </p:nvSpPr>
        <p:spPr>
          <a:xfrm>
            <a:off x="200472" y="6093296"/>
            <a:ext cx="6192688" cy="369332"/>
          </a:xfrm>
          <a:prstGeom prst="rect">
            <a:avLst/>
          </a:prstGeom>
          <a:noFill/>
        </p:spPr>
        <p:txBody>
          <a:bodyPr wrap="square" lIns="0" tIns="0" rIns="0" bIns="0" rtlCol="0">
            <a:spAutoFit/>
          </a:bodyPr>
          <a:lstStyle/>
          <a:p>
            <a:r>
              <a:rPr lang="en-US" altLang="ja-JP" sz="800" dirty="0">
                <a:solidFill>
                  <a:srgbClr val="000000"/>
                </a:solidFill>
                <a:cs typeface="Arial" panose="020B0604020202020204" pitchFamily="34" charset="0"/>
              </a:rPr>
              <a:t>※1</a:t>
            </a:r>
            <a:r>
              <a:rPr lang="ja-JP" altLang="en-US" sz="800" dirty="0">
                <a:solidFill>
                  <a:srgbClr val="000000"/>
                </a:solidFill>
                <a:cs typeface="Arial" panose="020B0604020202020204" pitchFamily="34" charset="0"/>
              </a:rPr>
              <a:t> 　</a:t>
            </a:r>
            <a:r>
              <a:rPr lang="en-US" altLang="ja-JP" sz="800" dirty="0" err="1">
                <a:solidFill>
                  <a:srgbClr val="000000"/>
                </a:solidFill>
                <a:cs typeface="Arial" panose="020B0604020202020204" pitchFamily="34" charset="0"/>
              </a:rPr>
              <a:t>MoCI</a:t>
            </a:r>
            <a:r>
              <a:rPr lang="ja-JP" altLang="en-US" sz="800" dirty="0">
                <a:solidFill>
                  <a:srgbClr val="000000"/>
                </a:solidFill>
                <a:cs typeface="Arial" panose="020B0604020202020204" pitchFamily="34" charset="0"/>
              </a:rPr>
              <a:t>とは、</a:t>
            </a:r>
            <a:r>
              <a:rPr lang="en-US" altLang="ja-JP" sz="800" dirty="0">
                <a:solidFill>
                  <a:srgbClr val="000000"/>
                </a:solidFill>
              </a:rPr>
              <a:t>Ministry of Commerce and industry</a:t>
            </a:r>
            <a:r>
              <a:rPr lang="ja-JP" altLang="en-US" sz="800" dirty="0">
                <a:solidFill>
                  <a:srgbClr val="000000"/>
                </a:solidFill>
              </a:rPr>
              <a:t>（商工業省）の略称。</a:t>
            </a:r>
            <a:endParaRPr lang="en-US" altLang="ja-JP" sz="800" dirty="0">
              <a:solidFill>
                <a:srgbClr val="000000"/>
              </a:solidFill>
            </a:endParaRPr>
          </a:p>
          <a:p>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SAGIA</a:t>
            </a:r>
            <a:r>
              <a:rPr lang="ja-JP" altLang="en-US" sz="800" dirty="0">
                <a:solidFill>
                  <a:srgbClr val="000000"/>
                </a:solidFill>
                <a:cs typeface="Arial" panose="020B0604020202020204" pitchFamily="34" charset="0"/>
              </a:rPr>
              <a:t>とは、</a:t>
            </a:r>
            <a:r>
              <a:rPr lang="en-US" altLang="ja-JP" sz="800" dirty="0">
                <a:solidFill>
                  <a:srgbClr val="000000"/>
                </a:solidFill>
                <a:cs typeface="Arial" panose="020B0604020202020204" pitchFamily="34" charset="0"/>
              </a:rPr>
              <a:t>Saudi Arabia General </a:t>
            </a:r>
            <a:r>
              <a:rPr lang="en-US" altLang="ja-JP" sz="800" dirty="0" err="1">
                <a:solidFill>
                  <a:srgbClr val="000000"/>
                </a:solidFill>
                <a:cs typeface="Arial" panose="020B0604020202020204" pitchFamily="34" charset="0"/>
              </a:rPr>
              <a:t>InvestmentAuthority</a:t>
            </a:r>
            <a:r>
              <a:rPr lang="ja-JP" altLang="en-US" sz="800" dirty="0">
                <a:solidFill>
                  <a:srgbClr val="000000"/>
                </a:solidFill>
                <a:cs typeface="Arial" panose="020B0604020202020204" pitchFamily="34" charset="0"/>
              </a:rPr>
              <a:t>の略称。サウジアラビア総合投資院であり、外国企業の窓口となっている。</a:t>
            </a:r>
            <a:endParaRPr lang="en-US" altLang="ja-JP" sz="800" dirty="0">
              <a:solidFill>
                <a:srgbClr val="000000"/>
              </a:solidFill>
              <a:cs typeface="Arial" panose="020B0604020202020204" pitchFamily="34" charset="0"/>
            </a:endParaRPr>
          </a:p>
          <a:p>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とは、</a:t>
            </a:r>
            <a:r>
              <a:rPr lang="en-US" altLang="ja-JP" sz="800" dirty="0">
                <a:solidFill>
                  <a:srgbClr val="000000"/>
                </a:solidFill>
              </a:rPr>
              <a:t>General Directorate of Health Affairs</a:t>
            </a:r>
            <a:r>
              <a:rPr lang="ja-JP" altLang="en-US" sz="800" dirty="0">
                <a:solidFill>
                  <a:srgbClr val="000000"/>
                </a:solidFill>
              </a:rPr>
              <a:t>（健康局・理事会）の略称。サウジアラビア全土に</a:t>
            </a:r>
            <a:r>
              <a:rPr lang="en-US" altLang="ja-JP" sz="800" dirty="0">
                <a:solidFill>
                  <a:srgbClr val="000000"/>
                </a:solidFill>
              </a:rPr>
              <a:t>20</a:t>
            </a:r>
            <a:r>
              <a:rPr lang="ja-JP" altLang="en-US" sz="800" dirty="0">
                <a:solidFill>
                  <a:srgbClr val="000000"/>
                </a:solidFill>
              </a:rPr>
              <a:t>の事務所が設置されている。</a:t>
            </a:r>
            <a:endParaRPr lang="en-US" altLang="ja-JP" sz="800" dirty="0">
              <a:solidFill>
                <a:srgbClr val="000000"/>
              </a:solidFill>
              <a:cs typeface="Arial" panose="020B0604020202020204" pitchFamily="34" charset="0"/>
            </a:endParaRPr>
          </a:p>
        </p:txBody>
      </p:sp>
      <p:sp>
        <p:nvSpPr>
          <p:cNvPr id="28" name="正方形/長方形 27"/>
          <p:cNvSpPr/>
          <p:nvPr/>
        </p:nvSpPr>
        <p:spPr>
          <a:xfrm>
            <a:off x="709130" y="2761764"/>
            <a:ext cx="1792406" cy="523220"/>
          </a:xfrm>
          <a:prstGeom prst="rect">
            <a:avLst/>
          </a:prstGeom>
        </p:spPr>
        <p:txBody>
          <a:bodyPr vert="horz" wrap="square" anchor="t">
            <a:spAutoFit/>
          </a:bodyPr>
          <a:lstStyle/>
          <a:p>
            <a:r>
              <a:rPr lang="en-US" altLang="ja-JP" sz="1200" b="1" dirty="0">
                <a:solidFill>
                  <a:srgbClr val="000000"/>
                </a:solidFill>
              </a:rPr>
              <a:t>MOH</a:t>
            </a:r>
            <a:r>
              <a:rPr lang="ja-JP" altLang="en-US" sz="1200" b="1" dirty="0">
                <a:solidFill>
                  <a:srgbClr val="000000"/>
                </a:solidFill>
              </a:rPr>
              <a:t>の一次承認</a:t>
            </a:r>
            <a:br>
              <a:rPr lang="en-US" altLang="ja-JP" sz="1200" b="1" dirty="0">
                <a:solidFill>
                  <a:srgbClr val="000000"/>
                </a:solidFill>
              </a:rPr>
            </a:br>
            <a:r>
              <a:rPr lang="ja-JP" altLang="en-US" sz="800" b="1" dirty="0">
                <a:solidFill>
                  <a:srgbClr val="000000"/>
                </a:solidFill>
              </a:rPr>
              <a:t>（</a:t>
            </a:r>
            <a:r>
              <a:rPr lang="en-US" altLang="ja-JP" sz="800" b="1" dirty="0">
                <a:solidFill>
                  <a:srgbClr val="000000"/>
                </a:solidFill>
              </a:rPr>
              <a:t>The Assistant Deputy Minister for Hospital Affairs</a:t>
            </a:r>
            <a:r>
              <a:rPr lang="ja-JP" altLang="en-US" sz="800" b="1" dirty="0">
                <a:solidFill>
                  <a:srgbClr val="000000"/>
                </a:solidFill>
              </a:rPr>
              <a:t>）</a:t>
            </a:r>
            <a:endParaRPr lang="ja-JP" altLang="en-US" sz="800" dirty="0">
              <a:solidFill>
                <a:srgbClr val="000000"/>
              </a:solidFill>
            </a:endParaRPr>
          </a:p>
        </p:txBody>
      </p:sp>
      <p:sp>
        <p:nvSpPr>
          <p:cNvPr id="29" name="角丸四角形 28"/>
          <p:cNvSpPr/>
          <p:nvPr/>
        </p:nvSpPr>
        <p:spPr>
          <a:xfrm>
            <a:off x="424290"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1</a:t>
            </a:r>
            <a:endParaRPr lang="ja-JP" altLang="en-US" sz="1600" b="1" dirty="0">
              <a:solidFill>
                <a:srgbClr val="FFFFFF"/>
              </a:solidFill>
              <a:cs typeface="Arial" panose="020B0604020202020204" pitchFamily="34" charset="0"/>
            </a:endParaRPr>
          </a:p>
        </p:txBody>
      </p:sp>
      <p:sp>
        <p:nvSpPr>
          <p:cNvPr id="36" name="正方形/長方形 35"/>
          <p:cNvSpPr/>
          <p:nvPr/>
        </p:nvSpPr>
        <p:spPr>
          <a:xfrm>
            <a:off x="709130" y="3284984"/>
            <a:ext cx="2083630" cy="553998"/>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rPr>
              <a:t>申込書に投資者の情報記入</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投資計画の記述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MOH </a:t>
            </a:r>
            <a:r>
              <a:rPr lang="ja-JP" altLang="en-US" sz="1000" dirty="0">
                <a:solidFill>
                  <a:srgbClr val="000000"/>
                </a:solidFill>
              </a:rPr>
              <a:t>による上記の審査</a:t>
            </a:r>
            <a:endParaRPr lang="ja-JP" altLang="en-US" sz="1000" dirty="0">
              <a:solidFill>
                <a:srgbClr val="000000"/>
              </a:solidFill>
              <a:cs typeface="Arial" pitchFamily="34" charset="0"/>
            </a:endParaRPr>
          </a:p>
        </p:txBody>
      </p:sp>
      <p:sp>
        <p:nvSpPr>
          <p:cNvPr id="37" name="右矢印 36"/>
          <p:cNvSpPr/>
          <p:nvPr/>
        </p:nvSpPr>
        <p:spPr>
          <a:xfrm>
            <a:off x="2544400" y="275009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51" name="正方形/長方形 50"/>
          <p:cNvSpPr/>
          <p:nvPr/>
        </p:nvSpPr>
        <p:spPr>
          <a:xfrm>
            <a:off x="3440832" y="2761764"/>
            <a:ext cx="2014152" cy="276999"/>
          </a:xfrm>
          <a:prstGeom prst="rect">
            <a:avLst/>
          </a:prstGeom>
        </p:spPr>
        <p:txBody>
          <a:bodyPr vert="horz" wrap="square" anchor="t">
            <a:spAutoFit/>
          </a:bodyPr>
          <a:lstStyle/>
          <a:p>
            <a:r>
              <a:rPr lang="en-US" altLang="ja-JP" sz="1200" b="1" dirty="0">
                <a:solidFill>
                  <a:srgbClr val="000000"/>
                </a:solidFill>
              </a:rPr>
              <a:t>MoCI</a:t>
            </a:r>
            <a:r>
              <a:rPr lang="en-US" altLang="ja-JP" sz="1200" b="1" baseline="30000" dirty="0">
                <a:solidFill>
                  <a:srgbClr val="000000"/>
                </a:solidFill>
              </a:rPr>
              <a:t>※1</a:t>
            </a:r>
            <a:r>
              <a:rPr lang="ja-JP" altLang="en-US" sz="1200" b="1" dirty="0">
                <a:solidFill>
                  <a:srgbClr val="000000"/>
                </a:solidFill>
              </a:rPr>
              <a:t>（</a:t>
            </a:r>
            <a:r>
              <a:rPr lang="en-US" altLang="ja-JP" sz="1200" b="1" dirty="0">
                <a:solidFill>
                  <a:srgbClr val="000000"/>
                </a:solidFill>
              </a:rPr>
              <a:t>SAGIA</a:t>
            </a:r>
            <a:r>
              <a:rPr lang="en-US" altLang="ja-JP" sz="1200" b="1" baseline="30000" dirty="0">
                <a:solidFill>
                  <a:srgbClr val="000000"/>
                </a:solidFill>
              </a:rPr>
              <a:t>※2</a:t>
            </a:r>
            <a:r>
              <a:rPr lang="ja-JP" altLang="en-US" sz="1200" b="1" dirty="0">
                <a:solidFill>
                  <a:srgbClr val="000000"/>
                </a:solidFill>
              </a:rPr>
              <a:t>）の承認</a:t>
            </a:r>
          </a:p>
        </p:txBody>
      </p:sp>
      <p:sp>
        <p:nvSpPr>
          <p:cNvPr id="52" name="角丸四角形 51"/>
          <p:cNvSpPr/>
          <p:nvPr/>
        </p:nvSpPr>
        <p:spPr>
          <a:xfrm>
            <a:off x="3181167"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2</a:t>
            </a:r>
            <a:endParaRPr lang="ja-JP" altLang="en-US" sz="1600" b="1" dirty="0">
              <a:solidFill>
                <a:srgbClr val="FFFFFF"/>
              </a:solidFill>
              <a:cs typeface="Arial" panose="020B0604020202020204" pitchFamily="34" charset="0"/>
            </a:endParaRPr>
          </a:p>
        </p:txBody>
      </p:sp>
      <p:sp>
        <p:nvSpPr>
          <p:cNvPr id="53" name="正方形/長方形 52"/>
          <p:cNvSpPr/>
          <p:nvPr/>
        </p:nvSpPr>
        <p:spPr>
          <a:xfrm>
            <a:off x="3442904" y="3284984"/>
            <a:ext cx="2734232" cy="2062103"/>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rPr>
              <a:t>非</a:t>
            </a:r>
            <a:r>
              <a:rPr lang="en-US" altLang="ja-JP" sz="1000" dirty="0">
                <a:solidFill>
                  <a:srgbClr val="000000"/>
                </a:solidFill>
              </a:rPr>
              <a:t>GCC</a:t>
            </a:r>
            <a:r>
              <a:rPr lang="ja-JP" altLang="en-US" sz="1000" dirty="0">
                <a:solidFill>
                  <a:srgbClr val="000000"/>
                </a:solidFill>
              </a:rPr>
              <a:t>企業の場合には、</a:t>
            </a:r>
            <a:r>
              <a:rPr lang="en-US" altLang="ja-JP" sz="1000" dirty="0">
                <a:solidFill>
                  <a:srgbClr val="000000"/>
                </a:solidFill>
              </a:rPr>
              <a:t>SAGIA</a:t>
            </a:r>
            <a:r>
              <a:rPr lang="ja-JP" altLang="en-US" sz="1000" dirty="0">
                <a:solidFill>
                  <a:srgbClr val="000000"/>
                </a:solidFill>
              </a:rPr>
              <a:t>のライセンス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LLC </a:t>
            </a:r>
            <a:r>
              <a:rPr lang="ja-JP" altLang="en-US" sz="1000" dirty="0">
                <a:solidFill>
                  <a:srgbClr val="000000"/>
                </a:solidFill>
              </a:rPr>
              <a:t>と</a:t>
            </a:r>
            <a:r>
              <a:rPr lang="en-US" altLang="ja-JP" sz="1000" dirty="0">
                <a:solidFill>
                  <a:srgbClr val="000000"/>
                </a:solidFill>
              </a:rPr>
              <a:t>JV</a:t>
            </a:r>
            <a:r>
              <a:rPr lang="ja-JP" altLang="en-US" sz="1000" dirty="0">
                <a:solidFill>
                  <a:srgbClr val="000000"/>
                </a:solidFill>
              </a:rPr>
              <a:t>企業は、記入フォームは決まっており、その提出が必要</a:t>
            </a:r>
            <a:br>
              <a:rPr lang="en-US" altLang="ja-JP" sz="1000" dirty="0">
                <a:solidFill>
                  <a:srgbClr val="000000"/>
                </a:solidFill>
              </a:rPr>
            </a:br>
            <a:r>
              <a:rPr lang="ja-JP" altLang="en-US" sz="800" dirty="0">
                <a:solidFill>
                  <a:srgbClr val="000000"/>
                </a:solidFill>
              </a:rPr>
              <a:t>（</a:t>
            </a:r>
            <a:r>
              <a:rPr lang="en-US" altLang="ja-JP" sz="800" dirty="0">
                <a:solidFill>
                  <a:srgbClr val="000000"/>
                </a:solidFill>
              </a:rPr>
              <a:t>JV</a:t>
            </a:r>
            <a:r>
              <a:rPr lang="ja-JP" altLang="en-US" sz="800" dirty="0">
                <a:solidFill>
                  <a:srgbClr val="000000"/>
                </a:solidFill>
              </a:rPr>
              <a:t>企業は</a:t>
            </a:r>
            <a:r>
              <a:rPr lang="en-US" altLang="ja-JP" sz="800" dirty="0">
                <a:solidFill>
                  <a:srgbClr val="000000"/>
                </a:solidFill>
              </a:rPr>
              <a:t>5 </a:t>
            </a:r>
            <a:r>
              <a:rPr lang="ja-JP" altLang="en-US" sz="800" dirty="0">
                <a:solidFill>
                  <a:srgbClr val="000000"/>
                </a:solidFill>
              </a:rPr>
              <a:t>名以上、</a:t>
            </a:r>
            <a:r>
              <a:rPr lang="en-US" altLang="ja-JP" sz="800" dirty="0">
                <a:solidFill>
                  <a:srgbClr val="000000"/>
                </a:solidFill>
              </a:rPr>
              <a:t>LLC </a:t>
            </a:r>
            <a:r>
              <a:rPr lang="ja-JP" altLang="en-US" sz="800" dirty="0">
                <a:solidFill>
                  <a:srgbClr val="000000"/>
                </a:solidFill>
              </a:rPr>
              <a:t>は</a:t>
            </a:r>
            <a:r>
              <a:rPr lang="en-US" altLang="ja-JP" sz="800" dirty="0">
                <a:solidFill>
                  <a:srgbClr val="000000"/>
                </a:solidFill>
              </a:rPr>
              <a:t>2 </a:t>
            </a:r>
            <a:r>
              <a:rPr lang="ja-JP" altLang="en-US" sz="800" dirty="0">
                <a:solidFill>
                  <a:srgbClr val="000000"/>
                </a:solidFill>
              </a:rPr>
              <a:t>名以上の株主が必要）</a:t>
            </a:r>
            <a:endParaRPr lang="en-US" altLang="ja-JP" sz="8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関係官庁へ、株主情報や様々な書類の提出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サウジアラビアの銀行に資本保証金を入れるなどのエビデンス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SAGIA</a:t>
            </a:r>
            <a:r>
              <a:rPr lang="ja-JP" altLang="en-US" sz="1000" dirty="0">
                <a:solidFill>
                  <a:srgbClr val="000000"/>
                </a:solidFill>
              </a:rPr>
              <a:t>に対し、過去</a:t>
            </a:r>
            <a:r>
              <a:rPr lang="en-US" altLang="ja-JP" sz="1000" dirty="0">
                <a:solidFill>
                  <a:srgbClr val="000000"/>
                </a:solidFill>
              </a:rPr>
              <a:t>2 </a:t>
            </a:r>
            <a:r>
              <a:rPr lang="ja-JP" altLang="en-US" sz="1000" dirty="0">
                <a:solidFill>
                  <a:srgbClr val="000000"/>
                </a:solidFill>
              </a:rPr>
              <a:t>年の財務レポートや専門知識を持つことのエビデンスの提出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法人税（通常、非</a:t>
            </a:r>
            <a:r>
              <a:rPr lang="en-US" altLang="ja-JP" sz="1000" dirty="0">
                <a:solidFill>
                  <a:srgbClr val="000000"/>
                </a:solidFill>
              </a:rPr>
              <a:t>GCC </a:t>
            </a:r>
            <a:r>
              <a:rPr lang="ja-JP" altLang="en-US" sz="1000" dirty="0">
                <a:solidFill>
                  <a:srgbClr val="000000"/>
                </a:solidFill>
              </a:rPr>
              <a:t>企業は純利益の</a:t>
            </a:r>
            <a:r>
              <a:rPr lang="en-US" altLang="ja-JP" sz="1000" dirty="0">
                <a:solidFill>
                  <a:srgbClr val="000000"/>
                </a:solidFill>
              </a:rPr>
              <a:t>20%</a:t>
            </a:r>
            <a:r>
              <a:rPr lang="ja-JP" altLang="en-US" sz="1000" dirty="0">
                <a:solidFill>
                  <a:srgbClr val="000000"/>
                </a:solidFill>
              </a:rPr>
              <a:t>）の支払が必要</a:t>
            </a:r>
            <a:endParaRPr lang="en-US" altLang="ja-JP" sz="1000" dirty="0">
              <a:solidFill>
                <a:srgbClr val="000000"/>
              </a:solidFill>
            </a:endParaRPr>
          </a:p>
        </p:txBody>
      </p:sp>
      <p:sp>
        <p:nvSpPr>
          <p:cNvPr id="54" name="右矢印 53"/>
          <p:cNvSpPr/>
          <p:nvPr/>
        </p:nvSpPr>
        <p:spPr>
          <a:xfrm>
            <a:off x="5748773" y="275009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55" name="正方形/長方形 54"/>
          <p:cNvSpPr/>
          <p:nvPr/>
        </p:nvSpPr>
        <p:spPr>
          <a:xfrm>
            <a:off x="6670378" y="2761764"/>
            <a:ext cx="2014152" cy="523220"/>
          </a:xfrm>
          <a:prstGeom prst="rect">
            <a:avLst/>
          </a:prstGeom>
        </p:spPr>
        <p:txBody>
          <a:bodyPr vert="horz" wrap="square" anchor="t">
            <a:spAutoFit/>
          </a:bodyPr>
          <a:lstStyle/>
          <a:p>
            <a:r>
              <a:rPr lang="en-US" altLang="ja-JP" sz="1200" b="1" dirty="0">
                <a:solidFill>
                  <a:srgbClr val="000000"/>
                </a:solidFill>
              </a:rPr>
              <a:t>MOH</a:t>
            </a:r>
            <a:r>
              <a:rPr lang="ja-JP" altLang="en-US" sz="1200" b="1" dirty="0">
                <a:solidFill>
                  <a:srgbClr val="000000"/>
                </a:solidFill>
              </a:rPr>
              <a:t>の最終承認</a:t>
            </a:r>
            <a:endParaRPr lang="en-US" altLang="ja-JP" sz="1200" b="1" dirty="0">
              <a:solidFill>
                <a:srgbClr val="000000"/>
              </a:solidFill>
            </a:endParaRPr>
          </a:p>
          <a:p>
            <a:pPr lvl="0"/>
            <a:r>
              <a:rPr lang="ja-JP" altLang="en-US" sz="800" b="1" dirty="0">
                <a:solidFill>
                  <a:srgbClr val="000000"/>
                </a:solidFill>
              </a:rPr>
              <a:t>（</a:t>
            </a:r>
            <a:r>
              <a:rPr lang="en-US" altLang="ja-JP" sz="800" b="1" dirty="0">
                <a:solidFill>
                  <a:srgbClr val="000000"/>
                </a:solidFill>
              </a:rPr>
              <a:t>The Assistant Deputy Minister for Hospital Affairs</a:t>
            </a:r>
            <a:r>
              <a:rPr lang="ja-JP" altLang="en-US" sz="800" b="1" dirty="0">
                <a:solidFill>
                  <a:srgbClr val="000000"/>
                </a:solidFill>
              </a:rPr>
              <a:t>）</a:t>
            </a:r>
            <a:endParaRPr lang="ja-JP" altLang="en-US" sz="800" dirty="0">
              <a:solidFill>
                <a:srgbClr val="000000"/>
              </a:solidFill>
            </a:endParaRPr>
          </a:p>
        </p:txBody>
      </p:sp>
      <p:sp>
        <p:nvSpPr>
          <p:cNvPr id="56" name="角丸四角形 55"/>
          <p:cNvSpPr/>
          <p:nvPr/>
        </p:nvSpPr>
        <p:spPr>
          <a:xfrm>
            <a:off x="6385538"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3</a:t>
            </a:r>
            <a:endParaRPr lang="ja-JP" altLang="en-US" sz="1600" b="1" dirty="0">
              <a:solidFill>
                <a:srgbClr val="FFFFFF"/>
              </a:solidFill>
              <a:cs typeface="Arial" panose="020B0604020202020204" pitchFamily="34" charset="0"/>
            </a:endParaRPr>
          </a:p>
        </p:txBody>
      </p:sp>
      <p:sp>
        <p:nvSpPr>
          <p:cNvPr id="57" name="正方形/長方形 56"/>
          <p:cNvSpPr/>
          <p:nvPr/>
        </p:nvSpPr>
        <p:spPr>
          <a:xfrm>
            <a:off x="6670378" y="3284984"/>
            <a:ext cx="3035148" cy="2092881"/>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en-US" altLang="ja-JP" sz="1000" dirty="0">
                <a:solidFill>
                  <a:srgbClr val="000000"/>
                </a:solidFill>
              </a:rPr>
              <a:t>MOH </a:t>
            </a:r>
            <a:r>
              <a:rPr lang="ja-JP" altLang="en-US" sz="1000" dirty="0">
                <a:solidFill>
                  <a:srgbClr val="000000"/>
                </a:solidFill>
              </a:rPr>
              <a:t>に投資手段や組織構成などの書類を提出し、</a:t>
            </a:r>
            <a:r>
              <a:rPr lang="en-US" altLang="ja-JP" sz="1000" dirty="0">
                <a:solidFill>
                  <a:srgbClr val="000000"/>
                </a:solidFill>
              </a:rPr>
              <a:t>MOH</a:t>
            </a:r>
            <a:r>
              <a:rPr lang="ja-JP" altLang="en-US" sz="1000" dirty="0">
                <a:solidFill>
                  <a:srgbClr val="000000"/>
                </a:solidFill>
              </a:rPr>
              <a:t>が書類を</a:t>
            </a:r>
            <a:r>
              <a:rPr lang="en-US" altLang="ja-JP" sz="1000" dirty="0">
                <a:solidFill>
                  <a:srgbClr val="000000"/>
                </a:solidFill>
              </a:rPr>
              <a:t>GDHA</a:t>
            </a:r>
            <a:r>
              <a:rPr lang="en-US" altLang="ja-JP" sz="1000" baseline="30000" dirty="0">
                <a:solidFill>
                  <a:srgbClr val="000000"/>
                </a:solidFill>
              </a:rPr>
              <a:t>※3</a:t>
            </a:r>
            <a:r>
              <a:rPr lang="ja-JP" altLang="en-US" sz="1000" dirty="0" err="1">
                <a:solidFill>
                  <a:srgbClr val="000000"/>
                </a:solidFill>
              </a:rPr>
              <a:t>に提</a:t>
            </a:r>
            <a:r>
              <a:rPr lang="ja-JP" altLang="en-US" sz="1000" dirty="0">
                <a:solidFill>
                  <a:srgbClr val="000000"/>
                </a:solidFill>
              </a:rPr>
              <a:t>出</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建設計画や他の計画などを</a:t>
            </a:r>
            <a:r>
              <a:rPr lang="en-US" altLang="ja-JP" sz="1000" dirty="0">
                <a:solidFill>
                  <a:srgbClr val="000000"/>
                </a:solidFill>
              </a:rPr>
              <a:t>GDHA </a:t>
            </a:r>
            <a:r>
              <a:rPr lang="ja-JP" altLang="en-US" sz="1000" dirty="0" err="1">
                <a:solidFill>
                  <a:srgbClr val="000000"/>
                </a:solidFill>
              </a:rPr>
              <a:t>に提</a:t>
            </a:r>
            <a:r>
              <a:rPr lang="ja-JP" altLang="en-US" sz="1000" dirty="0">
                <a:solidFill>
                  <a:srgbClr val="000000"/>
                </a:solidFill>
              </a:rPr>
              <a:t>出</a:t>
            </a:r>
            <a:br>
              <a:rPr lang="en-US" altLang="ja-JP" sz="1000" dirty="0">
                <a:solidFill>
                  <a:srgbClr val="000000"/>
                </a:solidFill>
              </a:rPr>
            </a:br>
            <a:r>
              <a:rPr lang="ja-JP" altLang="en-US" sz="1000" dirty="0">
                <a:solidFill>
                  <a:srgbClr val="000000"/>
                </a:solidFill>
              </a:rPr>
              <a:t>（</a:t>
            </a:r>
            <a:r>
              <a:rPr lang="en-US" altLang="ja-JP" sz="1000" dirty="0">
                <a:solidFill>
                  <a:srgbClr val="000000"/>
                </a:solidFill>
              </a:rPr>
              <a:t>GDHA</a:t>
            </a:r>
            <a:r>
              <a:rPr lang="ja-JP" altLang="en-US" sz="1000" dirty="0">
                <a:solidFill>
                  <a:srgbClr val="000000"/>
                </a:solidFill>
              </a:rPr>
              <a:t>から建設許可を得る必要がある）</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技術的な研究結果</a:t>
            </a:r>
            <a:r>
              <a:rPr lang="en-US" altLang="ja-JP" sz="1000" dirty="0">
                <a:solidFill>
                  <a:srgbClr val="000000"/>
                </a:solidFill>
              </a:rPr>
              <a:t>17(technical study)</a:t>
            </a:r>
            <a:r>
              <a:rPr lang="ja-JP" altLang="en-US" sz="1000" dirty="0">
                <a:solidFill>
                  <a:srgbClr val="000000"/>
                </a:solidFill>
              </a:rPr>
              <a:t>を</a:t>
            </a:r>
            <a:r>
              <a:rPr lang="en-US" altLang="ja-JP" sz="1000" dirty="0">
                <a:solidFill>
                  <a:srgbClr val="000000"/>
                </a:solidFill>
              </a:rPr>
              <a:t>Civil Defense(Safety Department in Civil Defense;</a:t>
            </a:r>
            <a:br>
              <a:rPr lang="en-US" altLang="ja-JP" sz="1000" dirty="0">
                <a:solidFill>
                  <a:srgbClr val="000000"/>
                </a:solidFill>
              </a:rPr>
            </a:br>
            <a:r>
              <a:rPr lang="ja-JP" altLang="en-US" sz="1000" dirty="0">
                <a:solidFill>
                  <a:srgbClr val="000000"/>
                </a:solidFill>
              </a:rPr>
              <a:t>民間防衛組織保安部</a:t>
            </a:r>
            <a:r>
              <a:rPr lang="en-US" altLang="ja-JP" sz="1000" dirty="0">
                <a:solidFill>
                  <a:srgbClr val="000000"/>
                </a:solidFill>
              </a:rPr>
              <a:t>)</a:t>
            </a:r>
            <a:r>
              <a:rPr lang="ja-JP" altLang="en-US" sz="1000" dirty="0" err="1">
                <a:solidFill>
                  <a:srgbClr val="000000"/>
                </a:solidFill>
              </a:rPr>
              <a:t>に提</a:t>
            </a:r>
            <a:r>
              <a:rPr lang="ja-JP" altLang="en-US" sz="1000" dirty="0">
                <a:solidFill>
                  <a:srgbClr val="000000"/>
                </a:solidFill>
              </a:rPr>
              <a:t>出</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建築着工後、</a:t>
            </a:r>
            <a:r>
              <a:rPr lang="en-US" altLang="ja-JP" sz="1000" dirty="0">
                <a:solidFill>
                  <a:srgbClr val="000000"/>
                </a:solidFill>
              </a:rPr>
              <a:t>MOH </a:t>
            </a:r>
            <a:r>
              <a:rPr lang="ja-JP" altLang="en-US" sz="1000" dirty="0">
                <a:solidFill>
                  <a:srgbClr val="000000"/>
                </a:solidFill>
              </a:rPr>
              <a:t>の委員会が病院を視察し、視察レポートを</a:t>
            </a:r>
            <a:r>
              <a:rPr lang="en-US" altLang="ja-JP" sz="1000" dirty="0">
                <a:solidFill>
                  <a:srgbClr val="000000"/>
                </a:solidFill>
              </a:rPr>
              <a:t>MOL</a:t>
            </a:r>
            <a:r>
              <a:rPr lang="ja-JP" altLang="en-US" sz="1000" dirty="0">
                <a:solidFill>
                  <a:srgbClr val="000000"/>
                </a:solidFill>
              </a:rPr>
              <a:t>（</a:t>
            </a:r>
            <a:r>
              <a:rPr lang="en-US" altLang="ja-JP" sz="1000" dirty="0">
                <a:solidFill>
                  <a:srgbClr val="000000"/>
                </a:solidFill>
              </a:rPr>
              <a:t>Ministry of labor;</a:t>
            </a:r>
            <a:r>
              <a:rPr lang="ja-JP" altLang="en-US" sz="1000" dirty="0">
                <a:solidFill>
                  <a:srgbClr val="000000"/>
                </a:solidFill>
              </a:rPr>
              <a:t>労働局）などに提出し雇用ビザを発行</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必要人数のスタッフが雇われ、病院が必要な専門ライセンスを取得し、専門職として承認された後、</a:t>
            </a:r>
            <a:r>
              <a:rPr lang="en-US" altLang="ja-JP" sz="1000" dirty="0">
                <a:solidFill>
                  <a:srgbClr val="000000"/>
                </a:solidFill>
              </a:rPr>
              <a:t>MOH </a:t>
            </a:r>
            <a:r>
              <a:rPr lang="ja-JP" altLang="en-US" sz="1000" dirty="0">
                <a:solidFill>
                  <a:srgbClr val="000000"/>
                </a:solidFill>
              </a:rPr>
              <a:t>が最終承認</a:t>
            </a:r>
            <a:endParaRPr lang="en-US" altLang="ja-JP" sz="1000" dirty="0">
              <a:solidFill>
                <a:srgbClr val="000000"/>
              </a:solidFill>
            </a:endParaRPr>
          </a:p>
        </p:txBody>
      </p:sp>
    </p:spTree>
    <p:extLst>
      <p:ext uri="{BB962C8B-B14F-4D97-AF65-F5344CB8AC3E}">
        <p14:creationId xmlns:p14="http://schemas.microsoft.com/office/powerpoint/2010/main" val="16032783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p:cNvGraphicFramePr>
            <a:graphicFrameLocks noChangeAspect="1"/>
          </p:cNvGraphicFramePr>
          <p:nvPr>
            <p:custDataLst>
              <p:tags r:id="rId1"/>
            </p:custDataLst>
            <p:extLst>
              <p:ext uri="{D42A27DB-BD31-4B8C-83A1-F6EECF244321}">
                <p14:modId xmlns:p14="http://schemas.microsoft.com/office/powerpoint/2010/main" val="1193271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0" name="オブジェクト 1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4" name="表 53"/>
          <p:cNvGraphicFramePr>
            <a:graphicFrameLocks noGrp="1"/>
          </p:cNvGraphicFramePr>
          <p:nvPr/>
        </p:nvGraphicFramePr>
        <p:xfrm>
          <a:off x="200472" y="1983674"/>
          <a:ext cx="9649072" cy="2885486"/>
        </p:xfrm>
        <a:graphic>
          <a:graphicData uri="http://schemas.openxmlformats.org/drawingml/2006/table">
            <a:tbl>
              <a:tblPr firstRow="1" bandRow="1">
                <a:tableStyleId>{2D5ABB26-0587-4C30-8999-92F81FD0307C}</a:tableStyleId>
              </a:tblPr>
              <a:tblGrid>
                <a:gridCol w="682943">
                  <a:extLst>
                    <a:ext uri="{9D8B030D-6E8A-4147-A177-3AD203B41FA5}">
                      <a16:colId xmlns:a16="http://schemas.microsoft.com/office/drawing/2014/main" val="20000"/>
                    </a:ext>
                  </a:extLst>
                </a:gridCol>
                <a:gridCol w="8966129">
                  <a:extLst>
                    <a:ext uri="{9D8B030D-6E8A-4147-A177-3AD203B41FA5}">
                      <a16:colId xmlns:a16="http://schemas.microsoft.com/office/drawing/2014/main" val="20001"/>
                    </a:ext>
                  </a:extLst>
                </a:gridCol>
              </a:tblGrid>
              <a:tr h="79725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申請者</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endParaRPr kumimoji="1" lang="ja-JP" alt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0882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FD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endParaRPr kumimoji="1" lang="ja-JP" altLang="en-US"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の認可に関する規制、手続き（</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医薬品、医療機器等についての規制、承認、監督は、サウジアラビア食品医薬品庁</a:t>
            </a:r>
            <a:r>
              <a:rPr lang="en-US" altLang="ja-JP" sz="1400" dirty="0">
                <a:solidFill>
                  <a:srgbClr val="000000"/>
                </a:solidFill>
                <a:cs typeface="Arial" panose="020B0604020202020204" pitchFamily="34" charset="0"/>
              </a:rPr>
              <a:t>(SFDA: Saudi Food &amp; Drug Authority)</a:t>
            </a:r>
            <a:r>
              <a:rPr lang="ja-JP" altLang="en-US" sz="1400" dirty="0">
                <a:solidFill>
                  <a:srgbClr val="000000"/>
                </a:solidFill>
                <a:cs typeface="Arial" panose="020B0604020202020204" pitchFamily="34" charset="0"/>
              </a:rPr>
              <a:t>が担当しており、医薬品については、「販売許可」が必要になる。</a:t>
            </a:r>
            <a:endParaRPr lang="en-US" altLang="ja-JP" sz="1400" dirty="0">
              <a:solidFill>
                <a:srgbClr val="FF0000"/>
              </a:solidFill>
              <a:cs typeface="Arial" panose="020B0604020202020204" pitchFamily="34" charset="0"/>
            </a:endParaRPr>
          </a:p>
        </p:txBody>
      </p:sp>
      <p:grpSp>
        <p:nvGrpSpPr>
          <p:cNvPr id="5" name="グループ化 7"/>
          <p:cNvGrpSpPr/>
          <p:nvPr/>
        </p:nvGrpSpPr>
        <p:grpSpPr>
          <a:xfrm>
            <a:off x="200472" y="1700808"/>
            <a:ext cx="9649072" cy="288032"/>
            <a:chOff x="4944173" y="2113806"/>
            <a:chExt cx="5861371" cy="288032"/>
          </a:xfrm>
        </p:grpSpPr>
        <p:cxnSp>
          <p:nvCxnSpPr>
            <p:cNvPr id="6" name="直線コネクタ 5"/>
            <p:cNvCxnSpPr/>
            <p:nvPr/>
          </p:nvCxnSpPr>
          <p:spPr>
            <a:xfrm>
              <a:off x="4944173" y="2329830"/>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薬品</a:t>
              </a:r>
              <a:r>
                <a:rPr lang="ja-JP" altLang="en-US" sz="1400" dirty="0">
                  <a:solidFill>
                    <a:srgbClr val="000000"/>
                  </a:solidFill>
                  <a:latin typeface="Arial Black" pitchFamily="34" charset="0"/>
                  <a:ea typeface="HGP創英角ｺﾞｼｯｸUB" pitchFamily="50" charset="-128"/>
                </a:rPr>
                <a:t>の販売許可の流れ</a:t>
              </a:r>
              <a:endParaRPr lang="zh-TW" altLang="en-US" sz="1400" dirty="0">
                <a:solidFill>
                  <a:srgbClr val="000000"/>
                </a:solidFill>
                <a:latin typeface="Arial Black" pitchFamily="34" charset="0"/>
                <a:ea typeface="HGP創英角ｺﾞｼｯｸUB" pitchFamily="50" charset="-128"/>
              </a:endParaRPr>
            </a:p>
          </p:txBody>
        </p:sp>
      </p:grpSp>
      <p:sp>
        <p:nvSpPr>
          <p:cNvPr id="60" name="テキスト ボックス 59"/>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
        <p:nvSpPr>
          <p:cNvPr id="62" name="正方形/長方形 61"/>
          <p:cNvSpPr/>
          <p:nvPr/>
        </p:nvSpPr>
        <p:spPr>
          <a:xfrm>
            <a:off x="1044168" y="2175589"/>
            <a:ext cx="1116000" cy="460800"/>
          </a:xfrm>
          <a:prstGeom prst="rect">
            <a:avLst/>
          </a:prstGeom>
          <a:ln w="6350">
            <a:solidFill>
              <a:schemeClr val="bg1">
                <a:lumMod val="50000"/>
              </a:schemeClr>
            </a:solidFill>
          </a:ln>
        </p:spPr>
        <p:txBody>
          <a:bodyPr vert="horz" wrap="square" anchor="ctr" anchorCtr="0">
            <a:spAutoFit/>
          </a:bodyPr>
          <a:lstStyle/>
          <a:p>
            <a:pPr algn="ctr"/>
            <a:r>
              <a:rPr lang="ja-JP" altLang="en-US" sz="1200" b="1" dirty="0">
                <a:solidFill>
                  <a:srgbClr val="000000"/>
                </a:solidFill>
              </a:rPr>
              <a:t>医薬品</a:t>
            </a:r>
            <a:endParaRPr lang="en-US" altLang="ja-JP" sz="1200" b="1" dirty="0">
              <a:solidFill>
                <a:srgbClr val="000000"/>
              </a:solidFill>
            </a:endParaRPr>
          </a:p>
          <a:p>
            <a:pPr algn="ctr"/>
            <a:r>
              <a:rPr lang="ja-JP" altLang="en-US" sz="1200" b="1" dirty="0">
                <a:solidFill>
                  <a:srgbClr val="000000"/>
                </a:solidFill>
              </a:rPr>
              <a:t>登録申請</a:t>
            </a:r>
            <a:endParaRPr lang="ja-JP" altLang="en-US" sz="1200" dirty="0">
              <a:solidFill>
                <a:srgbClr val="000000"/>
              </a:solidFill>
            </a:endParaRPr>
          </a:p>
        </p:txBody>
      </p:sp>
      <p:sp>
        <p:nvSpPr>
          <p:cNvPr id="63" name="角丸四角形 62"/>
          <p:cNvSpPr/>
          <p:nvPr/>
        </p:nvSpPr>
        <p:spPr>
          <a:xfrm>
            <a:off x="920552" y="2055682"/>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1</a:t>
            </a:r>
            <a:endParaRPr lang="ja-JP" altLang="en-US" sz="1600" b="1" dirty="0">
              <a:solidFill>
                <a:srgbClr val="FFFFFF"/>
              </a:solidFill>
              <a:cs typeface="Arial" panose="020B0604020202020204" pitchFamily="34" charset="0"/>
            </a:endParaRPr>
          </a:p>
        </p:txBody>
      </p:sp>
      <p:sp>
        <p:nvSpPr>
          <p:cNvPr id="64" name="正方形/長方形 63"/>
          <p:cNvSpPr/>
          <p:nvPr/>
        </p:nvSpPr>
        <p:spPr>
          <a:xfrm>
            <a:off x="4769785" y="2175156"/>
            <a:ext cx="1116000" cy="461665"/>
          </a:xfrm>
          <a:prstGeom prst="rect">
            <a:avLst/>
          </a:prstGeom>
          <a:ln w="6350">
            <a:solidFill>
              <a:schemeClr val="bg1">
                <a:lumMod val="50000"/>
              </a:schemeClr>
            </a:solidFill>
          </a:ln>
        </p:spPr>
        <p:txBody>
          <a:bodyPr vert="horz" wrap="square" anchor="ctr" anchorCtr="0">
            <a:noAutofit/>
          </a:bodyPr>
          <a:lstStyle/>
          <a:p>
            <a:pPr algn="ctr"/>
            <a:r>
              <a:rPr lang="ja-JP" altLang="en-US" sz="1200" b="1" dirty="0">
                <a:solidFill>
                  <a:srgbClr val="000000"/>
                </a:solidFill>
              </a:rPr>
              <a:t>不備への</a:t>
            </a:r>
            <a:br>
              <a:rPr lang="en-US" altLang="ja-JP" sz="1200" b="1" dirty="0">
                <a:solidFill>
                  <a:srgbClr val="000000"/>
                </a:solidFill>
              </a:rPr>
            </a:br>
            <a:r>
              <a:rPr lang="ja-JP" altLang="en-US" sz="1200" b="1" dirty="0">
                <a:solidFill>
                  <a:srgbClr val="000000"/>
                </a:solidFill>
              </a:rPr>
              <a:t>対応</a:t>
            </a:r>
          </a:p>
        </p:txBody>
      </p:sp>
      <p:sp>
        <p:nvSpPr>
          <p:cNvPr id="65" name="正方形/長方形 64"/>
          <p:cNvSpPr/>
          <p:nvPr/>
        </p:nvSpPr>
        <p:spPr>
          <a:xfrm>
            <a:off x="6966965" y="2175589"/>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b="1" dirty="0">
                <a:solidFill>
                  <a:srgbClr val="000000"/>
                </a:solidFill>
              </a:rPr>
              <a:t>価格交渉</a:t>
            </a:r>
            <a:endParaRPr lang="ja-JP" altLang="en-US" sz="1200" dirty="0">
              <a:solidFill>
                <a:srgbClr val="000000"/>
              </a:solidFill>
            </a:endParaRPr>
          </a:p>
        </p:txBody>
      </p:sp>
      <p:sp>
        <p:nvSpPr>
          <p:cNvPr id="66" name="正方形/長方形 65"/>
          <p:cNvSpPr/>
          <p:nvPr/>
        </p:nvSpPr>
        <p:spPr>
          <a:xfrm>
            <a:off x="8228862" y="2175589"/>
            <a:ext cx="1116000" cy="460800"/>
          </a:xfrm>
          <a:prstGeom prst="rect">
            <a:avLst/>
          </a:prstGeom>
          <a:ln w="6350">
            <a:solidFill>
              <a:schemeClr val="bg1">
                <a:lumMod val="50000"/>
              </a:schemeClr>
            </a:solidFill>
          </a:ln>
        </p:spPr>
        <p:txBody>
          <a:bodyPr vert="horz" wrap="square" anchor="ctr" anchorCtr="0">
            <a:spAutoFit/>
          </a:bodyPr>
          <a:lstStyle/>
          <a:p>
            <a:pPr algn="ctr"/>
            <a:r>
              <a:rPr lang="ja-JP" altLang="en-US" sz="1200" b="1" dirty="0">
                <a:solidFill>
                  <a:srgbClr val="000000"/>
                </a:solidFill>
              </a:rPr>
              <a:t>販売許可</a:t>
            </a:r>
            <a:br>
              <a:rPr lang="en-US" altLang="ja-JP" sz="1200" b="1" dirty="0">
                <a:solidFill>
                  <a:srgbClr val="000000"/>
                </a:solidFill>
              </a:rPr>
            </a:br>
            <a:r>
              <a:rPr lang="ja-JP" altLang="en-US" sz="1200" b="1" dirty="0">
                <a:solidFill>
                  <a:srgbClr val="000000"/>
                </a:solidFill>
              </a:rPr>
              <a:t>の取得</a:t>
            </a:r>
            <a:endParaRPr lang="ja-JP" altLang="en-US" sz="1200" dirty="0">
              <a:solidFill>
                <a:srgbClr val="000000"/>
              </a:solidFill>
            </a:endParaRPr>
          </a:p>
        </p:txBody>
      </p:sp>
      <p:sp>
        <p:nvSpPr>
          <p:cNvPr id="67" name="正方形/長方形 66"/>
          <p:cNvSpPr/>
          <p:nvPr/>
        </p:nvSpPr>
        <p:spPr>
          <a:xfrm>
            <a:off x="1044168" y="2852936"/>
            <a:ext cx="1116000" cy="461665"/>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申請者に必要な変更を連絡</a:t>
            </a:r>
          </a:p>
        </p:txBody>
      </p:sp>
      <p:sp>
        <p:nvSpPr>
          <p:cNvPr id="68" name="正方形/長方形 67"/>
          <p:cNvSpPr/>
          <p:nvPr/>
        </p:nvSpPr>
        <p:spPr>
          <a:xfrm>
            <a:off x="3128594" y="3515743"/>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申請受理</a:t>
            </a:r>
          </a:p>
        </p:txBody>
      </p:sp>
      <p:sp>
        <p:nvSpPr>
          <p:cNvPr id="69" name="正方形/長方形 68"/>
          <p:cNvSpPr/>
          <p:nvPr/>
        </p:nvSpPr>
        <p:spPr>
          <a:xfrm>
            <a:off x="4496746" y="3256389"/>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審査</a:t>
            </a:r>
          </a:p>
        </p:txBody>
      </p:sp>
      <p:sp>
        <p:nvSpPr>
          <p:cNvPr id="70" name="正方形/長方形 69"/>
          <p:cNvSpPr/>
          <p:nvPr/>
        </p:nvSpPr>
        <p:spPr>
          <a:xfrm>
            <a:off x="4496746" y="3607644"/>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試験</a:t>
            </a:r>
          </a:p>
        </p:txBody>
      </p:sp>
      <p:sp>
        <p:nvSpPr>
          <p:cNvPr id="71" name="正方形/長方形 70"/>
          <p:cNvSpPr/>
          <p:nvPr/>
        </p:nvSpPr>
        <p:spPr>
          <a:xfrm>
            <a:off x="4496746" y="3958898"/>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監査</a:t>
            </a:r>
          </a:p>
        </p:txBody>
      </p:sp>
      <p:sp>
        <p:nvSpPr>
          <p:cNvPr id="72" name="正方形/長方形 71"/>
          <p:cNvSpPr/>
          <p:nvPr/>
        </p:nvSpPr>
        <p:spPr>
          <a:xfrm>
            <a:off x="6966965" y="3515743"/>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価格決定</a:t>
            </a:r>
          </a:p>
        </p:txBody>
      </p:sp>
      <p:sp>
        <p:nvSpPr>
          <p:cNvPr id="73" name="正方形/長方形 72"/>
          <p:cNvSpPr/>
          <p:nvPr/>
        </p:nvSpPr>
        <p:spPr>
          <a:xfrm>
            <a:off x="6966965" y="4197494"/>
            <a:ext cx="1116000" cy="461665"/>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登録委員会</a:t>
            </a:r>
            <a:endParaRPr lang="en-US" altLang="ja-JP" sz="1200" dirty="0">
              <a:solidFill>
                <a:srgbClr val="000000"/>
              </a:solidFill>
            </a:endParaRPr>
          </a:p>
          <a:p>
            <a:pPr algn="ctr"/>
            <a:r>
              <a:rPr lang="ja-JP" altLang="en-US" sz="1200" dirty="0" err="1">
                <a:solidFill>
                  <a:srgbClr val="000000"/>
                </a:solidFill>
              </a:rPr>
              <a:t>での</a:t>
            </a:r>
            <a:r>
              <a:rPr lang="ja-JP" altLang="en-US" sz="1200" dirty="0">
                <a:solidFill>
                  <a:srgbClr val="000000"/>
                </a:solidFill>
              </a:rPr>
              <a:t>決定</a:t>
            </a:r>
          </a:p>
        </p:txBody>
      </p:sp>
      <p:sp>
        <p:nvSpPr>
          <p:cNvPr id="74" name="角丸四角形 73"/>
          <p:cNvSpPr/>
          <p:nvPr/>
        </p:nvSpPr>
        <p:spPr>
          <a:xfrm>
            <a:off x="4642363"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2</a:t>
            </a:r>
            <a:endParaRPr lang="ja-JP" altLang="en-US" sz="1600" b="1" dirty="0">
              <a:solidFill>
                <a:srgbClr val="FFFFFF"/>
              </a:solidFill>
              <a:cs typeface="Arial" panose="020B0604020202020204" pitchFamily="34" charset="0"/>
            </a:endParaRPr>
          </a:p>
        </p:txBody>
      </p:sp>
      <p:sp>
        <p:nvSpPr>
          <p:cNvPr id="75" name="角丸四角形 74"/>
          <p:cNvSpPr/>
          <p:nvPr/>
        </p:nvSpPr>
        <p:spPr>
          <a:xfrm>
            <a:off x="6873010"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3</a:t>
            </a:r>
            <a:endParaRPr lang="ja-JP" altLang="en-US" sz="1600" b="1" dirty="0">
              <a:solidFill>
                <a:srgbClr val="FFFFFF"/>
              </a:solidFill>
              <a:cs typeface="Arial" panose="020B0604020202020204" pitchFamily="34" charset="0"/>
            </a:endParaRPr>
          </a:p>
        </p:txBody>
      </p:sp>
      <p:sp>
        <p:nvSpPr>
          <p:cNvPr id="76" name="角丸四角形 75"/>
          <p:cNvSpPr/>
          <p:nvPr/>
        </p:nvSpPr>
        <p:spPr>
          <a:xfrm>
            <a:off x="8101440"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4</a:t>
            </a:r>
            <a:endParaRPr lang="ja-JP" altLang="en-US" sz="1600" b="1" dirty="0">
              <a:solidFill>
                <a:srgbClr val="FFFFFF"/>
              </a:solidFill>
              <a:cs typeface="Arial" panose="020B0604020202020204" pitchFamily="34" charset="0"/>
            </a:endParaRPr>
          </a:p>
        </p:txBody>
      </p:sp>
      <p:grpSp>
        <p:nvGrpSpPr>
          <p:cNvPr id="110" name="グループ化 109"/>
          <p:cNvGrpSpPr/>
          <p:nvPr/>
        </p:nvGrpSpPr>
        <p:grpSpPr>
          <a:xfrm>
            <a:off x="1904458" y="3394889"/>
            <a:ext cx="1095111" cy="702509"/>
            <a:chOff x="992560" y="4604216"/>
            <a:chExt cx="1095111" cy="702509"/>
          </a:xfrm>
        </p:grpSpPr>
        <p:sp>
          <p:nvSpPr>
            <p:cNvPr id="77" name="フローチャート: 判断 76"/>
            <p:cNvSpPr/>
            <p:nvPr/>
          </p:nvSpPr>
          <p:spPr>
            <a:xfrm>
              <a:off x="1015163" y="460421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78" name="正方形/長方形 77"/>
            <p:cNvSpPr/>
            <p:nvPr/>
          </p:nvSpPr>
          <p:spPr>
            <a:xfrm>
              <a:off x="992560" y="4816971"/>
              <a:ext cx="1095111" cy="276999"/>
            </a:xfrm>
            <a:prstGeom prst="rect">
              <a:avLst/>
            </a:prstGeom>
            <a:ln w="6350">
              <a:noFill/>
            </a:ln>
          </p:spPr>
          <p:txBody>
            <a:bodyPr vert="horz" wrap="square" anchor="t">
              <a:spAutoFit/>
            </a:bodyPr>
            <a:lstStyle/>
            <a:p>
              <a:pPr algn="ctr"/>
              <a:r>
                <a:rPr lang="ja-JP" altLang="en-US" sz="1200" dirty="0">
                  <a:solidFill>
                    <a:srgbClr val="000000"/>
                  </a:solidFill>
                </a:rPr>
                <a:t>有効か？</a:t>
              </a:r>
            </a:p>
          </p:txBody>
        </p:sp>
      </p:grpSp>
      <p:grpSp>
        <p:nvGrpSpPr>
          <p:cNvPr id="79" name="グループ化 78"/>
          <p:cNvGrpSpPr/>
          <p:nvPr/>
        </p:nvGrpSpPr>
        <p:grpSpPr>
          <a:xfrm>
            <a:off x="8245456" y="4077072"/>
            <a:ext cx="1095111" cy="702509"/>
            <a:chOff x="2680550" y="5438686"/>
            <a:chExt cx="1095111" cy="702509"/>
          </a:xfrm>
        </p:grpSpPr>
        <p:sp>
          <p:nvSpPr>
            <p:cNvPr id="80" name="フローチャート: 判断 79"/>
            <p:cNvSpPr/>
            <p:nvPr/>
          </p:nvSpPr>
          <p:spPr>
            <a:xfrm>
              <a:off x="2703153" y="543868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81" name="正方形/長方形 80"/>
            <p:cNvSpPr/>
            <p:nvPr/>
          </p:nvSpPr>
          <p:spPr>
            <a:xfrm>
              <a:off x="2680550" y="5653511"/>
              <a:ext cx="1095111" cy="276999"/>
            </a:xfrm>
            <a:prstGeom prst="rect">
              <a:avLst/>
            </a:prstGeom>
            <a:ln w="6350">
              <a:noFill/>
            </a:ln>
          </p:spPr>
          <p:txBody>
            <a:bodyPr vert="horz" wrap="square" anchor="t">
              <a:spAutoFit/>
            </a:bodyPr>
            <a:lstStyle/>
            <a:p>
              <a:pPr algn="ctr"/>
              <a:r>
                <a:rPr lang="ja-JP" altLang="en-US" sz="1200" dirty="0">
                  <a:solidFill>
                    <a:srgbClr val="000000"/>
                  </a:solidFill>
                </a:rPr>
                <a:t>承認</a:t>
              </a:r>
            </a:p>
          </p:txBody>
        </p:sp>
      </p:grpSp>
      <p:cxnSp>
        <p:nvCxnSpPr>
          <p:cNvPr id="33" name="カギ線コネクタ 32"/>
          <p:cNvCxnSpPr>
            <a:stCxn id="62" idx="3"/>
            <a:endCxn id="77" idx="0"/>
          </p:cNvCxnSpPr>
          <p:nvPr/>
        </p:nvCxnSpPr>
        <p:spPr>
          <a:xfrm>
            <a:off x="2160168" y="2405989"/>
            <a:ext cx="291846" cy="988900"/>
          </a:xfrm>
          <a:prstGeom prst="bentConnector2">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77" idx="1"/>
            <a:endCxn id="67" idx="2"/>
          </p:cNvCxnSpPr>
          <p:nvPr/>
        </p:nvCxnSpPr>
        <p:spPr>
          <a:xfrm rot="10800000">
            <a:off x="1602169" y="3314602"/>
            <a:ext cx="324893" cy="43154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77" idx="3"/>
            <a:endCxn id="68" idx="1"/>
          </p:cNvCxnSpPr>
          <p:nvPr/>
        </p:nvCxnSpPr>
        <p:spPr>
          <a:xfrm flipV="1">
            <a:off x="2976966" y="3746143"/>
            <a:ext cx="151628"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直線矢印コネクタ 84"/>
          <p:cNvCxnSpPr>
            <a:stCxn id="67" idx="0"/>
            <a:endCxn id="62" idx="2"/>
          </p:cNvCxnSpPr>
          <p:nvPr/>
        </p:nvCxnSpPr>
        <p:spPr>
          <a:xfrm flipV="1">
            <a:off x="1602168" y="2636389"/>
            <a:ext cx="0" cy="216547"/>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9" name="正方形/長方形 88"/>
          <p:cNvSpPr/>
          <p:nvPr/>
        </p:nvSpPr>
        <p:spPr>
          <a:xfrm>
            <a:off x="9109632" y="3515743"/>
            <a:ext cx="720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却下</a:t>
            </a:r>
          </a:p>
        </p:txBody>
      </p:sp>
      <p:grpSp>
        <p:nvGrpSpPr>
          <p:cNvPr id="90" name="グループ化 89"/>
          <p:cNvGrpSpPr/>
          <p:nvPr/>
        </p:nvGrpSpPr>
        <p:grpSpPr>
          <a:xfrm>
            <a:off x="5777899" y="3390888"/>
            <a:ext cx="1095111" cy="702509"/>
            <a:chOff x="2680550" y="5438686"/>
            <a:chExt cx="1095111" cy="702509"/>
          </a:xfrm>
        </p:grpSpPr>
        <p:sp>
          <p:nvSpPr>
            <p:cNvPr id="91" name="フローチャート: 判断 90"/>
            <p:cNvSpPr/>
            <p:nvPr/>
          </p:nvSpPr>
          <p:spPr>
            <a:xfrm>
              <a:off x="2703153" y="543868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92" name="正方形/長方形 91"/>
            <p:cNvSpPr/>
            <p:nvPr/>
          </p:nvSpPr>
          <p:spPr>
            <a:xfrm>
              <a:off x="2680550" y="5653511"/>
              <a:ext cx="1095111" cy="276999"/>
            </a:xfrm>
            <a:prstGeom prst="rect">
              <a:avLst/>
            </a:prstGeom>
            <a:ln w="6350">
              <a:noFill/>
            </a:ln>
          </p:spPr>
          <p:txBody>
            <a:bodyPr vert="horz" wrap="square" anchor="t">
              <a:spAutoFit/>
            </a:bodyPr>
            <a:lstStyle/>
            <a:p>
              <a:pPr algn="ctr"/>
              <a:r>
                <a:rPr lang="ja-JP" altLang="en-US" sz="1200" dirty="0">
                  <a:solidFill>
                    <a:srgbClr val="000000"/>
                  </a:solidFill>
                </a:rPr>
                <a:t>完了（合格）</a:t>
              </a:r>
            </a:p>
          </p:txBody>
        </p:sp>
      </p:grpSp>
      <p:cxnSp>
        <p:nvCxnSpPr>
          <p:cNvPr id="94" name="カギ線コネクタ 93"/>
          <p:cNvCxnSpPr>
            <a:stCxn id="91" idx="0"/>
            <a:endCxn id="64" idx="3"/>
          </p:cNvCxnSpPr>
          <p:nvPr/>
        </p:nvCxnSpPr>
        <p:spPr>
          <a:xfrm rot="16200000" flipV="1">
            <a:off x="5613171" y="2678604"/>
            <a:ext cx="984899" cy="439670"/>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5" name="カギ線コネクタ 94"/>
          <p:cNvCxnSpPr>
            <a:stCxn id="68" idx="3"/>
            <a:endCxn id="69" idx="1"/>
          </p:cNvCxnSpPr>
          <p:nvPr/>
        </p:nvCxnSpPr>
        <p:spPr>
          <a:xfrm flipV="1">
            <a:off x="4244594" y="3394889"/>
            <a:ext cx="252152" cy="35125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カギ線コネクタ 97"/>
          <p:cNvCxnSpPr>
            <a:stCxn id="68" idx="3"/>
            <a:endCxn id="71" idx="1"/>
          </p:cNvCxnSpPr>
          <p:nvPr/>
        </p:nvCxnSpPr>
        <p:spPr>
          <a:xfrm>
            <a:off x="4244594" y="3746143"/>
            <a:ext cx="252152" cy="351255"/>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直線矢印コネクタ 100"/>
          <p:cNvCxnSpPr>
            <a:stCxn id="68" idx="3"/>
            <a:endCxn id="70" idx="1"/>
          </p:cNvCxnSpPr>
          <p:nvPr/>
        </p:nvCxnSpPr>
        <p:spPr>
          <a:xfrm>
            <a:off x="4244594" y="3746143"/>
            <a:ext cx="252152"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カギ線コネクタ 110"/>
          <p:cNvCxnSpPr>
            <a:stCxn id="69" idx="3"/>
            <a:endCxn id="91" idx="1"/>
          </p:cNvCxnSpPr>
          <p:nvPr/>
        </p:nvCxnSpPr>
        <p:spPr>
          <a:xfrm>
            <a:off x="5612746" y="3394889"/>
            <a:ext cx="187756" cy="34725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カギ線コネクタ 113"/>
          <p:cNvCxnSpPr>
            <a:stCxn id="71" idx="3"/>
            <a:endCxn id="91" idx="1"/>
          </p:cNvCxnSpPr>
          <p:nvPr/>
        </p:nvCxnSpPr>
        <p:spPr>
          <a:xfrm flipV="1">
            <a:off x="5612746" y="3742143"/>
            <a:ext cx="187756" cy="355255"/>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直線矢印コネクタ 116"/>
          <p:cNvCxnSpPr>
            <a:stCxn id="70" idx="3"/>
            <a:endCxn id="91" idx="1"/>
          </p:cNvCxnSpPr>
          <p:nvPr/>
        </p:nvCxnSpPr>
        <p:spPr>
          <a:xfrm flipV="1">
            <a:off x="5612746" y="3742143"/>
            <a:ext cx="187756" cy="400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直線矢印コネクタ 119"/>
          <p:cNvCxnSpPr>
            <a:stCxn id="73" idx="3"/>
            <a:endCxn id="80" idx="1"/>
          </p:cNvCxnSpPr>
          <p:nvPr/>
        </p:nvCxnSpPr>
        <p:spPr>
          <a:xfrm>
            <a:off x="8082965" y="4428327"/>
            <a:ext cx="185094"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直線矢印コネクタ 125"/>
          <p:cNvCxnSpPr>
            <a:stCxn id="91" idx="3"/>
            <a:endCxn id="72" idx="1"/>
          </p:cNvCxnSpPr>
          <p:nvPr/>
        </p:nvCxnSpPr>
        <p:spPr>
          <a:xfrm>
            <a:off x="6850407" y="3742143"/>
            <a:ext cx="116558" cy="400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直線矢印コネクタ 128"/>
          <p:cNvCxnSpPr>
            <a:stCxn id="72" idx="2"/>
            <a:endCxn id="73" idx="0"/>
          </p:cNvCxnSpPr>
          <p:nvPr/>
        </p:nvCxnSpPr>
        <p:spPr>
          <a:xfrm>
            <a:off x="7524965" y="3976543"/>
            <a:ext cx="0" cy="22095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直線矢印コネクタ 135"/>
          <p:cNvCxnSpPr>
            <a:stCxn id="64" idx="1"/>
            <a:endCxn id="62" idx="3"/>
          </p:cNvCxnSpPr>
          <p:nvPr/>
        </p:nvCxnSpPr>
        <p:spPr>
          <a:xfrm flipH="1">
            <a:off x="2160168" y="2405989"/>
            <a:ext cx="2609617"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9" name="直線矢印コネクタ 138"/>
          <p:cNvCxnSpPr>
            <a:stCxn id="72" idx="0"/>
            <a:endCxn id="65" idx="2"/>
          </p:cNvCxnSpPr>
          <p:nvPr/>
        </p:nvCxnSpPr>
        <p:spPr>
          <a:xfrm flipV="1">
            <a:off x="7524965" y="2636389"/>
            <a:ext cx="0" cy="879354"/>
          </a:xfrm>
          <a:prstGeom prst="straightConnector1">
            <a:avLst/>
          </a:prstGeom>
          <a:ln w="635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2" name="直線矢印コネクタ 141"/>
          <p:cNvCxnSpPr>
            <a:stCxn id="80" idx="0"/>
            <a:endCxn id="66" idx="2"/>
          </p:cNvCxnSpPr>
          <p:nvPr/>
        </p:nvCxnSpPr>
        <p:spPr>
          <a:xfrm flipH="1" flipV="1">
            <a:off x="8786862" y="2636389"/>
            <a:ext cx="6150" cy="1440683"/>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カギ線コネクタ 144"/>
          <p:cNvCxnSpPr>
            <a:stCxn id="80" idx="3"/>
            <a:endCxn id="89" idx="2"/>
          </p:cNvCxnSpPr>
          <p:nvPr/>
        </p:nvCxnSpPr>
        <p:spPr>
          <a:xfrm flipV="1">
            <a:off x="9317964" y="3976543"/>
            <a:ext cx="151668" cy="451784"/>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8" name="正方形/長方形 147"/>
          <p:cNvSpPr/>
          <p:nvPr/>
        </p:nvSpPr>
        <p:spPr>
          <a:xfrm>
            <a:off x="1590752"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sp>
        <p:nvSpPr>
          <p:cNvPr id="149" name="正方形/長方形 148"/>
          <p:cNvSpPr/>
          <p:nvPr/>
        </p:nvSpPr>
        <p:spPr>
          <a:xfrm>
            <a:off x="2819028"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0" name="正方形/長方形 149"/>
          <p:cNvSpPr/>
          <p:nvPr/>
        </p:nvSpPr>
        <p:spPr>
          <a:xfrm>
            <a:off x="6249144" y="3218142"/>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sp>
        <p:nvSpPr>
          <p:cNvPr id="151" name="正方形/長方形 150"/>
          <p:cNvSpPr/>
          <p:nvPr/>
        </p:nvSpPr>
        <p:spPr>
          <a:xfrm>
            <a:off x="6667984"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2" name="正方形/長方形 151"/>
          <p:cNvSpPr/>
          <p:nvPr/>
        </p:nvSpPr>
        <p:spPr>
          <a:xfrm>
            <a:off x="8749512" y="393305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3" name="正方形/長方形 152"/>
          <p:cNvSpPr/>
          <p:nvPr/>
        </p:nvSpPr>
        <p:spPr>
          <a:xfrm>
            <a:off x="9397584" y="4248090"/>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grpSp>
        <p:nvGrpSpPr>
          <p:cNvPr id="156" name="グループ化 7"/>
          <p:cNvGrpSpPr/>
          <p:nvPr/>
        </p:nvGrpSpPr>
        <p:grpSpPr>
          <a:xfrm>
            <a:off x="200472" y="4941168"/>
            <a:ext cx="4154689" cy="288032"/>
            <a:chOff x="4944173" y="2113806"/>
            <a:chExt cx="5861371" cy="288032"/>
          </a:xfrm>
        </p:grpSpPr>
        <p:cxnSp>
          <p:nvCxnSpPr>
            <p:cNvPr id="157" name="直線コネクタ 156"/>
            <p:cNvCxnSpPr/>
            <p:nvPr/>
          </p:nvCxnSpPr>
          <p:spPr>
            <a:xfrm>
              <a:off x="4944173" y="2329830"/>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販売許可の手続料と期間</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59" name="Group 1026"/>
          <p:cNvGraphicFramePr>
            <a:graphicFrameLocks noGrp="1"/>
          </p:cNvGraphicFramePr>
          <p:nvPr>
            <p:extLst>
              <p:ext uri="{D42A27DB-BD31-4B8C-83A1-F6EECF244321}">
                <p14:modId xmlns:p14="http://schemas.microsoft.com/office/powerpoint/2010/main" val="2974086011"/>
              </p:ext>
            </p:extLst>
          </p:nvPr>
        </p:nvGraphicFramePr>
        <p:xfrm>
          <a:off x="200472" y="5229200"/>
          <a:ext cx="4154689" cy="1320970"/>
        </p:xfrm>
        <a:graphic>
          <a:graphicData uri="http://schemas.openxmlformats.org/drawingml/2006/table">
            <a:tbl>
              <a:tblPr/>
              <a:tblGrid>
                <a:gridCol w="994371">
                  <a:extLst>
                    <a:ext uri="{9D8B030D-6E8A-4147-A177-3AD203B41FA5}">
                      <a16:colId xmlns:a16="http://schemas.microsoft.com/office/drawing/2014/main" val="20000"/>
                    </a:ext>
                  </a:extLst>
                </a:gridCol>
                <a:gridCol w="1037234">
                  <a:extLst>
                    <a:ext uri="{9D8B030D-6E8A-4147-A177-3AD203B41FA5}">
                      <a16:colId xmlns:a16="http://schemas.microsoft.com/office/drawing/2014/main" val="20001"/>
                    </a:ext>
                  </a:extLst>
                </a:gridCol>
                <a:gridCol w="2123084">
                  <a:extLst>
                    <a:ext uri="{9D8B030D-6E8A-4147-A177-3AD203B41FA5}">
                      <a16:colId xmlns:a16="http://schemas.microsoft.com/office/drawing/2014/main" val="20002"/>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分類</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手数料（</a:t>
                      </a:r>
                      <a:r>
                        <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US$</a:t>
                      </a: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手続き期間（目標）</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267763">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新薬</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333</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en-US" altLang="ja-JP" sz="1000" b="0" i="0" u="none" strike="noStrike" kern="1200" cap="none" spc="0" normalizeH="0" baseline="0" dirty="0">
                          <a:ln>
                            <a:noFill/>
                          </a:ln>
                          <a:solidFill>
                            <a:srgbClr val="000000"/>
                          </a:solidFill>
                          <a:effectLst/>
                          <a:uLnTx/>
                          <a:uFillTx/>
                          <a:latin typeface="+mn-lt"/>
                          <a:ea typeface="+mn-ea"/>
                          <a:cs typeface="+mn-cs"/>
                        </a:rPr>
                        <a:t>SRA</a:t>
                      </a:r>
                      <a:r>
                        <a:rPr kumimoji="1" lang="en-US" altLang="ja-JP" sz="1000" b="0" i="0" u="none" strike="noStrike" kern="1200" cap="none" spc="0" normalizeH="0" baseline="30000" dirty="0">
                          <a:ln>
                            <a:noFill/>
                          </a:ln>
                          <a:solidFill>
                            <a:srgbClr val="000000"/>
                          </a:solidFill>
                          <a:effectLst/>
                          <a:uLnTx/>
                          <a:uFillTx/>
                          <a:latin typeface="+mn-lt"/>
                          <a:ea typeface="+mn-ea"/>
                          <a:cs typeface="+mn-cs"/>
                        </a:rPr>
                        <a:t>※</a:t>
                      </a:r>
                      <a:r>
                        <a:rPr kumimoji="1" lang="ja-JP" altLang="en-US" sz="1000" b="0" i="0" u="none" strike="noStrike" kern="1200" cap="none" spc="0" normalizeH="0" baseline="0" dirty="0">
                          <a:ln>
                            <a:noFill/>
                          </a:ln>
                          <a:solidFill>
                            <a:srgbClr val="000000"/>
                          </a:solidFill>
                          <a:effectLst/>
                          <a:uLnTx/>
                          <a:uFillTx/>
                          <a:latin typeface="+mn-lt"/>
                          <a:ea typeface="+mn-ea"/>
                          <a:cs typeface="+mn-cs"/>
                        </a:rPr>
                        <a:t>に登録がある製品：</a:t>
                      </a:r>
                      <a:r>
                        <a:rPr kumimoji="1" lang="en-US" altLang="ja-JP" sz="1000" b="0" i="0" u="none" strike="noStrike" kern="1200" cap="none" spc="0" normalizeH="0" baseline="0" dirty="0">
                          <a:ln>
                            <a:noFill/>
                          </a:ln>
                          <a:solidFill>
                            <a:srgbClr val="000000"/>
                          </a:solidFill>
                          <a:effectLst/>
                          <a:uLnTx/>
                          <a:uFillTx/>
                          <a:latin typeface="+mn-lt"/>
                          <a:ea typeface="+mn-ea"/>
                          <a:cs typeface="+mn-cs"/>
                        </a:rPr>
                        <a:t>290</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endParaRPr kumimoji="1" lang="en-US" altLang="ja-JP" sz="100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en-US" sz="1000" b="0" i="0" u="none" strike="noStrike" kern="1200" cap="none" spc="0" normalizeH="0" baseline="0" dirty="0">
                          <a:ln>
                            <a:noFill/>
                          </a:ln>
                          <a:solidFill>
                            <a:srgbClr val="000000"/>
                          </a:solidFill>
                          <a:effectLst/>
                          <a:uLnTx/>
                          <a:uFillTx/>
                          <a:latin typeface="+mn-lt"/>
                          <a:ea typeface="+mn-ea"/>
                          <a:cs typeface="+mn-cs"/>
                        </a:rPr>
                        <a:t>それ以外</a:t>
                      </a:r>
                      <a:r>
                        <a:rPr kumimoji="1" lang="en-US" altLang="ja-JP" sz="1000" b="0" i="0" u="none" strike="noStrike" kern="1200" cap="none" spc="0" normalizeH="0" baseline="0" dirty="0">
                          <a:ln>
                            <a:noFill/>
                          </a:ln>
                          <a:solidFill>
                            <a:srgbClr val="000000"/>
                          </a:solidFill>
                          <a:effectLst/>
                          <a:uLnTx/>
                          <a:uFillTx/>
                          <a:latin typeface="+mn-lt"/>
                          <a:ea typeface="+mn-ea"/>
                          <a:cs typeface="+mn-cs"/>
                        </a:rPr>
                        <a:t>415</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67763">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後発医薬品</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666</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None/>
                        <a:tabLst>
                          <a:tab pos="723900" algn="l"/>
                          <a:tab pos="1620838" algn="l"/>
                        </a:tabLst>
                        <a:defRPr/>
                      </a:pPr>
                      <a:r>
                        <a:rPr kumimoji="1" lang="en-US" altLang="ja-JP" sz="1000" b="0" i="0" u="none" strike="noStrike" kern="1200" cap="none" spc="0" normalizeH="0" baseline="0" dirty="0">
                          <a:ln>
                            <a:noFill/>
                          </a:ln>
                          <a:solidFill>
                            <a:srgbClr val="000000"/>
                          </a:solidFill>
                          <a:effectLst/>
                          <a:uLnTx/>
                          <a:uFillTx/>
                          <a:latin typeface="+mn-lt"/>
                          <a:ea typeface="+mn-ea"/>
                          <a:cs typeface="+mn-cs"/>
                        </a:rPr>
                        <a:t>165</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endParaRPr kumimoji="1" lang="en-US" altLang="ja-JP" sz="1000" b="0" i="0" u="none" strike="noStrike" kern="1200" cap="none" spc="0" normalizeH="0" baseline="0" dirty="0">
                        <a:ln>
                          <a:noFill/>
                        </a:ln>
                        <a:solidFill>
                          <a:srgbClr val="000000"/>
                        </a:solidFill>
                        <a:effectLst/>
                        <a:uLnTx/>
                        <a:uFillTx/>
                        <a:latin typeface="+mn-lt"/>
                        <a:ea typeface="+mn-ea"/>
                        <a:cs typeface="+mn-cs"/>
                      </a:endParaRPr>
                    </a:p>
                    <a:p>
                      <a:pPr marL="0" marR="0" lvl="0" indent="0" algn="r"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None/>
                        <a:tabLst>
                          <a:tab pos="723900" algn="l"/>
                          <a:tab pos="1620838" algn="l"/>
                        </a:tabLst>
                        <a:defRPr/>
                      </a:pPr>
                      <a:r>
                        <a:rPr kumimoji="1" lang="ja-JP" altLang="en-US" sz="1000" b="0" i="0" u="none" strike="noStrike" kern="1200" cap="none" spc="0" normalizeH="0" baseline="0" dirty="0">
                          <a:ln>
                            <a:noFill/>
                          </a:ln>
                          <a:solidFill>
                            <a:srgbClr val="000000"/>
                          </a:solidFill>
                          <a:effectLst/>
                          <a:uLnTx/>
                          <a:uFillTx/>
                          <a:latin typeface="+mn-lt"/>
                          <a:ea typeface="+mn-ea"/>
                          <a:cs typeface="+mn-cs"/>
                        </a:rPr>
                        <a:t>（バイオシミラーは新薬と同様）</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bl>
          </a:graphicData>
        </a:graphic>
      </p:graphicFrame>
      <p:sp>
        <p:nvSpPr>
          <p:cNvPr id="160" name="テキスト ボックス 159"/>
          <p:cNvSpPr txBox="1"/>
          <p:nvPr/>
        </p:nvSpPr>
        <p:spPr>
          <a:xfrm>
            <a:off x="4496746" y="6231941"/>
            <a:ext cx="5209229"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	SRA</a:t>
            </a:r>
            <a:r>
              <a:rPr kumimoji="0" lang="ja-JP" altLang="en-US" sz="800" dirty="0" bmk="">
                <a:solidFill>
                  <a:srgbClr val="000000"/>
                </a:solidFill>
                <a:cs typeface="Arial" panose="020B0604020202020204" pitchFamily="34" charset="0"/>
              </a:rPr>
              <a:t>とは「</a:t>
            </a:r>
            <a:r>
              <a:rPr kumimoji="0" lang="en-US" altLang="ja-JP" sz="800" dirty="0" bmk="">
                <a:solidFill>
                  <a:srgbClr val="000000"/>
                </a:solidFill>
                <a:cs typeface="Arial" panose="020B0604020202020204" pitchFamily="34" charset="0"/>
              </a:rPr>
              <a:t>Stringent Drug Regulatory Authority</a:t>
            </a:r>
            <a:r>
              <a:rPr kumimoji="0" lang="ja-JP" altLang="en-US" sz="800" dirty="0" bmk="">
                <a:solidFill>
                  <a:srgbClr val="000000"/>
                </a:solidFill>
                <a:cs typeface="Arial" panose="020B0604020202020204" pitchFamily="34" charset="0"/>
              </a:rPr>
              <a:t>」の略であり、アメリカ（</a:t>
            </a:r>
            <a:r>
              <a:rPr kumimoji="0" lang="en-US" altLang="ja-JP" sz="800" dirty="0" bmk="">
                <a:solidFill>
                  <a:srgbClr val="000000"/>
                </a:solidFill>
                <a:cs typeface="Arial" panose="020B0604020202020204" pitchFamily="34" charset="0"/>
              </a:rPr>
              <a:t>FDA</a:t>
            </a:r>
            <a:r>
              <a:rPr kumimoji="0" lang="ja-JP" altLang="en-US" sz="800" dirty="0" bmk="">
                <a:solidFill>
                  <a:srgbClr val="000000"/>
                </a:solidFill>
                <a:cs typeface="Arial" panose="020B0604020202020204" pitchFamily="34" charset="0"/>
              </a:rPr>
              <a:t>）、欧州（</a:t>
            </a:r>
            <a:r>
              <a:rPr kumimoji="0" lang="en-US" altLang="ja-JP" sz="800" dirty="0" bmk="">
                <a:solidFill>
                  <a:srgbClr val="000000"/>
                </a:solidFill>
                <a:cs typeface="Arial" panose="020B0604020202020204" pitchFamily="34" charset="0"/>
              </a:rPr>
              <a:t>EMA</a:t>
            </a:r>
            <a:r>
              <a:rPr kumimoji="0" lang="ja-JP" altLang="en-US" sz="800" dirty="0" bmk="">
                <a:solidFill>
                  <a:srgbClr val="000000"/>
                </a:solidFill>
                <a:cs typeface="Arial" panose="020B0604020202020204" pitchFamily="34" charset="0"/>
              </a:rPr>
              <a:t>）、英国（</a:t>
            </a:r>
            <a:r>
              <a:rPr kumimoji="0" lang="en-US" altLang="ja-JP" sz="800" dirty="0" bmk="">
                <a:solidFill>
                  <a:srgbClr val="000000"/>
                </a:solidFill>
                <a:cs typeface="Arial" panose="020B0604020202020204" pitchFamily="34" charset="0"/>
              </a:rPr>
              <a:t>MHRA</a:t>
            </a:r>
            <a:r>
              <a:rPr kumimoji="0" lang="ja-JP" altLang="en-US" sz="800" dirty="0" bmk="">
                <a:solidFill>
                  <a:srgbClr val="000000"/>
                </a:solidFill>
                <a:cs typeface="Arial" panose="020B0604020202020204" pitchFamily="34" charset="0"/>
              </a:rPr>
              <a:t>）、スイス（</a:t>
            </a:r>
            <a:r>
              <a:rPr kumimoji="0" lang="en-US" altLang="ja-JP" sz="800" dirty="0" err="1" bmk="">
                <a:solidFill>
                  <a:srgbClr val="000000"/>
                </a:solidFill>
                <a:cs typeface="Arial" panose="020B0604020202020204" pitchFamily="34" charset="0"/>
              </a:rPr>
              <a:t>SwissMedic</a:t>
            </a:r>
            <a:r>
              <a:rPr kumimoji="0" lang="ja-JP" altLang="en-US" sz="800" dirty="0" bmk="">
                <a:solidFill>
                  <a:srgbClr val="000000"/>
                </a:solidFill>
                <a:cs typeface="Arial" panose="020B0604020202020204" pitchFamily="34" charset="0"/>
              </a:rPr>
              <a:t>）、カナダ（</a:t>
            </a:r>
            <a:r>
              <a:rPr kumimoji="0" lang="en-US" altLang="ja-JP" sz="800" dirty="0" bmk="">
                <a:solidFill>
                  <a:srgbClr val="000000"/>
                </a:solidFill>
                <a:cs typeface="Arial" panose="020B0604020202020204" pitchFamily="34" charset="0"/>
              </a:rPr>
              <a:t>Health Canada</a:t>
            </a:r>
            <a:r>
              <a:rPr kumimoji="0" lang="ja-JP" altLang="en-US" sz="800" dirty="0" bmk="">
                <a:solidFill>
                  <a:srgbClr val="000000"/>
                </a:solidFill>
                <a:cs typeface="Arial" panose="020B0604020202020204" pitchFamily="34" charset="0"/>
              </a:rPr>
              <a:t>）、オーストラリア（</a:t>
            </a:r>
            <a:r>
              <a:rPr kumimoji="0" lang="en-US" altLang="ja-JP" sz="800" dirty="0" bmk="">
                <a:solidFill>
                  <a:srgbClr val="000000"/>
                </a:solidFill>
                <a:cs typeface="Arial" panose="020B0604020202020204" pitchFamily="34" charset="0"/>
              </a:rPr>
              <a:t>TGA</a:t>
            </a:r>
            <a:r>
              <a:rPr kumimoji="0" lang="ja-JP" altLang="en-US" sz="800" dirty="0" bmk="">
                <a:solidFill>
                  <a:srgbClr val="000000"/>
                </a:solidFill>
                <a:cs typeface="Arial" panose="020B0604020202020204" pitchFamily="34" charset="0"/>
              </a:rPr>
              <a:t>）の各規制庁を指す</a:t>
            </a:r>
            <a:endParaRPr kumimoji="0" lang="en-US" altLang="ja-JP" sz="800" dirty="0" bmk="">
              <a:solidFill>
                <a:srgbClr val="000000"/>
              </a:solidFill>
              <a:cs typeface="Arial" panose="020B0604020202020204" pitchFamily="34" charset="0"/>
            </a:endParaRPr>
          </a:p>
        </p:txBody>
      </p:sp>
      <p:sp>
        <p:nvSpPr>
          <p:cNvPr id="161" name="正方形/長方形 160"/>
          <p:cNvSpPr/>
          <p:nvPr/>
        </p:nvSpPr>
        <p:spPr>
          <a:xfrm>
            <a:off x="4441506" y="4355087"/>
            <a:ext cx="1333671" cy="400110"/>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cs typeface="Arial" pitchFamily="34" charset="0"/>
              </a:rPr>
              <a:t>品質、安全性、有効性で評価</a:t>
            </a:r>
          </a:p>
        </p:txBody>
      </p:sp>
      <p:sp>
        <p:nvSpPr>
          <p:cNvPr id="86" name="正方形/長方形 85"/>
          <p:cNvSpPr/>
          <p:nvPr/>
        </p:nvSpPr>
        <p:spPr>
          <a:xfrm>
            <a:off x="1928664" y="1958643"/>
            <a:ext cx="1333671" cy="246221"/>
          </a:xfrm>
          <a:prstGeom prst="rect">
            <a:avLst/>
          </a:prstGeom>
        </p:spPr>
        <p:txBody>
          <a:bodyPr wrap="square">
            <a:spAutoFit/>
          </a:bodyPr>
          <a:lstStyle/>
          <a:p>
            <a:pPr>
              <a:buClr>
                <a:srgbClr val="5F8AC3"/>
              </a:buClr>
              <a:buSzPct val="100000"/>
            </a:pPr>
            <a:r>
              <a:rPr lang="ja-JP" altLang="en-US" sz="1000" dirty="0">
                <a:solidFill>
                  <a:srgbClr val="000000"/>
                </a:solidFill>
                <a:cs typeface="Arial" pitchFamily="34" charset="0"/>
              </a:rPr>
              <a:t>オンラインで申請</a:t>
            </a:r>
          </a:p>
        </p:txBody>
      </p:sp>
    </p:spTree>
    <p:extLst>
      <p:ext uri="{BB962C8B-B14F-4D97-AF65-F5344CB8AC3E}">
        <p14:creationId xmlns:p14="http://schemas.microsoft.com/office/powerpoint/2010/main" val="2874890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人口動態、および人口成長率・年齢別人口構成</a:t>
            </a:r>
          </a:p>
        </p:txBody>
      </p:sp>
      <p:graphicFrame>
        <p:nvGraphicFramePr>
          <p:cNvPr id="7" name="表 6"/>
          <p:cNvGraphicFramePr>
            <a:graphicFrameLocks noGrp="1"/>
          </p:cNvGraphicFramePr>
          <p:nvPr>
            <p:extLst>
              <p:ext uri="{D42A27DB-BD31-4B8C-83A1-F6EECF244321}">
                <p14:modId xmlns:p14="http://schemas.microsoft.com/office/powerpoint/2010/main" val="2940656086"/>
              </p:ext>
            </p:extLst>
          </p:nvPr>
        </p:nvGraphicFramePr>
        <p:xfrm>
          <a:off x="632518" y="1268761"/>
          <a:ext cx="8640961" cy="4896540"/>
        </p:xfrm>
        <a:graphic>
          <a:graphicData uri="http://schemas.openxmlformats.org/drawingml/2006/table">
            <a:tbl>
              <a:tblPr>
                <a:tableStyleId>{5C22544A-7EE6-4342-B048-85BDC9FD1C3A}</a:tableStyleId>
              </a:tblPr>
              <a:tblGrid>
                <a:gridCol w="1326881">
                  <a:extLst>
                    <a:ext uri="{9D8B030D-6E8A-4147-A177-3AD203B41FA5}">
                      <a16:colId xmlns:a16="http://schemas.microsoft.com/office/drawing/2014/main" val="20000"/>
                    </a:ext>
                  </a:extLst>
                </a:gridCol>
                <a:gridCol w="1015844">
                  <a:extLst>
                    <a:ext uri="{9D8B030D-6E8A-4147-A177-3AD203B41FA5}">
                      <a16:colId xmlns:a16="http://schemas.microsoft.com/office/drawing/2014/main" val="20001"/>
                    </a:ext>
                  </a:extLst>
                </a:gridCol>
                <a:gridCol w="1574559">
                  <a:extLst>
                    <a:ext uri="{9D8B030D-6E8A-4147-A177-3AD203B41FA5}">
                      <a16:colId xmlns:a16="http://schemas.microsoft.com/office/drawing/2014/main" val="20002"/>
                    </a:ext>
                  </a:extLst>
                </a:gridCol>
                <a:gridCol w="1574559">
                  <a:extLst>
                    <a:ext uri="{9D8B030D-6E8A-4147-A177-3AD203B41FA5}">
                      <a16:colId xmlns:a16="http://schemas.microsoft.com/office/drawing/2014/main" val="20003"/>
                    </a:ext>
                  </a:extLst>
                </a:gridCol>
                <a:gridCol w="1574559">
                  <a:extLst>
                    <a:ext uri="{9D8B030D-6E8A-4147-A177-3AD203B41FA5}">
                      <a16:colId xmlns:a16="http://schemas.microsoft.com/office/drawing/2014/main" val="20004"/>
                    </a:ext>
                  </a:extLst>
                </a:gridCol>
                <a:gridCol w="1574559">
                  <a:extLst>
                    <a:ext uri="{9D8B030D-6E8A-4147-A177-3AD203B41FA5}">
                      <a16:colId xmlns:a16="http://schemas.microsoft.com/office/drawing/2014/main" val="20005"/>
                    </a:ext>
                  </a:extLst>
                </a:gridCol>
              </a:tblGrid>
              <a:tr h="594269">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百万人）</a:t>
                      </a:r>
                    </a:p>
                  </a:txBody>
                  <a:tcPr marL="36000" marR="36000" marT="0" marB="0" anchor="ctr">
                    <a:solidFill>
                      <a:srgbClr val="3D6AA7"/>
                    </a:solidFill>
                  </a:tcPr>
                </a:tc>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成長率（</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gridSpan="3">
                  <a:txBody>
                    <a:bodyPr/>
                    <a:lstStyle/>
                    <a:p>
                      <a:pPr marL="0" algn="ctr" defTabSz="914400" rtl="0" eaLnBrk="1" fontAlgn="ctr" latinLnBrk="0" hangingPunct="1"/>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年齢別人口割合</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84925">
                <a:tc vMerge="1">
                  <a:txBody>
                    <a:bodyPr/>
                    <a:lstStyle/>
                    <a:p>
                      <a:pPr algn="l"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vMerge="1">
                  <a:txBody>
                    <a:bodyPr/>
                    <a:lstStyle/>
                    <a:p>
                      <a:pPr algn="ctr"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vMerge="1">
                  <a:txBody>
                    <a:bodyPr/>
                    <a:lstStyle/>
                    <a:p>
                      <a:pPr algn="ctr"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未満</a:t>
                      </a:r>
                    </a:p>
                  </a:txBody>
                  <a:tcPr marL="36000" marR="36000" marT="0" marB="0" anchor="ctr">
                    <a:solidFill>
                      <a:srgbClr val="3D6AA7"/>
                    </a:solidFill>
                  </a:tcP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64</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a:t>
                      </a:r>
                    </a:p>
                  </a:txBody>
                  <a:tcPr marL="36000" marR="36000" marT="0" marB="0" anchor="ctr">
                    <a:solidFill>
                      <a:srgbClr val="3D6AA7"/>
                    </a:solidFill>
                  </a:tcP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6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a:t>
                      </a:r>
                    </a:p>
                  </a:txBody>
                  <a:tcPr marL="36000" marR="36000" marT="0" marB="0" anchor="ctr">
                    <a:solidFill>
                      <a:srgbClr val="3D6AA7"/>
                    </a:solidFill>
                  </a:tcPr>
                </a:tc>
                <a:extLst>
                  <a:ext uri="{0D108BD9-81ED-4DB2-BD59-A6C34878D82A}">
                    <a16:rowId xmlns:a16="http://schemas.microsoft.com/office/drawing/2014/main" val="10001"/>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2927.73</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7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4.2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8.4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7.38</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2832.1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4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5.4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9.6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4.9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7708">
                <a:tc>
                  <a:txBody>
                    <a:bodyPr/>
                    <a:lstStyle/>
                    <a:p>
                      <a:pPr algn="l" fontAlgn="b">
                        <a:buNone/>
                      </a:pPr>
                      <a:r>
                        <a:rPr lang="ja-JP" altLang="en-US" sz="1100" b="0" i="0" u="none" strike="noStrike">
                          <a:solidFill>
                            <a:srgbClr val="000000"/>
                          </a:solidFill>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694.5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0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7.1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4.5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8.3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43110">
                <a:tc>
                  <a:txBody>
                    <a:bodyPr/>
                    <a:lstStyle/>
                    <a:p>
                      <a:pPr algn="l" fontAlgn="b">
                        <a:buNone/>
                      </a:pPr>
                      <a:r>
                        <a:rPr lang="ja-JP" altLang="en-US" sz="1100" b="0" i="0" u="none" strike="noStrike">
                          <a:solidFill>
                            <a:srgbClr val="000000"/>
                          </a:solidFill>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571.4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5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4.2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8.2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7.5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425.6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7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9.3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9.1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1.4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43110">
                <a:tc>
                  <a:txBody>
                    <a:bodyPr/>
                    <a:lstStyle/>
                    <a:p>
                      <a:pPr algn="l" fontAlgn="b">
                        <a:buNone/>
                      </a:pPr>
                      <a:r>
                        <a:rPr lang="ja-JP" altLang="en-US" sz="1100" b="0" i="0" u="none" strike="noStrike" dirty="0">
                          <a:solidFill>
                            <a:srgbClr val="000000"/>
                          </a:solidFill>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87.9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2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7.0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5.1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7.7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263.8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6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4.0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7.3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8.5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46.2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0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1.2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58.7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9.9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75.3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5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1.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8.4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0.5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68.1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5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3.8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2.4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3.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イギリ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39.1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1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6.9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3.3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9.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33.3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3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6.2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1.2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2.5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43110">
                <a:tc>
                  <a:txBody>
                    <a:bodyPr/>
                    <a:lstStyle/>
                    <a:p>
                      <a:pPr algn="l" fontAlgn="b">
                        <a:buNone/>
                      </a:pPr>
                      <a:r>
                        <a:rPr lang="ja-JP" altLang="en-US" sz="1100" b="0" i="0" u="none" strike="noStrike">
                          <a:solidFill>
                            <a:srgbClr val="000000"/>
                          </a:solidFill>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29.4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2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25.7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7.3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8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43110">
                <a:tc>
                  <a:txBody>
                    <a:bodyPr/>
                    <a:lstStyle/>
                    <a:p>
                      <a:pPr algn="l" fontAlgn="b">
                        <a:buNone/>
                      </a:pPr>
                      <a:r>
                        <a:rPr lang="ja-JP" altLang="en-US" sz="1100" b="0" i="0" u="none" strike="noStrike">
                          <a:solidFill>
                            <a:srgbClr val="000000"/>
                          </a:solidFill>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18.2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7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1.6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3.2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5.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大韓民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03.3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2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0.2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9.4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0.3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7708">
                <a:tc>
                  <a:txBody>
                    <a:bodyPr/>
                    <a:lstStyle/>
                    <a:p>
                      <a:pPr algn="l" fontAlgn="b">
                        <a:buNone/>
                      </a:pPr>
                      <a:r>
                        <a:rPr lang="ja-JP" altLang="en-US" sz="1100" b="0" i="0" u="none" strike="noStrike">
                          <a:solidFill>
                            <a:srgbClr val="000000"/>
                          </a:solidFill>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91.7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6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1.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6.3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2.6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43110">
                <a:tc>
                  <a:txBody>
                    <a:bodyPr/>
                    <a:lstStyle/>
                    <a:p>
                      <a:pPr algn="l" fontAlgn="b">
                        <a:buNone/>
                      </a:pPr>
                      <a:r>
                        <a:rPr lang="ja-JP" altLang="en-US" sz="1100" b="0" i="0" u="none" strike="noStrike">
                          <a:solidFill>
                            <a:srgbClr val="000000"/>
                          </a:solidFill>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80.2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8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4.9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64.7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0.2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43110">
                <a:tc>
                  <a:txBody>
                    <a:bodyPr/>
                    <a:lstStyle/>
                    <a:p>
                      <a:pPr algn="l" fontAlgn="b">
                        <a:buNone/>
                      </a:pPr>
                      <a:r>
                        <a:rPr lang="ja-JP" altLang="en-US" sz="1100" b="0" i="0" u="none" strike="noStrike" dirty="0">
                          <a:solidFill>
                            <a:srgbClr val="000000"/>
                          </a:solidFill>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69.1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3.5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3.6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73.3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3.0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43110">
                <a:tc>
                  <a:txBody>
                    <a:bodyPr/>
                    <a:lstStyle/>
                    <a:p>
                      <a:pPr algn="l" fontAlgn="b">
                        <a:buNone/>
                      </a:pPr>
                      <a:r>
                        <a:rPr lang="ja-JP" altLang="en-US" sz="1100" b="0" i="0" u="none" strike="noStrike" dirty="0">
                          <a:solidFill>
                            <a:srgbClr val="000000"/>
                          </a:solidFill>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53.9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000" b="0" i="0" u="none" strike="noStrike">
                          <a:solidFill>
                            <a:srgbClr val="000000"/>
                          </a:solidFill>
                          <a:effectLst/>
                          <a:latin typeface="Arial" panose="020B0604020202020204" pitchFamily="34" charset="0"/>
                        </a:rPr>
                        <a:t>1.9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000" b="0" i="0" u="none" strike="noStrike">
                          <a:solidFill>
                            <a:srgbClr val="000000"/>
                          </a:solidFill>
                          <a:effectLst/>
                          <a:latin typeface="Arial" panose="020B0604020202020204" pitchFamily="34" charset="0"/>
                        </a:rPr>
                        <a:t>17.6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000" b="0" i="0" u="none" strike="noStrike" dirty="0">
                          <a:solidFill>
                            <a:srgbClr val="000000"/>
                          </a:solidFill>
                          <a:effectLst/>
                          <a:latin typeface="Arial" panose="020B0604020202020204" pitchFamily="34" charset="0"/>
                        </a:rPr>
                        <a:t>64.2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000" b="0" i="0" u="none" strike="noStrike" dirty="0">
                          <a:solidFill>
                            <a:srgbClr val="000000"/>
                          </a:solidFill>
                          <a:effectLst/>
                          <a:latin typeface="Arial" panose="020B0604020202020204" pitchFamily="34" charset="0"/>
                        </a:rPr>
                        <a:t>18.0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32" name="テキスト ボックス 31"/>
          <p:cNvSpPr txBox="1"/>
          <p:nvPr/>
        </p:nvSpPr>
        <p:spPr>
          <a:xfrm>
            <a:off x="632518" y="6349191"/>
            <a:ext cx="828092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口」、「人口成長率」、「年齢別人口割合」は、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33" name="テキスト ボックス 32"/>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a:t>
            </a:r>
            <a:r>
              <a:rPr lang="en-IN" altLang="ja-JP" sz="800" dirty="0">
                <a:solidFill>
                  <a:srgbClr val="000000"/>
                </a:solidFill>
                <a:cs typeface="Arial" panose="020B0604020202020204" pitchFamily="34" charset="0"/>
              </a:rPr>
              <a:t>UN World Population Prospects 202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lang="en-IN"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4656180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682280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の認可に関する規制、手続き（</a:t>
            </a:r>
            <a:r>
              <a:rPr lang="en-US" altLang="ja-JP" dirty="0">
                <a:latin typeface="Arial Black" panose="020B0A04020102020204" pitchFamily="34" charset="0"/>
              </a:rPr>
              <a:t>2/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薬品の販売許可取得の際に必要な提出書類と、記載事項の概要は、以下の通り。</a:t>
            </a:r>
          </a:p>
        </p:txBody>
      </p:sp>
      <p:grpSp>
        <p:nvGrpSpPr>
          <p:cNvPr id="12" name="グループ化 7"/>
          <p:cNvGrpSpPr/>
          <p:nvPr/>
        </p:nvGrpSpPr>
        <p:grpSpPr>
          <a:xfrm>
            <a:off x="341200" y="2276872"/>
            <a:ext cx="4251386"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許可取得の際に必要な提出書類等</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6" name="表 15"/>
          <p:cNvGraphicFramePr>
            <a:graphicFrameLocks noGrp="1"/>
          </p:cNvGraphicFramePr>
          <p:nvPr>
            <p:extLst>
              <p:ext uri="{D42A27DB-BD31-4B8C-83A1-F6EECF244321}">
                <p14:modId xmlns:p14="http://schemas.microsoft.com/office/powerpoint/2010/main" val="303970232"/>
              </p:ext>
            </p:extLst>
          </p:nvPr>
        </p:nvGraphicFramePr>
        <p:xfrm>
          <a:off x="416496" y="2705227"/>
          <a:ext cx="4176089" cy="1316630"/>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436565">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申込書（オンラインで提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36565">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dirty="0">
                          <a:solidFill>
                            <a:schemeClr val="tx1"/>
                          </a:solidFill>
                        </a:rPr>
                        <a:t>製品ファイル</a:t>
                      </a:r>
                      <a:endPar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43500">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950" b="0" dirty="0">
                          <a:solidFill>
                            <a:schemeClr val="tx1"/>
                          </a:solidFill>
                        </a:rPr>
                        <a:t>薬剤サンプル</a:t>
                      </a:r>
                      <a:endParaRPr kumimoji="0" lang="ja-JP" altLang="en-US" sz="95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18" name="角丸四角形 17"/>
          <p:cNvSpPr/>
          <p:nvPr/>
        </p:nvSpPr>
        <p:spPr>
          <a:xfrm>
            <a:off x="4888099" y="2675819"/>
            <a:ext cx="4752000" cy="3704789"/>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0" name="グループ化 19"/>
          <p:cNvGrpSpPr/>
          <p:nvPr/>
        </p:nvGrpSpPr>
        <p:grpSpPr>
          <a:xfrm>
            <a:off x="8882338" y="5589240"/>
            <a:ext cx="663622" cy="737990"/>
            <a:chOff x="7569377" y="3903973"/>
            <a:chExt cx="1752281" cy="2160240"/>
          </a:xfrm>
        </p:grpSpPr>
        <p:grpSp>
          <p:nvGrpSpPr>
            <p:cNvPr id="21" name="グループ化 20"/>
            <p:cNvGrpSpPr/>
            <p:nvPr/>
          </p:nvGrpSpPr>
          <p:grpSpPr>
            <a:xfrm rot="767249">
              <a:off x="7569377" y="3903973"/>
              <a:ext cx="1224136" cy="1656184"/>
              <a:chOff x="2432720" y="3429000"/>
              <a:chExt cx="1224136" cy="1656184"/>
            </a:xfrm>
          </p:grpSpPr>
          <p:sp>
            <p:nvSpPr>
              <p:cNvPr id="44" name="正方形/長方形 4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cxnSp>
            <p:nvCxnSpPr>
              <p:cNvPr id="45" name="直線コネクタ 4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2" name="グループ化 21"/>
            <p:cNvGrpSpPr/>
            <p:nvPr/>
          </p:nvGrpSpPr>
          <p:grpSpPr>
            <a:xfrm rot="767249">
              <a:off x="8097522" y="4408029"/>
              <a:ext cx="1224136" cy="1656184"/>
              <a:chOff x="2432720" y="3429000"/>
              <a:chExt cx="1224136" cy="1656184"/>
            </a:xfrm>
          </p:grpSpPr>
          <p:sp>
            <p:nvSpPr>
              <p:cNvPr id="23" name="正方形/長方形 22"/>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cxnSp>
            <p:nvCxnSpPr>
              <p:cNvPr id="24" name="直線コネクタ 23"/>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5" name="テキスト ボックス 64"/>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
        <p:nvSpPr>
          <p:cNvPr id="19" name="テキスト プレースホルダ 1"/>
          <p:cNvSpPr txBox="1">
            <a:spLocks/>
          </p:cNvSpPr>
          <p:nvPr/>
        </p:nvSpPr>
        <p:spPr>
          <a:xfrm>
            <a:off x="4736976" y="2675820"/>
            <a:ext cx="4968550" cy="327455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000" dirty="0"/>
              <a:t>新規か更新かの別</a:t>
            </a:r>
          </a:p>
          <a:p>
            <a:pPr marL="0" indent="0">
              <a:buNone/>
            </a:pPr>
            <a:r>
              <a:rPr lang="en-US" altLang="ja-JP" sz="1000" dirty="0"/>
              <a:t>1 </a:t>
            </a:r>
            <a:r>
              <a:rPr lang="ja-JP" altLang="en-US" sz="1000" dirty="0"/>
              <a:t>申請のタイプ</a:t>
            </a:r>
          </a:p>
          <a:p>
            <a:pPr marL="0" indent="0">
              <a:buNone/>
            </a:pPr>
            <a:r>
              <a:rPr lang="en-US" altLang="ja-JP" sz="1000" dirty="0"/>
              <a:t>1.1 </a:t>
            </a:r>
            <a:r>
              <a:rPr lang="ja-JP" altLang="en-US" sz="1000" dirty="0"/>
              <a:t>申請の別（新薬（</a:t>
            </a:r>
            <a:r>
              <a:rPr lang="en-US" altLang="ja-JP" sz="1000" dirty="0"/>
              <a:t>New Drug</a:t>
            </a:r>
            <a:r>
              <a:rPr lang="ja-JP" altLang="en-US" sz="1000" dirty="0"/>
              <a:t>）、後発医薬品、生物製剤（</a:t>
            </a:r>
            <a:r>
              <a:rPr lang="en-US" altLang="ja-JP" sz="1000" dirty="0"/>
              <a:t>Biological</a:t>
            </a:r>
            <a:r>
              <a:rPr lang="ja-JP" altLang="en-US" sz="1000" dirty="0"/>
              <a:t>）、放射性医薬品） </a:t>
            </a:r>
          </a:p>
          <a:p>
            <a:pPr marL="0" indent="0">
              <a:buNone/>
            </a:pPr>
            <a:r>
              <a:rPr lang="en-US" altLang="ja-JP" sz="1000" dirty="0"/>
              <a:t>1.2 </a:t>
            </a:r>
            <a:r>
              <a:rPr lang="ja-JP" altLang="en-US" sz="1000" dirty="0"/>
              <a:t>製品に関する情報（サウジアラビアが原産国か否か、原産国における製品の情報） </a:t>
            </a:r>
          </a:p>
          <a:p>
            <a:pPr marL="0" indent="0">
              <a:buNone/>
            </a:pPr>
            <a:r>
              <a:rPr lang="en-US" altLang="ja-JP" sz="1000" dirty="0"/>
              <a:t>2 </a:t>
            </a:r>
            <a:r>
              <a:rPr lang="ja-JP" altLang="en-US" sz="1000" dirty="0"/>
              <a:t>販売承認申請の詳細</a:t>
            </a:r>
          </a:p>
          <a:p>
            <a:pPr marL="0" indent="0">
              <a:buNone/>
            </a:pPr>
            <a:r>
              <a:rPr lang="en-US" altLang="ja-JP" sz="1000" dirty="0"/>
              <a:t>2.1 </a:t>
            </a:r>
            <a:r>
              <a:rPr lang="ja-JP" altLang="en-US" sz="1000" dirty="0"/>
              <a:t>製品名及び</a:t>
            </a:r>
            <a:r>
              <a:rPr lang="en-US" altLang="ja-JP" sz="1000" dirty="0"/>
              <a:t>ATC</a:t>
            </a:r>
            <a:r>
              <a:rPr lang="ja-JP" altLang="en-US" sz="1000" dirty="0"/>
              <a:t>コード</a:t>
            </a:r>
          </a:p>
          <a:p>
            <a:pPr marL="0" indent="0">
              <a:buNone/>
            </a:pPr>
            <a:r>
              <a:rPr lang="en-US" altLang="ja-JP" sz="1000" dirty="0"/>
              <a:t>2.2 </a:t>
            </a:r>
            <a:r>
              <a:rPr lang="ja-JP" altLang="en-US" sz="1000" dirty="0"/>
              <a:t>製品情報</a:t>
            </a:r>
          </a:p>
          <a:p>
            <a:pPr marL="0" indent="0">
              <a:buNone/>
            </a:pPr>
            <a:r>
              <a:rPr lang="en-US" altLang="ja-JP" sz="1000" dirty="0"/>
              <a:t>2.3 </a:t>
            </a:r>
            <a:r>
              <a:rPr lang="ja-JP" altLang="en-US" sz="1000" dirty="0"/>
              <a:t>販売承認保有者／コンタクトパーソン／企業の詳細</a:t>
            </a:r>
          </a:p>
          <a:p>
            <a:pPr marL="0" indent="0">
              <a:buNone/>
            </a:pPr>
            <a:r>
              <a:rPr lang="en-US" altLang="ja-JP" sz="1000" dirty="0"/>
              <a:t>2.4 </a:t>
            </a:r>
            <a:r>
              <a:rPr lang="ja-JP" altLang="en-US" sz="1000" dirty="0"/>
              <a:t>製造者 （</a:t>
            </a:r>
            <a:r>
              <a:rPr lang="en-US" altLang="zh-TW" sz="1000" dirty="0"/>
              <a:t>API</a:t>
            </a:r>
            <a:r>
              <a:rPr lang="zh-TW" altLang="en-US" sz="1000" dirty="0"/>
              <a:t>製造者、賦形剤（</a:t>
            </a:r>
            <a:r>
              <a:rPr lang="en-US" altLang="zh-TW" sz="1000" dirty="0"/>
              <a:t>Excipients</a:t>
            </a:r>
            <a:r>
              <a:rPr lang="zh-TW" altLang="en-US" sz="1000" dirty="0"/>
              <a:t>）製造者、最終製品製造者</a:t>
            </a:r>
            <a:r>
              <a:rPr lang="ja-JP" altLang="en-US" sz="1000" dirty="0"/>
              <a:t>）</a:t>
            </a:r>
            <a:endParaRPr lang="zh-TW" altLang="en-US" sz="1000" dirty="0"/>
          </a:p>
          <a:p>
            <a:pPr marL="0" indent="0">
              <a:buNone/>
            </a:pPr>
            <a:r>
              <a:rPr lang="en-US" altLang="ja-JP" sz="1000" dirty="0"/>
              <a:t>2.5 CPP</a:t>
            </a:r>
            <a:r>
              <a:rPr lang="ja-JP" altLang="en-US" sz="1000" dirty="0"/>
              <a:t>（</a:t>
            </a:r>
            <a:r>
              <a:rPr lang="en-US" altLang="ja-JP" sz="1000" dirty="0"/>
              <a:t>Certificate of a Pharmaceutical Product</a:t>
            </a:r>
            <a:r>
              <a:rPr lang="ja-JP" altLang="en-US" sz="1000" dirty="0"/>
              <a:t>：</a:t>
            </a:r>
            <a:r>
              <a:rPr lang="en-US" altLang="ja-JP" sz="1000" dirty="0"/>
              <a:t>CPP</a:t>
            </a:r>
            <a:r>
              <a:rPr lang="ja-JP" altLang="en-US" sz="1000" dirty="0"/>
              <a:t>）の有無 ない場合は自由販売証明の有無</a:t>
            </a:r>
          </a:p>
          <a:p>
            <a:pPr marL="0" indent="0">
              <a:buNone/>
            </a:pPr>
            <a:r>
              <a:rPr lang="en-US" altLang="ja-JP" sz="1000" dirty="0"/>
              <a:t>2.6 </a:t>
            </a:r>
            <a:r>
              <a:rPr lang="ja-JP" altLang="en-US" sz="1000" dirty="0"/>
              <a:t>該当する場合、製品の化学成分に含まれる動物性材料のリスト及び詳細</a:t>
            </a:r>
          </a:p>
          <a:p>
            <a:pPr marL="0" indent="0">
              <a:buNone/>
            </a:pPr>
            <a:r>
              <a:rPr lang="en-US" altLang="ja-JP" sz="1000" dirty="0"/>
              <a:t>3 </a:t>
            </a:r>
            <a:r>
              <a:rPr lang="ja-JP" altLang="en-US" sz="1000" dirty="0"/>
              <a:t>科学的助言（の有無） </a:t>
            </a:r>
          </a:p>
          <a:p>
            <a:pPr marL="0" indent="0">
              <a:buNone/>
            </a:pPr>
            <a:r>
              <a:rPr lang="en-US" altLang="ja-JP" sz="1000" dirty="0"/>
              <a:t>4 </a:t>
            </a:r>
            <a:r>
              <a:rPr lang="ja-JP" altLang="en-US" sz="1000" dirty="0"/>
              <a:t>小児発達プログラム</a:t>
            </a:r>
          </a:p>
          <a:p>
            <a:pPr marL="0" indent="0">
              <a:buNone/>
            </a:pPr>
            <a:r>
              <a:rPr lang="en-US" altLang="ja-JP" sz="1000" dirty="0"/>
              <a:t>5 </a:t>
            </a:r>
            <a:r>
              <a:rPr lang="ja-JP" altLang="en-US" sz="1000" dirty="0"/>
              <a:t>他の国の規制機関における申請の状況	</a:t>
            </a:r>
          </a:p>
          <a:p>
            <a:pPr marL="144000" indent="-144000" algn="just" fontAlgn="ctr" hangingPunct="0">
              <a:lnSpc>
                <a:spcPct val="110000"/>
              </a:lnSpc>
              <a:spcBef>
                <a:spcPts val="0"/>
              </a:spcBef>
              <a:spcAft>
                <a:spcPts val="600"/>
              </a:spcAft>
              <a:buClr>
                <a:srgbClr val="000000"/>
              </a:buClr>
              <a:buSzPct val="100000"/>
              <a:buFont typeface="+mj-lt"/>
              <a:buAutoNum type="arabicPeriod"/>
            </a:pPr>
            <a:endParaRPr lang="ja-JP" altLang="en-US" sz="1000" dirty="0">
              <a:solidFill>
                <a:srgbClr val="000000"/>
              </a:solidFill>
              <a:cs typeface="Arial" panose="020B0604020202020204" pitchFamily="34" charset="0"/>
            </a:endParaRPr>
          </a:p>
        </p:txBody>
      </p:sp>
      <p:grpSp>
        <p:nvGrpSpPr>
          <p:cNvPr id="66" name="グループ化 7"/>
          <p:cNvGrpSpPr/>
          <p:nvPr/>
        </p:nvGrpSpPr>
        <p:grpSpPr>
          <a:xfrm>
            <a:off x="4895668" y="2276872"/>
            <a:ext cx="4251386" cy="288032"/>
            <a:chOff x="4944173" y="2113806"/>
            <a:chExt cx="5861371" cy="288032"/>
          </a:xfrm>
        </p:grpSpPr>
        <p:cxnSp>
          <p:nvCxnSpPr>
            <p:cNvPr id="67" name="直線コネクタ 6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提出書類への記載事項の概要</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952041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8390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薬価に関する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薬価は、医薬品価格委員会（</a:t>
            </a:r>
            <a:r>
              <a:rPr lang="en-US" altLang="ja-JP" sz="1400" dirty="0">
                <a:cs typeface="Arial" panose="020B0604020202020204" pitchFamily="34" charset="0"/>
              </a:rPr>
              <a:t>Pharmaceutical Products Pricing Committee</a:t>
            </a:r>
            <a:r>
              <a:rPr lang="ja-JP" altLang="en-US" sz="1400" dirty="0">
                <a:cs typeface="Arial" panose="020B0604020202020204" pitchFamily="34" charset="0"/>
              </a:rPr>
              <a:t>）により承認を受ける必要がある。</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薬品価格員会では、価格設定ガイドライン（</a:t>
            </a:r>
            <a:r>
              <a:rPr lang="en-US" altLang="ja-JP" sz="1400" dirty="0">
                <a:cs typeface="Arial" panose="020B0604020202020204" pitchFamily="34" charset="0"/>
              </a:rPr>
              <a:t>Pricing Guideline</a:t>
            </a:r>
            <a:r>
              <a:rPr lang="ja-JP" altLang="en-US" sz="1400" dirty="0">
                <a:cs typeface="Arial" panose="020B0604020202020204" pitchFamily="34" charset="0"/>
              </a:rPr>
              <a:t>）に基づいて価格が提案される。</a:t>
            </a:r>
          </a:p>
        </p:txBody>
      </p:sp>
      <p:sp>
        <p:nvSpPr>
          <p:cNvPr id="65" name="テキスト ボックス 64"/>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Tree>
    <p:extLst>
      <p:ext uri="{BB962C8B-B14F-4D97-AF65-F5344CB8AC3E}">
        <p14:creationId xmlns:p14="http://schemas.microsoft.com/office/powerpoint/2010/main" val="3230717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ついても、</a:t>
            </a:r>
            <a:r>
              <a:rPr lang="ja-JP" altLang="en-US" sz="1400" dirty="0">
                <a:solidFill>
                  <a:srgbClr val="000000"/>
                </a:solidFill>
                <a:cs typeface="Arial" panose="020B0604020202020204" pitchFamily="34" charset="0"/>
              </a:rPr>
              <a:t>サウジアラビア食品医薬品庁</a:t>
            </a:r>
            <a:r>
              <a:rPr lang="en-US" altLang="ja-JP" sz="1400" dirty="0">
                <a:solidFill>
                  <a:srgbClr val="000000"/>
                </a:solidFill>
                <a:cs typeface="Arial" panose="020B0604020202020204" pitchFamily="34" charset="0"/>
              </a:rPr>
              <a:t>(SFDA: Saudi Food &amp; Drug Authority)</a:t>
            </a:r>
            <a:r>
              <a:rPr lang="ja-JP" altLang="en-US" sz="1400" dirty="0">
                <a:solidFill>
                  <a:srgbClr val="000000"/>
                </a:solidFill>
                <a:cs typeface="Arial" panose="020B0604020202020204" pitchFamily="34" charset="0"/>
              </a:rPr>
              <a:t>が担当している。</a:t>
            </a:r>
            <a:endParaRPr lang="en-US" altLang="ja-JP" sz="1400" dirty="0">
              <a:solidFill>
                <a:srgbClr val="000000"/>
              </a:solidFill>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臨床試験を行う際には、</a:t>
            </a:r>
            <a:r>
              <a:rPr lang="en-US" altLang="ja-JP" sz="1400" dirty="0">
                <a:solidFill>
                  <a:srgbClr val="000000"/>
                </a:solidFill>
                <a:cs typeface="Arial" panose="020B0604020202020204" pitchFamily="34" charset="0"/>
              </a:rPr>
              <a:t>SFDA</a:t>
            </a:r>
            <a:r>
              <a:rPr lang="ja-JP" altLang="en-US" sz="1400" dirty="0">
                <a:solidFill>
                  <a:srgbClr val="000000"/>
                </a:solidFill>
                <a:cs typeface="Arial" panose="020B0604020202020204" pitchFamily="34" charset="0"/>
              </a:rPr>
              <a:t>から承認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食品医薬品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ions and Requirements for Conducting Clinical Trials on Drugs(Version 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8" name="グループ化 7"/>
          <p:cNvGrpSpPr/>
          <p:nvPr/>
        </p:nvGrpSpPr>
        <p:grpSpPr>
          <a:xfrm>
            <a:off x="4733939" y="1926515"/>
            <a:ext cx="4971588"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の実施に際して提出が必要な書類</a:t>
              </a:r>
              <a:r>
                <a:rPr lang="en-US" altLang="ja-JP" sz="1400" baseline="30000" dirty="0">
                  <a:solidFill>
                    <a:srgbClr val="000000"/>
                  </a:solidFill>
                  <a:latin typeface="Arial Black" pitchFamily="34" charset="0"/>
                  <a:ea typeface="HGP創英角ｺﾞｼｯｸUB" pitchFamily="50" charset="-128"/>
                </a:rPr>
                <a:t>※2</a:t>
              </a:r>
              <a:endParaRPr lang="zh-TW" altLang="en-US" sz="1400" baseline="30000" dirty="0">
                <a:solidFill>
                  <a:srgbClr val="000000"/>
                </a:solidFill>
                <a:latin typeface="Arial Black" pitchFamily="34" charset="0"/>
                <a:ea typeface="HGP創英角ｺﾞｼｯｸUB" pitchFamily="50" charset="-128"/>
              </a:endParaRPr>
            </a:p>
          </p:txBody>
        </p:sp>
      </p:grpSp>
      <p:graphicFrame>
        <p:nvGraphicFramePr>
          <p:cNvPr id="11" name="表 10"/>
          <p:cNvGraphicFramePr>
            <a:graphicFrameLocks noGrp="1"/>
          </p:cNvGraphicFramePr>
          <p:nvPr>
            <p:extLst>
              <p:ext uri="{D42A27DB-BD31-4B8C-83A1-F6EECF244321}">
                <p14:modId xmlns:p14="http://schemas.microsoft.com/office/powerpoint/2010/main" val="103594150"/>
              </p:ext>
            </p:extLst>
          </p:nvPr>
        </p:nvGraphicFramePr>
        <p:xfrm>
          <a:off x="4733939" y="2286558"/>
          <a:ext cx="4971588" cy="3885588"/>
        </p:xfrm>
        <a:graphic>
          <a:graphicData uri="http://schemas.openxmlformats.org/drawingml/2006/table">
            <a:tbl>
              <a:tblPr firstRow="1" bandRow="1">
                <a:tableStyleId>{5C22544A-7EE6-4342-B048-85BDC9FD1C3A}</a:tableStyleId>
              </a:tblPr>
              <a:tblGrid>
                <a:gridCol w="193675">
                  <a:extLst>
                    <a:ext uri="{9D8B030D-6E8A-4147-A177-3AD203B41FA5}">
                      <a16:colId xmlns:a16="http://schemas.microsoft.com/office/drawing/2014/main" val="20000"/>
                    </a:ext>
                  </a:extLst>
                </a:gridCol>
                <a:gridCol w="4777913">
                  <a:extLst>
                    <a:ext uri="{9D8B030D-6E8A-4147-A177-3AD203B41FA5}">
                      <a16:colId xmlns:a16="http://schemas.microsoft.com/office/drawing/2014/main" val="20001"/>
                    </a:ext>
                  </a:extLst>
                </a:gridCol>
              </a:tblGrid>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en-US" altLang="ja-JP" sz="1000" b="0" dirty="0">
                          <a:solidFill>
                            <a:schemeClr val="tx1"/>
                          </a:solidFill>
                        </a:rPr>
                        <a:t>SCTR </a:t>
                      </a:r>
                      <a:r>
                        <a:rPr lang="ja-JP" altLang="en-US" sz="1000" b="0" dirty="0">
                          <a:solidFill>
                            <a:schemeClr val="tx1"/>
                          </a:solidFill>
                        </a:rPr>
                        <a:t>登録番号を含む</a:t>
                      </a:r>
                      <a:r>
                        <a:rPr lang="en-US" altLang="ja-JP" sz="1000" b="0" dirty="0">
                          <a:solidFill>
                            <a:schemeClr val="tx1"/>
                          </a:solidFill>
                        </a:rPr>
                        <a:t>SFDA Executive Vice President</a:t>
                      </a:r>
                      <a:r>
                        <a:rPr lang="ja-JP" altLang="en-US" sz="1000" b="0" dirty="0" err="1">
                          <a:solidFill>
                            <a:schemeClr val="tx1"/>
                          </a:solidFill>
                        </a:rPr>
                        <a:t>への</a:t>
                      </a:r>
                      <a:r>
                        <a:rPr lang="ja-JP" altLang="en-US" sz="1000" b="0" dirty="0">
                          <a:solidFill>
                            <a:schemeClr val="tx1"/>
                          </a:solidFill>
                        </a:rPr>
                        <a:t>ヘッドレター（アラビア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1" lang="ja-JP" altLang="en-US" sz="1000" b="0" i="0" u="none" strike="noStrike" kern="1200" cap="none" spc="0" normalizeH="0" baseline="0" dirty="0" bmk="">
                          <a:ln>
                            <a:noFill/>
                          </a:ln>
                          <a:solidFill>
                            <a:schemeClr val="tx1"/>
                          </a:solidFill>
                          <a:effectLst/>
                          <a:uLnTx/>
                          <a:uFillTx/>
                          <a:latin typeface="+mn-lt"/>
                          <a:ea typeface="+mn-ea"/>
                          <a:cs typeface="+mn-cs"/>
                        </a:rPr>
                        <a:t>治験審査委員会の承認</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インフォームド・コンセント </a:t>
                      </a:r>
                      <a:r>
                        <a:rPr kumimoji="0" lang="en-US" altLang="ja-JP" sz="1000" b="0" i="0" u="none" strike="noStrike" cap="none" normalizeH="0" baseline="0" dirty="0" bmk="">
                          <a:ln>
                            <a:noFill/>
                          </a:ln>
                          <a:solidFill>
                            <a:schemeClr val="tx1"/>
                          </a:solidFill>
                          <a:effectLst/>
                          <a:latin typeface="+mn-ea"/>
                          <a:ea typeface="+mn-ea"/>
                        </a:rPr>
                        <a:t>(</a:t>
                      </a:r>
                      <a:r>
                        <a:rPr kumimoji="0" lang="ja-JP" altLang="en-US" sz="1000" b="0" i="0" u="none" strike="noStrike" cap="none" normalizeH="0" baseline="0" dirty="0" bmk="">
                          <a:ln>
                            <a:noFill/>
                          </a:ln>
                          <a:solidFill>
                            <a:schemeClr val="tx1"/>
                          </a:solidFill>
                          <a:effectLst/>
                          <a:latin typeface="+mn-ea"/>
                          <a:ea typeface="+mn-ea"/>
                        </a:rPr>
                        <a:t>アラビア語と英語</a:t>
                      </a:r>
                      <a:r>
                        <a:rPr kumimoji="0" lang="en-US" altLang="ja-JP" sz="1000" b="0" i="0" u="none" strike="noStrike" cap="none" normalizeH="0" baseline="0" dirty="0" bmk="">
                          <a:ln>
                            <a:noFill/>
                          </a:ln>
                          <a:solidFill>
                            <a:schemeClr val="tx1"/>
                          </a:solidFill>
                          <a:effectLst/>
                          <a:latin typeface="+mn-ea"/>
                          <a:ea typeface="+mn-ea"/>
                        </a:rPr>
                        <a:t>)</a:t>
                      </a:r>
                      <a:endParaRPr kumimoji="0" lang="ja-JP" altLang="en-US" sz="100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試験実施計画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zh-TW" altLang="en-US" sz="1000" b="0" i="0" u="none" strike="noStrike" cap="none" normalizeH="0" baseline="0" dirty="0" bmk="">
                          <a:ln>
                            <a:noFill/>
                          </a:ln>
                          <a:solidFill>
                            <a:schemeClr val="tx1"/>
                          </a:solidFill>
                          <a:effectLst/>
                          <a:latin typeface="+mn-ea"/>
                          <a:ea typeface="+mn-ea"/>
                        </a:rPr>
                        <a:t>治験薬概要書</a:t>
                      </a:r>
                      <a:endParaRPr kumimoji="0" lang="ja-JP" altLang="en-US" sz="100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症例報告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研究薬物のラベル</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zh-TW" altLang="en-US" sz="1000" b="0" i="0" u="none" strike="noStrike" cap="none" normalizeH="0" baseline="0" dirty="0" bmk="">
                          <a:ln>
                            <a:noFill/>
                          </a:ln>
                          <a:solidFill>
                            <a:schemeClr val="tx1"/>
                          </a:solidFill>
                          <a:effectLst/>
                          <a:latin typeface="+mn-ea"/>
                          <a:ea typeface="+mn-ea"/>
                        </a:rPr>
                        <a:t>臨床試験契約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代表者の金銭面確認資料</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8"/>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秘密保持契約</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9"/>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薬物の分析証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0"/>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en-US" altLang="ja-JP" sz="1000" dirty="0"/>
                        <a:t>GMP </a:t>
                      </a:r>
                      <a:r>
                        <a:rPr lang="ja-JP" altLang="en-US" sz="1000" dirty="0"/>
                        <a:t>証明書（治験薬の製造管理、品質管理等に関する基準）</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1"/>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被験者の保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2"/>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開発業務受託機関</a:t>
                      </a:r>
                      <a:r>
                        <a:rPr lang="en-US" altLang="ja-JP" sz="1000" dirty="0"/>
                        <a:t>(CRO)</a:t>
                      </a:r>
                      <a:r>
                        <a:rPr lang="ja-JP" altLang="en-US" sz="1000" dirty="0"/>
                        <a:t>の委任／承認レター（該当する場合）</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3"/>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代表者およびコーディネーターの履歴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4"/>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代表研究者の</a:t>
                      </a:r>
                      <a:r>
                        <a:rPr lang="en-US" altLang="ja-JP" sz="1000" dirty="0"/>
                        <a:t>GCP</a:t>
                      </a:r>
                      <a:r>
                        <a:rPr lang="ja-JP" altLang="en-US" sz="1000" dirty="0"/>
                        <a:t>証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5"/>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者声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6"/>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以上のハードコピーおよび電子コピー両方が必要</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7"/>
                  </a:ext>
                </a:extLst>
              </a:tr>
            </a:tbl>
          </a:graphicData>
        </a:graphic>
      </p:graphicFrame>
      <p:sp>
        <p:nvSpPr>
          <p:cNvPr id="14" name="テキスト ボックス 13"/>
          <p:cNvSpPr txBox="1"/>
          <p:nvPr/>
        </p:nvSpPr>
        <p:spPr>
          <a:xfrm>
            <a:off x="4733940" y="6237312"/>
            <a:ext cx="4971588"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2	</a:t>
            </a:r>
            <a:r>
              <a:rPr kumimoji="0" lang="ja-JP" altLang="en-US" sz="800" dirty="0" bmk="">
                <a:solidFill>
                  <a:srgbClr val="000000"/>
                </a:solidFill>
                <a:cs typeface="Arial" panose="020B0604020202020204" pitchFamily="34" charset="0"/>
              </a:rPr>
              <a:t>言語の記載がない書類は、英語での作成が可能。フェーズ</a:t>
            </a:r>
            <a:r>
              <a:rPr kumimoji="0" lang="en-US" altLang="ja-JP" sz="800" dirty="0" bmk="">
                <a:solidFill>
                  <a:srgbClr val="000000"/>
                </a:solidFill>
                <a:cs typeface="Arial" panose="020B0604020202020204" pitchFamily="34" charset="0"/>
              </a:rPr>
              <a:t>Ⅱ</a:t>
            </a:r>
            <a:r>
              <a:rPr kumimoji="0" lang="ja-JP" altLang="en-US" sz="800" dirty="0" bmk="">
                <a:solidFill>
                  <a:srgbClr val="000000"/>
                </a:solidFill>
                <a:cs typeface="Arial" panose="020B0604020202020204" pitchFamily="34" charset="0"/>
              </a:rPr>
              <a:t>は、全ての書類の提出が必要だが、フェーズ</a:t>
            </a:r>
            <a:r>
              <a:rPr kumimoji="0" lang="en-US" altLang="ja-JP" sz="800" dirty="0" bmk="">
                <a:solidFill>
                  <a:srgbClr val="000000"/>
                </a:solidFill>
                <a:cs typeface="Arial" panose="020B0604020202020204" pitchFamily="34" charset="0"/>
              </a:rPr>
              <a:t>Ⅲ</a:t>
            </a:r>
            <a:r>
              <a:rPr kumimoji="0" lang="ja-JP" altLang="en-US" sz="800" dirty="0" bmk="">
                <a:solidFill>
                  <a:srgbClr val="000000"/>
                </a:solidFill>
                <a:cs typeface="Arial" panose="020B0604020202020204" pitchFamily="34" charset="0"/>
              </a:rPr>
              <a:t>では、</a:t>
            </a:r>
            <a:r>
              <a:rPr kumimoji="0" lang="en-US" altLang="ja-JP" sz="800" dirty="0" bmk="">
                <a:solidFill>
                  <a:srgbClr val="000000"/>
                </a:solidFill>
                <a:cs typeface="Arial" panose="020B0604020202020204" pitchFamily="34" charset="0"/>
              </a:rPr>
              <a:t>No.2</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3</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4</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14</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17</a:t>
            </a:r>
            <a:r>
              <a:rPr kumimoji="0" lang="ja-JP" altLang="en-US" sz="800" dirty="0" bmk="">
                <a:solidFill>
                  <a:srgbClr val="000000"/>
                </a:solidFill>
                <a:cs typeface="Arial" panose="020B0604020202020204" pitchFamily="34" charset="0"/>
              </a:rPr>
              <a:t>のみの書類提出でよい。</a:t>
            </a:r>
            <a:endParaRPr kumimoji="0" lang="en-US" altLang="ja-JP" sz="800" dirty="0" bmk="">
              <a:solidFill>
                <a:srgbClr val="000000"/>
              </a:solidFill>
              <a:cs typeface="Arial" panose="020B0604020202020204" pitchFamily="34" charset="0"/>
            </a:endParaRPr>
          </a:p>
        </p:txBody>
      </p:sp>
      <p:grpSp>
        <p:nvGrpSpPr>
          <p:cNvPr id="24" name="グループ化 23"/>
          <p:cNvGrpSpPr/>
          <p:nvPr/>
        </p:nvGrpSpPr>
        <p:grpSpPr>
          <a:xfrm>
            <a:off x="200546" y="2286762"/>
            <a:ext cx="2124000" cy="447923"/>
            <a:chOff x="200546" y="2381568"/>
            <a:chExt cx="2124000" cy="447923"/>
          </a:xfrm>
        </p:grpSpPr>
        <p:sp>
          <p:nvSpPr>
            <p:cNvPr id="15" name="角丸四角形 14"/>
            <p:cNvSpPr/>
            <p:nvPr/>
          </p:nvSpPr>
          <p:spPr>
            <a:xfrm>
              <a:off x="200546" y="2381568"/>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CTR</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登録</a:t>
              </a:r>
            </a:p>
          </p:txBody>
        </p:sp>
        <p:sp>
          <p:nvSpPr>
            <p:cNvPr id="16" name="角丸四角形 15"/>
            <p:cNvSpPr/>
            <p:nvPr/>
          </p:nvSpPr>
          <p:spPr>
            <a:xfrm>
              <a:off x="384820" y="2481642"/>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grpSp>
      <p:grpSp>
        <p:nvGrpSpPr>
          <p:cNvPr id="21" name="グループ化 20"/>
          <p:cNvGrpSpPr/>
          <p:nvPr/>
        </p:nvGrpSpPr>
        <p:grpSpPr>
          <a:xfrm>
            <a:off x="200546" y="3132276"/>
            <a:ext cx="2124000" cy="447923"/>
            <a:chOff x="200546" y="3059994"/>
            <a:chExt cx="2124000" cy="447923"/>
          </a:xfrm>
        </p:grpSpPr>
        <p:sp>
          <p:nvSpPr>
            <p:cNvPr id="18" name="角丸四角形 17"/>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CTR</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書類提出</a:t>
              </a:r>
            </a:p>
          </p:txBody>
        </p:sp>
        <p:sp>
          <p:nvSpPr>
            <p:cNvPr id="19" name="角丸四角形 18"/>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grpSp>
      <p:grpSp>
        <p:nvGrpSpPr>
          <p:cNvPr id="28" name="グループ化 27"/>
          <p:cNvGrpSpPr/>
          <p:nvPr/>
        </p:nvGrpSpPr>
        <p:grpSpPr>
          <a:xfrm>
            <a:off x="200546" y="3977790"/>
            <a:ext cx="2124000" cy="447923"/>
            <a:chOff x="200546" y="3059994"/>
            <a:chExt cx="2124000" cy="447923"/>
          </a:xfrm>
        </p:grpSpPr>
        <p:sp>
          <p:nvSpPr>
            <p:cNvPr id="29" name="角丸四角形 28"/>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FDA</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承認</a:t>
              </a:r>
            </a:p>
          </p:txBody>
        </p:sp>
        <p:sp>
          <p:nvSpPr>
            <p:cNvPr id="30" name="角丸四角形 29"/>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grpSp>
      <p:grpSp>
        <p:nvGrpSpPr>
          <p:cNvPr id="32" name="グループ化 31"/>
          <p:cNvGrpSpPr/>
          <p:nvPr/>
        </p:nvGrpSpPr>
        <p:grpSpPr>
          <a:xfrm>
            <a:off x="200546" y="4775989"/>
            <a:ext cx="2124000" cy="447923"/>
            <a:chOff x="200546" y="3059994"/>
            <a:chExt cx="2124000" cy="447923"/>
          </a:xfrm>
        </p:grpSpPr>
        <p:sp>
          <p:nvSpPr>
            <p:cNvPr id="33" name="角丸四角形 32"/>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臨床試験の実施</a:t>
              </a:r>
            </a:p>
          </p:txBody>
        </p:sp>
        <p:sp>
          <p:nvSpPr>
            <p:cNvPr id="34" name="角丸四角形 33"/>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grpSp>
      <p:grpSp>
        <p:nvGrpSpPr>
          <p:cNvPr id="36" name="グループ化 35"/>
          <p:cNvGrpSpPr/>
          <p:nvPr/>
        </p:nvGrpSpPr>
        <p:grpSpPr>
          <a:xfrm>
            <a:off x="200546" y="5561966"/>
            <a:ext cx="2124000" cy="447923"/>
            <a:chOff x="200546" y="3059994"/>
            <a:chExt cx="2124000" cy="447923"/>
          </a:xfrm>
        </p:grpSpPr>
        <p:sp>
          <p:nvSpPr>
            <p:cNvPr id="37" name="角丸四角形 36"/>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FDA</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通知</a:t>
              </a:r>
            </a:p>
          </p:txBody>
        </p:sp>
        <p:sp>
          <p:nvSpPr>
            <p:cNvPr id="38" name="角丸四角形 37"/>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grpSp>
      <p:sp>
        <p:nvSpPr>
          <p:cNvPr id="39" name="下矢印 38"/>
          <p:cNvSpPr/>
          <p:nvPr/>
        </p:nvSpPr>
        <p:spPr>
          <a:xfrm>
            <a:off x="1118530" y="2746084"/>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下矢印 39"/>
          <p:cNvSpPr/>
          <p:nvPr/>
        </p:nvSpPr>
        <p:spPr>
          <a:xfrm>
            <a:off x="1118530" y="3579139"/>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下矢印 40"/>
          <p:cNvSpPr/>
          <p:nvPr/>
        </p:nvSpPr>
        <p:spPr>
          <a:xfrm>
            <a:off x="1118530" y="4432472"/>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下矢印 41"/>
          <p:cNvSpPr/>
          <p:nvPr/>
        </p:nvSpPr>
        <p:spPr>
          <a:xfrm>
            <a:off x="1118530" y="5222518"/>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テキスト ボックス 59"/>
          <p:cNvSpPr txBox="1"/>
          <p:nvPr/>
        </p:nvSpPr>
        <p:spPr>
          <a:xfrm>
            <a:off x="2360712" y="2286762"/>
            <a:ext cx="2232248"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が運営する</a:t>
            </a:r>
            <a:r>
              <a:rPr lang="en-US" altLang="ja-JP" sz="1000" dirty="0">
                <a:solidFill>
                  <a:srgbClr val="000000"/>
                </a:solidFill>
                <a:cs typeface="Arial" panose="020B0604020202020204" pitchFamily="34" charset="0"/>
              </a:rPr>
              <a:t>SCTR</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Saudi Clinical Trial Registry</a:t>
            </a:r>
            <a:r>
              <a:rPr lang="ja-JP" altLang="en-US" sz="1000" dirty="0">
                <a:solidFill>
                  <a:srgbClr val="000000"/>
                </a:solidFill>
                <a:cs typeface="Arial" panose="020B0604020202020204" pitchFamily="34" charset="0"/>
              </a:rPr>
              <a:t>という</a:t>
            </a:r>
            <a:r>
              <a:rPr lang="en-US" altLang="ja-JP" sz="1000" dirty="0">
                <a:solidFill>
                  <a:srgbClr val="000000"/>
                </a:solidFill>
                <a:cs typeface="Arial" panose="020B0604020202020204" pitchFamily="34" charset="0"/>
              </a:rPr>
              <a:t>Web</a:t>
            </a:r>
            <a:r>
              <a:rPr lang="ja-JP" altLang="en-US" sz="1000" dirty="0">
                <a:solidFill>
                  <a:srgbClr val="000000"/>
                </a:solidFill>
                <a:cs typeface="Arial" panose="020B0604020202020204" pitchFamily="34" charset="0"/>
              </a:rPr>
              <a:t>）でのアカウント作成・申請</a:t>
            </a:r>
            <a:endParaRPr lang="en-US" altLang="ja-JP" sz="1000" dirty="0">
              <a:solidFill>
                <a:srgbClr val="000000"/>
              </a:solidFill>
              <a:cs typeface="Arial" panose="020B0604020202020204" pitchFamily="34" charset="0"/>
            </a:endParaRPr>
          </a:p>
        </p:txBody>
      </p:sp>
      <p:sp>
        <p:nvSpPr>
          <p:cNvPr id="44" name="テキスト ボックス 59"/>
          <p:cNvSpPr txBox="1"/>
          <p:nvPr/>
        </p:nvSpPr>
        <p:spPr>
          <a:xfrm>
            <a:off x="2360712" y="3132276"/>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提出書類を、指定の日時に</a:t>
            </a:r>
            <a:r>
              <a:rPr lang="en-US" altLang="ja-JP" sz="1000" dirty="0">
                <a:solidFill>
                  <a:srgbClr val="000000"/>
                </a:solidFill>
                <a:cs typeface="Arial" panose="020B0604020202020204" pitchFamily="34" charset="0"/>
              </a:rPr>
              <a:t>SCTR</a:t>
            </a:r>
            <a:r>
              <a:rPr lang="ja-JP" altLang="en-US" sz="1000" dirty="0">
                <a:solidFill>
                  <a:srgbClr val="000000"/>
                </a:solidFill>
                <a:cs typeface="Arial" panose="020B0604020202020204" pitchFamily="34" charset="0"/>
              </a:rPr>
              <a:t>に持参</a:t>
            </a:r>
            <a:endParaRPr lang="en-US" altLang="ja-JP" sz="1000" dirty="0">
              <a:solidFill>
                <a:srgbClr val="000000"/>
              </a:solidFill>
              <a:cs typeface="Arial" panose="020B0604020202020204" pitchFamily="34" charset="0"/>
            </a:endParaRPr>
          </a:p>
        </p:txBody>
      </p:sp>
      <p:sp>
        <p:nvSpPr>
          <p:cNvPr id="45" name="テキスト ボックス 59"/>
          <p:cNvSpPr txBox="1"/>
          <p:nvPr/>
        </p:nvSpPr>
        <p:spPr>
          <a:xfrm>
            <a:off x="2360712" y="3977790"/>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の審査期間は以下の通り</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2</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60</a:t>
            </a:r>
            <a:r>
              <a:rPr lang="ja-JP" altLang="en-US" sz="1000" dirty="0">
                <a:solidFill>
                  <a:srgbClr val="000000"/>
                </a:solidFill>
                <a:cs typeface="Arial" panose="020B0604020202020204" pitchFamily="34" charset="0"/>
              </a:rPr>
              <a:t>営業日</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30</a:t>
            </a:r>
            <a:r>
              <a:rPr lang="ja-JP" altLang="en-US" sz="1000" dirty="0">
                <a:solidFill>
                  <a:srgbClr val="000000"/>
                </a:solidFill>
                <a:cs typeface="Arial" panose="020B0604020202020204" pitchFamily="34" charset="0"/>
              </a:rPr>
              <a:t>営業日</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10</a:t>
            </a:r>
            <a:r>
              <a:rPr lang="ja-JP" altLang="en-US" sz="1000" dirty="0">
                <a:solidFill>
                  <a:srgbClr val="000000"/>
                </a:solidFill>
                <a:cs typeface="Arial" panose="020B0604020202020204" pitchFamily="34" charset="0"/>
              </a:rPr>
              <a:t>営業日</a:t>
            </a:r>
            <a:endParaRPr lang="en-US" altLang="ja-JP" sz="1000" dirty="0">
              <a:solidFill>
                <a:srgbClr val="000000"/>
              </a:solidFill>
              <a:cs typeface="Arial" panose="020B0604020202020204" pitchFamily="34" charset="0"/>
            </a:endParaRPr>
          </a:p>
        </p:txBody>
      </p:sp>
      <p:sp>
        <p:nvSpPr>
          <p:cNvPr id="47" name="テキスト ボックス 59"/>
          <p:cNvSpPr txBox="1"/>
          <p:nvPr/>
        </p:nvSpPr>
        <p:spPr>
          <a:xfrm>
            <a:off x="2360712" y="5561966"/>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完了、中止の場合には、治験審査委員会への通知証明を添付し、</a:t>
            </a:r>
            <a:r>
              <a:rPr lang="en-US" altLang="ja-JP" sz="1000" dirty="0">
                <a:solidFill>
                  <a:srgbClr val="000000"/>
                </a:solidFill>
                <a:cs typeface="Arial" panose="020B0604020202020204" pitchFamily="34" charset="0"/>
              </a:rPr>
              <a:t>60</a:t>
            </a:r>
            <a:r>
              <a:rPr lang="ja-JP" altLang="en-US" sz="1000" dirty="0">
                <a:solidFill>
                  <a:srgbClr val="000000"/>
                </a:solidFill>
                <a:cs typeface="Arial" panose="020B0604020202020204" pitchFamily="34" charset="0"/>
              </a:rPr>
              <a:t>日以内に</a:t>
            </a: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に通知</a:t>
            </a:r>
            <a:endParaRPr lang="en-US" altLang="ja-JP" sz="1000" dirty="0">
              <a:solidFill>
                <a:srgbClr val="000000"/>
              </a:solidFill>
              <a:cs typeface="Arial" panose="020B0604020202020204" pitchFamily="34" charset="0"/>
            </a:endParaRPr>
          </a:p>
        </p:txBody>
      </p:sp>
      <p:grpSp>
        <p:nvGrpSpPr>
          <p:cNvPr id="48" name="グループ化 47"/>
          <p:cNvGrpSpPr/>
          <p:nvPr/>
        </p:nvGrpSpPr>
        <p:grpSpPr>
          <a:xfrm>
            <a:off x="200025" y="1926515"/>
            <a:ext cx="4392935" cy="288032"/>
            <a:chOff x="4944173" y="2113806"/>
            <a:chExt cx="5861371" cy="288032"/>
          </a:xfrm>
        </p:grpSpPr>
        <p:cxnSp>
          <p:nvCxnSpPr>
            <p:cNvPr id="49" name="直線コネクタ 4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ェーズ</a:t>
              </a:r>
              <a:r>
                <a:rPr lang="en-US" altLang="ja-JP" sz="1400" dirty="0">
                  <a:solidFill>
                    <a:srgbClr val="000000"/>
                  </a:solidFill>
                  <a:latin typeface="Arial Black" pitchFamily="34" charset="0"/>
                  <a:ea typeface="HGP創英角ｺﾞｼｯｸUB" pitchFamily="50" charset="-128"/>
                </a:rPr>
                <a:t>2</a:t>
              </a:r>
              <a:r>
                <a:rPr lang="ja-JP" altLang="en-US" sz="1400" dirty="0" err="1">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の臨床試験の実施プロセス</a:t>
              </a:r>
              <a:r>
                <a:rPr lang="en-US" altLang="ja-JP" sz="1400" baseline="30000" dirty="0">
                  <a:solidFill>
                    <a:srgbClr val="000000"/>
                  </a:solidFill>
                  <a:latin typeface="Arial Black" pitchFamily="34" charset="0"/>
                  <a:ea typeface="HGP創英角ｺﾞｼｯｸUB" pitchFamily="50" charset="-128"/>
                </a:rPr>
                <a:t>※1</a:t>
              </a:r>
              <a:endParaRPr lang="zh-TW" altLang="en-US" sz="1400" baseline="30000" dirty="0">
                <a:solidFill>
                  <a:srgbClr val="000000"/>
                </a:solidFill>
                <a:latin typeface="Arial Black" pitchFamily="34" charset="0"/>
                <a:ea typeface="HGP創英角ｺﾞｼｯｸUB" pitchFamily="50" charset="-128"/>
              </a:endParaRPr>
            </a:p>
          </p:txBody>
        </p:sp>
      </p:grpSp>
      <p:sp>
        <p:nvSpPr>
          <p:cNvPr id="51" name="テキスト ボックス 50"/>
          <p:cNvSpPr txBox="1"/>
          <p:nvPr/>
        </p:nvSpPr>
        <p:spPr>
          <a:xfrm>
            <a:off x="200025" y="6237312"/>
            <a:ext cx="4392935"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1	</a:t>
            </a:r>
            <a:r>
              <a:rPr kumimoji="0" lang="ja-JP" altLang="en-US" sz="800" dirty="0" bmk="">
                <a:solidFill>
                  <a:srgbClr val="000000"/>
                </a:solidFill>
                <a:cs typeface="Arial" panose="020B0604020202020204" pitchFamily="34" charset="0"/>
              </a:rPr>
              <a:t>フェーズ</a:t>
            </a:r>
            <a:r>
              <a:rPr kumimoji="0" lang="en-US" altLang="ja-JP" sz="800" dirty="0" bmk="">
                <a:solidFill>
                  <a:srgbClr val="000000"/>
                </a:solidFill>
                <a:cs typeface="Arial" panose="020B0604020202020204" pitchFamily="34" charset="0"/>
              </a:rPr>
              <a:t>4</a:t>
            </a:r>
            <a:r>
              <a:rPr kumimoji="0" lang="ja-JP" altLang="en-US" sz="800" dirty="0" bmk="">
                <a:solidFill>
                  <a:srgbClr val="000000"/>
                </a:solidFill>
                <a:cs typeface="Arial" panose="020B0604020202020204" pitchFamily="34" charset="0"/>
              </a:rPr>
              <a:t>の場合には、治験審査委員会の承認を得たうえで、</a:t>
            </a:r>
            <a:r>
              <a:rPr kumimoji="0" lang="en-US" altLang="ja-JP" sz="800" dirty="0" bmk="">
                <a:solidFill>
                  <a:srgbClr val="000000"/>
                </a:solidFill>
                <a:cs typeface="Arial" panose="020B0604020202020204" pitchFamily="34" charset="0"/>
              </a:rPr>
              <a:t>20</a:t>
            </a:r>
            <a:r>
              <a:rPr kumimoji="0" lang="ja-JP" altLang="en-US" sz="800" dirty="0" bmk="">
                <a:solidFill>
                  <a:srgbClr val="000000"/>
                </a:solidFill>
                <a:cs typeface="Arial" panose="020B0604020202020204" pitchFamily="34" charset="0"/>
              </a:rPr>
              <a:t>日以内に、</a:t>
            </a:r>
            <a:r>
              <a:rPr kumimoji="0" lang="en-US" altLang="ja-JP" sz="800" dirty="0" bmk="">
                <a:solidFill>
                  <a:srgbClr val="000000"/>
                </a:solidFill>
                <a:cs typeface="Arial" panose="020B0604020202020204" pitchFamily="34" charset="0"/>
              </a:rPr>
              <a:t>SFDA</a:t>
            </a:r>
            <a:r>
              <a:rPr kumimoji="0" lang="ja-JP" altLang="en-US" sz="800" dirty="0" bmk="">
                <a:solidFill>
                  <a:srgbClr val="000000"/>
                </a:solidFill>
                <a:cs typeface="Arial" panose="020B0604020202020204" pitchFamily="34" charset="0"/>
              </a:rPr>
              <a:t>の</a:t>
            </a:r>
            <a:r>
              <a:rPr kumimoji="0" lang="en-US" altLang="ja-JP" sz="800" dirty="0" bmk="">
                <a:solidFill>
                  <a:srgbClr val="000000"/>
                </a:solidFill>
                <a:cs typeface="Arial" panose="020B0604020202020204" pitchFamily="34" charset="0"/>
              </a:rPr>
              <a:t>Clinical Department</a:t>
            </a:r>
            <a:r>
              <a:rPr kumimoji="0" lang="ja-JP" altLang="en-US" sz="800" dirty="0" bmk="">
                <a:solidFill>
                  <a:srgbClr val="000000"/>
                </a:solidFill>
                <a:cs typeface="Arial" panose="020B0604020202020204" pitchFamily="34" charset="0"/>
              </a:rPr>
              <a:t>に書類を提出する必要がある。</a:t>
            </a:r>
            <a:endParaRPr kumimoji="0" lang="en-US" altLang="ja-JP" sz="800" dirty="0" bmk="">
              <a:solidFill>
                <a:srgbClr val="000000"/>
              </a:solidFill>
              <a:cs typeface="Arial" panose="020B0604020202020204" pitchFamily="34" charset="0"/>
            </a:endParaRPr>
          </a:p>
        </p:txBody>
      </p:sp>
    </p:spTree>
    <p:extLst>
      <p:ext uri="{BB962C8B-B14F-4D97-AF65-F5344CB8AC3E}">
        <p14:creationId xmlns:p14="http://schemas.microsoft.com/office/powerpoint/2010/main" val="30106245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取得プロセ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77064" cy="149887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国内での医師ライセンス所得には、筆記試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L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Medical Licensing Examin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合格と、</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Commission for Health Special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による承認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筆記試験の受験には、医学部を卒業している（国内外は問わない</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とが必要で、海外の医学部卒業者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の実務経験が必要</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筆記試験に合格した者は、合格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内にサウジアラビア医療専門委員会が指定する医療機関で実習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spc="-10" dirty="0">
                <a:latin typeface="Arial" panose="020B0604020202020204" pitchFamily="34" charset="0"/>
                <a:ea typeface="ＭＳ Ｐゴシック" panose="020B0600070205080204" pitchFamily="50" charset="-128"/>
                <a:cs typeface="Arial" panose="020B0604020202020204" pitchFamily="34" charset="0"/>
              </a:rPr>
              <a:t>実習期間を経て、サウジアラビア医療専門委員会に医師申請書を提出し承認を受けて、医師ライセンス（職位</a:t>
            </a:r>
            <a:r>
              <a:rPr lang="en-US" altLang="ja-JP" sz="1400" spc="-10" baseline="30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spc="-10" dirty="0">
                <a:latin typeface="Arial" panose="020B0604020202020204" pitchFamily="34" charset="0"/>
                <a:ea typeface="ＭＳ Ｐゴシック" panose="020B0600070205080204" pitchFamily="50" charset="-128"/>
                <a:cs typeface="Arial" panose="020B0604020202020204" pitchFamily="34" charset="0"/>
              </a:rPr>
              <a:t>）が交付される。</a:t>
            </a:r>
            <a:endParaRPr lang="en-US" altLang="ja-JP" sz="1400" spc="-1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テキスト ボックス 49"/>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 of Professional Classification and Registration For health practitio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Medical Licensing Examin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テキスト ボックス 10"/>
          <p:cNvSpPr txBox="1"/>
          <p:nvPr/>
        </p:nvSpPr>
        <p:spPr>
          <a:xfrm>
            <a:off x="272480" y="5786035"/>
            <a:ext cx="6552728" cy="707886"/>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学分野の学位があれば、サウジアラビア国外の学位での受験も可能だが、サウジアラビア医療専門委員会への問い合わせや認可が必要になる。同委員会が、サウジアラビアの法律や国際法に反すると判断すれば却下されることもあ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の医学部卒業者は、最低</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間の実務経験が必要とされる。専攻分野にもよる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程度の実務経験が求められる場合が多いと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師の職位区分は、総合診療医、レジデント、医局員、上級医局員、診療部長、専門分野診療部長等があり、学位・専攻や実習の期間や経験の評価により、決定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下矢印 12"/>
          <p:cNvSpPr/>
          <p:nvPr/>
        </p:nvSpPr>
        <p:spPr>
          <a:xfrm rot="16200000">
            <a:off x="2252923"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200546" y="3590423"/>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学位取得</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5" name="テキスト ボックス 59"/>
          <p:cNvSpPr txBox="1"/>
          <p:nvPr/>
        </p:nvSpPr>
        <p:spPr>
          <a:xfrm>
            <a:off x="206901"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サウジアラビア国内の医学部では、インターンが必須。</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海外の医学部卒業者は、</a:t>
            </a: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年以上の実務経験が必要。</a:t>
            </a:r>
          </a:p>
        </p:txBody>
      </p:sp>
      <p:sp>
        <p:nvSpPr>
          <p:cNvPr id="16" name="Rectangle 13"/>
          <p:cNvSpPr>
            <a:spLocks noChangeArrowheads="1"/>
          </p:cNvSpPr>
          <p:nvPr/>
        </p:nvSpPr>
        <p:spPr bwMode="blackWhite">
          <a:xfrm>
            <a:off x="2469952" y="3626427"/>
            <a:ext cx="2015430"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SMLE</a:t>
            </a:r>
          </a:p>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筆記試験）</a:t>
            </a:r>
          </a:p>
        </p:txBody>
      </p:sp>
      <p:sp>
        <p:nvSpPr>
          <p:cNvPr id="18" name="テキスト ボックス 59"/>
          <p:cNvSpPr txBox="1"/>
          <p:nvPr/>
        </p:nvSpPr>
        <p:spPr>
          <a:xfrm>
            <a:off x="2576736"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サウジアラビア医療専門委員会が指定する施設で、</a:t>
            </a:r>
            <a:r>
              <a:rPr lang="en-US" altLang="ja-JP" sz="1000" dirty="0">
                <a:solidFill>
                  <a:srgbClr val="000000"/>
                </a:solidFill>
                <a:cs typeface="Arial" panose="020B0604020202020204" pitchFamily="34" charset="0"/>
              </a:rPr>
              <a:t>PC</a:t>
            </a:r>
            <a:r>
              <a:rPr lang="ja-JP" altLang="en-US" sz="1000" dirty="0" err="1">
                <a:solidFill>
                  <a:srgbClr val="000000"/>
                </a:solidFill>
                <a:cs typeface="Arial" panose="020B0604020202020204" pitchFamily="34" charset="0"/>
              </a:rPr>
              <a:t>での</a:t>
            </a:r>
            <a:r>
              <a:rPr lang="ja-JP" altLang="en-US" sz="1000" dirty="0">
                <a:solidFill>
                  <a:srgbClr val="000000"/>
                </a:solidFill>
                <a:cs typeface="Arial" panose="020B0604020202020204" pitchFamily="34" charset="0"/>
              </a:rPr>
              <a:t>受験が可能。</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試験時間は、最大</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時間で</a:t>
            </a:r>
            <a:r>
              <a:rPr lang="en-US" altLang="ja-JP" sz="1000" dirty="0">
                <a:solidFill>
                  <a:srgbClr val="000000"/>
                </a:solidFill>
                <a:cs typeface="Arial" panose="020B0604020202020204" pitchFamily="34" charset="0"/>
              </a:rPr>
              <a:t>150</a:t>
            </a:r>
            <a:r>
              <a:rPr lang="ja-JP" altLang="en-US" sz="1000" dirty="0">
                <a:solidFill>
                  <a:srgbClr val="000000"/>
                </a:solidFill>
                <a:cs typeface="Arial" panose="020B0604020202020204" pitchFamily="34" charset="0"/>
              </a:rPr>
              <a:t>問以上の選択問題が出題される。（読解・専門知識等）</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医学部卒業後、</a:t>
            </a:r>
            <a:r>
              <a:rPr lang="en-US" altLang="ja-JP" sz="1000" dirty="0">
                <a:solidFill>
                  <a:srgbClr val="000000"/>
                </a:solidFill>
                <a:cs typeface="Arial" panose="020B0604020202020204" pitchFamily="34" charset="0"/>
              </a:rPr>
              <a:t>2</a:t>
            </a:r>
            <a:r>
              <a:rPr lang="ja-JP" altLang="en-US" sz="1000" dirty="0">
                <a:solidFill>
                  <a:srgbClr val="000000"/>
                </a:solidFill>
                <a:cs typeface="Arial" panose="020B0604020202020204" pitchFamily="34" charset="0"/>
              </a:rPr>
              <a:t>年以内に試験に合格する必要がある。</a:t>
            </a:r>
            <a:endParaRPr lang="en-US" altLang="ja-JP" sz="1000" dirty="0">
              <a:solidFill>
                <a:srgbClr val="000000"/>
              </a:solidFill>
              <a:cs typeface="Arial" panose="020B0604020202020204" pitchFamily="34" charset="0"/>
            </a:endParaRPr>
          </a:p>
        </p:txBody>
      </p:sp>
      <p:sp>
        <p:nvSpPr>
          <p:cNvPr id="19" name="角丸四角形 18"/>
          <p:cNvSpPr/>
          <p:nvPr/>
        </p:nvSpPr>
        <p:spPr>
          <a:xfrm>
            <a:off x="5168813" y="3590423"/>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指定医療機関での実習</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テキスト ボックス 59"/>
          <p:cNvSpPr txBox="1"/>
          <p:nvPr/>
        </p:nvSpPr>
        <p:spPr>
          <a:xfrm>
            <a:off x="5175168"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合格から</a:t>
            </a:r>
            <a:r>
              <a:rPr lang="en-US" altLang="ja-JP" sz="1000" dirty="0">
                <a:solidFill>
                  <a:srgbClr val="000000"/>
                </a:solidFill>
                <a:cs typeface="Arial" panose="020B0604020202020204" pitchFamily="34" charset="0"/>
              </a:rPr>
              <a:t>5</a:t>
            </a:r>
            <a:r>
              <a:rPr lang="ja-JP" altLang="en-US" sz="1000" dirty="0">
                <a:solidFill>
                  <a:srgbClr val="000000"/>
                </a:solidFill>
                <a:cs typeface="Arial" panose="020B0604020202020204" pitchFamily="34" charset="0"/>
              </a:rPr>
              <a:t>年以内に実習を受ける必要がある。</a:t>
            </a:r>
            <a:r>
              <a:rPr lang="en-US" altLang="ja-JP" sz="1000" dirty="0">
                <a:solidFill>
                  <a:srgbClr val="000000"/>
                </a:solidFill>
                <a:cs typeface="Arial" panose="020B0604020202020204" pitchFamily="34" charset="0"/>
              </a:rPr>
              <a:t>5</a:t>
            </a:r>
            <a:r>
              <a:rPr lang="ja-JP" altLang="en-US" sz="1000" dirty="0">
                <a:solidFill>
                  <a:srgbClr val="000000"/>
                </a:solidFill>
                <a:cs typeface="Arial" panose="020B0604020202020204" pitchFamily="34" charset="0"/>
              </a:rPr>
              <a:t>年を超過すると</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を再受験する必要があ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が高スコアだと希望の医療機関に行ける可能性が高まる。</a:t>
            </a:r>
          </a:p>
        </p:txBody>
      </p:sp>
      <p:sp>
        <p:nvSpPr>
          <p:cNvPr id="21" name="下矢印 20"/>
          <p:cNvSpPr/>
          <p:nvPr/>
        </p:nvSpPr>
        <p:spPr>
          <a:xfrm rot="16200000">
            <a:off x="4557390"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13"/>
          <p:cNvSpPr>
            <a:spLocks noChangeArrowheads="1"/>
          </p:cNvSpPr>
          <p:nvPr/>
        </p:nvSpPr>
        <p:spPr bwMode="blackWhite">
          <a:xfrm>
            <a:off x="7690096" y="3626427"/>
            <a:ext cx="2015430"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医療専門委員会（申請・承認）</a:t>
            </a:r>
          </a:p>
        </p:txBody>
      </p:sp>
      <p:sp>
        <p:nvSpPr>
          <p:cNvPr id="23" name="テキスト ボックス 59"/>
          <p:cNvSpPr txBox="1"/>
          <p:nvPr/>
        </p:nvSpPr>
        <p:spPr>
          <a:xfrm>
            <a:off x="7796880"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のスコアや実習における実績等を踏まえて、同委員会が「職位区分」を決定す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職位毎に必要となる</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スコアが定められており、スコアが足りない場合には、</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の再受験が可能であ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endParaRPr lang="en-US" altLang="ja-JP" sz="1000" dirty="0">
              <a:solidFill>
                <a:srgbClr val="000000"/>
              </a:solidFill>
              <a:cs typeface="Arial" panose="020B0604020202020204" pitchFamily="34" charset="0"/>
            </a:endParaRPr>
          </a:p>
        </p:txBody>
      </p:sp>
      <p:sp>
        <p:nvSpPr>
          <p:cNvPr id="24" name="下矢印 23"/>
          <p:cNvSpPr/>
          <p:nvPr/>
        </p:nvSpPr>
        <p:spPr>
          <a:xfrm rot="16200000">
            <a:off x="7437425"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272478" y="3246646"/>
            <a:ext cx="9433048" cy="288032"/>
            <a:chOff x="4803500" y="2113806"/>
            <a:chExt cx="3423042" cy="288032"/>
          </a:xfrm>
        </p:grpSpPr>
        <p:cxnSp>
          <p:nvCxnSpPr>
            <p:cNvPr id="26" name="直線コネクタ 25"/>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804515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2343981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 imgW="360" imgH="360" progId="TCLayout.ActiveDocument.1">
                  <p:embed/>
                </p:oleObj>
              </mc:Choice>
              <mc:Fallback>
                <p:oleObj name="think-cellスライド" r:id="rId21" imgW="360" imgH="360" progId="TCLayout.ActiveDocument.1">
                  <p:embed/>
                  <p:pic>
                    <p:nvPicPr>
                      <p:cNvPr id="4" name="オブジェクト 3"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育成政策</a:t>
            </a:r>
            <a:endParaRPr lang="ja-JP" altLang="en-US" dirty="0"/>
          </a:p>
        </p:txBody>
      </p:sp>
      <p:sp>
        <p:nvSpPr>
          <p:cNvPr id="65" name="テキスト ボックス 64"/>
          <p:cNvSpPr txBox="1"/>
          <p:nvPr/>
        </p:nvSpPr>
        <p:spPr>
          <a:xfrm>
            <a:off x="200472" y="1124744"/>
            <a:ext cx="9505056" cy="121591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医師におけるサウジアラビア人比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と低いが、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自国内での人材育成を促進する方針の一環で、医療従事者の教育にも力を入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医学生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だ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増加した。</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医学部に在籍する学生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サウジアラビア人であり、今後、サウジアラビア人の医師が増えること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072676" y="2349500"/>
            <a:ext cx="5760651" cy="287338"/>
            <a:chOff x="4404923" y="2113806"/>
            <a:chExt cx="3751283" cy="288032"/>
          </a:xfrm>
        </p:grpSpPr>
        <p:cxnSp>
          <p:nvCxnSpPr>
            <p:cNvPr id="11" name="直線コネクタ 10"/>
            <p:cNvCxnSpPr/>
            <p:nvPr/>
          </p:nvCxnSpPr>
          <p:spPr>
            <a:xfrm>
              <a:off x="4404923" y="2401838"/>
              <a:ext cx="33757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404928" y="2113806"/>
              <a:ext cx="375127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学部の在籍学生数の推移</a:t>
              </a:r>
              <a:r>
                <a:rPr lang="en-US" altLang="ja-JP" sz="1400" baseline="30000" dirty="0">
                  <a:solidFill>
                    <a:srgbClr val="000000"/>
                  </a:solidFill>
                  <a:latin typeface="Arial Black" pitchFamily="34" charset="0"/>
                  <a:ea typeface="HGP創英角ｺﾞｼｯｸUB" pitchFamily="50" charset="-128"/>
                </a:rPr>
                <a:t>※</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13" name="テキスト ボックス 12"/>
          <p:cNvSpPr txBox="1"/>
          <p:nvPr/>
        </p:nvSpPr>
        <p:spPr>
          <a:xfrm>
            <a:off x="2441138" y="2636838"/>
            <a:ext cx="504056" cy="144463"/>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67" name="テキスト ボックス 66"/>
          <p:cNvSpPr txBox="1"/>
          <p:nvPr/>
        </p:nvSpPr>
        <p:spPr>
          <a:xfrm>
            <a:off x="198565" y="6697206"/>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Book for the Year 2024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solidFill>
                  <a:srgbClr val="000000"/>
                </a:solidFill>
                <a:cs typeface="Arial" panose="020B0604020202020204" pitchFamily="34" charset="0"/>
              </a:rPr>
              <a:t>  1437(2016)</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6</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4</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3</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2</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1</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09</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lang="en-US" altLang="ja-JP" sz="800" dirty="0">
              <a:solidFill>
                <a:srgbClr val="000000"/>
              </a:solidFill>
              <a:cs typeface="Arial" panose="020B0604020202020204" pitchFamily="34" charset="0"/>
            </a:endParaRPr>
          </a:p>
        </p:txBody>
      </p:sp>
      <p:sp>
        <p:nvSpPr>
          <p:cNvPr id="25" name="テキスト ボックス 24"/>
          <p:cNvSpPr txBox="1"/>
          <p:nvPr/>
        </p:nvSpPr>
        <p:spPr>
          <a:xfrm>
            <a:off x="216853" y="6546673"/>
            <a:ext cx="2664294" cy="123111"/>
          </a:xfrm>
          <a:prstGeom prst="rect">
            <a:avLst/>
          </a:prstGeom>
          <a:noFill/>
        </p:spPr>
        <p:txBody>
          <a:bodyPr wrap="square" lIns="0" tIns="0" rIns="0" b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からデータ取得ができなかっ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hart 3">
            <a:extLst>
              <a:ext uri="{FF2B5EF4-FFF2-40B4-BE49-F238E27FC236}">
                <a16:creationId xmlns:a16="http://schemas.microsoft.com/office/drawing/2014/main" id="{33B45209-8343-DF96-196D-B9F4F569ABE2}"/>
              </a:ext>
            </a:extLst>
          </p:cNvPr>
          <p:cNvGraphicFramePr/>
          <p:nvPr>
            <p:custDataLst>
              <p:tags r:id="rId3"/>
            </p:custDataLst>
            <p:extLst>
              <p:ext uri="{D42A27DB-BD31-4B8C-83A1-F6EECF244321}">
                <p14:modId xmlns:p14="http://schemas.microsoft.com/office/powerpoint/2010/main" val="255029970"/>
              </p:ext>
            </p:extLst>
          </p:nvPr>
        </p:nvGraphicFramePr>
        <p:xfrm>
          <a:off x="2033588" y="2768600"/>
          <a:ext cx="4667250" cy="3579813"/>
        </p:xfrm>
        <a:graphic>
          <a:graphicData uri="http://schemas.openxmlformats.org/drawingml/2006/chart">
            <c:chart xmlns:c="http://schemas.openxmlformats.org/drawingml/2006/chart" xmlns:r="http://schemas.openxmlformats.org/officeDocument/2006/relationships" r:id="rId23"/>
          </a:graphicData>
        </a:graphic>
      </p:graphicFrame>
      <p:sp>
        <p:nvSpPr>
          <p:cNvPr id="35" name="テキスト プレースホルダ 9"/>
          <p:cNvSpPr>
            <a:spLocks noGrp="1"/>
          </p:cNvSpPr>
          <p:nvPr>
            <p:custDataLst>
              <p:tags r:id="rId4"/>
            </p:custDataLst>
          </p:nvPr>
        </p:nvSpPr>
        <p:spPr bwMode="gray">
          <a:xfrm>
            <a:off x="2722563" y="5400675"/>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F1D9EA-B6F0-427C-ADDB-AA687AA253B0}" type="datetime'1''''''''''''''''''2'''',''''''''''260'''''''''">
              <a:rPr kumimoji="0" lang="ja-JP" altLang="en-US" sz="1000">
                <a:sym typeface="+mn-lt"/>
              </a:rPr>
              <a:pPr marL="0" indent="0" algn="ctr">
                <a:spcBef>
                  <a:spcPct val="0"/>
                </a:spcBef>
                <a:buNone/>
              </a:pPr>
              <a:t>12,260</a:t>
            </a:fld>
            <a:endParaRPr kumimoji="0" lang="ja-JP" altLang="en-US" sz="1000" dirty="0">
              <a:sym typeface="+mn-lt"/>
            </a:endParaRPr>
          </a:p>
        </p:txBody>
      </p:sp>
      <p:sp>
        <p:nvSpPr>
          <p:cNvPr id="19" name="テキスト プレースホルダ 9"/>
          <p:cNvSpPr>
            <a:spLocks noGrp="1"/>
          </p:cNvSpPr>
          <p:nvPr>
            <p:custDataLst>
              <p:tags r:id="rId5"/>
            </p:custDataLst>
          </p:nvPr>
        </p:nvSpPr>
        <p:spPr bwMode="auto">
          <a:xfrm>
            <a:off x="2786063"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B81DCA-9D67-497F-8012-23BE5AE693F0}" type="datetime'''''''2''''''''''''''''''''''0''0''''''9'''''''''''''">
              <a:rPr lang="ja-JP" altLang="en-US" sz="1000"/>
              <a:pPr marL="0" indent="0" algn="ctr">
                <a:spcBef>
                  <a:spcPct val="0"/>
                </a:spcBef>
                <a:buNone/>
              </a:pPr>
              <a:t>2009</a:t>
            </a:fld>
            <a:endParaRPr kumimoji="0" lang="ja-JP" altLang="en-US" sz="1000" dirty="0">
              <a:sym typeface="+mn-lt"/>
            </a:endParaRPr>
          </a:p>
        </p:txBody>
      </p:sp>
      <p:sp>
        <p:nvSpPr>
          <p:cNvPr id="36" name="テキスト プレースホルダ 9"/>
          <p:cNvSpPr>
            <a:spLocks noGrp="1"/>
          </p:cNvSpPr>
          <p:nvPr>
            <p:custDataLst>
              <p:tags r:id="rId6"/>
            </p:custDataLst>
          </p:nvPr>
        </p:nvSpPr>
        <p:spPr bwMode="gray">
          <a:xfrm>
            <a:off x="3289300" y="5356225"/>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128156-3BF1-49AD-92DD-668DBD22507E}" type="datetime'''1''''''''''3'''''''',''''00''''''''7'''''''''''''''''''''">
              <a:rPr kumimoji="0" lang="ja-JP" altLang="en-US" sz="1000">
                <a:sym typeface="+mn-lt"/>
              </a:rPr>
              <a:pPr marL="0" indent="0" algn="ctr">
                <a:spcBef>
                  <a:spcPct val="0"/>
                </a:spcBef>
                <a:buNone/>
              </a:pPr>
              <a:t>13,007</a:t>
            </a:fld>
            <a:endParaRPr kumimoji="0" lang="ja-JP" altLang="en-US" sz="1000" dirty="0">
              <a:sym typeface="+mn-lt"/>
            </a:endParaRPr>
          </a:p>
        </p:txBody>
      </p:sp>
      <p:sp>
        <p:nvSpPr>
          <p:cNvPr id="20" name="テキスト プレースホルダ 9"/>
          <p:cNvSpPr>
            <a:spLocks noGrp="1"/>
          </p:cNvSpPr>
          <p:nvPr>
            <p:custDataLst>
              <p:tags r:id="rId7"/>
            </p:custDataLst>
          </p:nvPr>
        </p:nvSpPr>
        <p:spPr bwMode="auto">
          <a:xfrm>
            <a:off x="3352800"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D1D4D2-72F7-4778-B46B-F5BB19ABA470}" type="datetime'20''''''''''1''''''''''''0'''''''''''''''''''''''''">
              <a:rPr lang="ja-JP" altLang="en-US" sz="1000"/>
              <a:pPr marL="0" indent="0" algn="ctr">
                <a:spcBef>
                  <a:spcPct val="0"/>
                </a:spcBef>
                <a:buNone/>
              </a:pPr>
              <a:t>2010</a:t>
            </a:fld>
            <a:endParaRPr kumimoji="0" lang="ja-JP" altLang="en-US" sz="1000" dirty="0">
              <a:sym typeface="+mn-lt"/>
            </a:endParaRPr>
          </a:p>
        </p:txBody>
      </p:sp>
      <p:sp>
        <p:nvSpPr>
          <p:cNvPr id="37" name="テキスト プレースホルダ 9"/>
          <p:cNvSpPr>
            <a:spLocks noGrp="1"/>
          </p:cNvSpPr>
          <p:nvPr>
            <p:custDataLst>
              <p:tags r:id="rId8"/>
            </p:custDataLst>
          </p:nvPr>
        </p:nvSpPr>
        <p:spPr bwMode="gray">
          <a:xfrm>
            <a:off x="3856038" y="5349875"/>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4A2BB1-C2FB-4BFD-BCFA-75860F2CE9DA}" type="datetime'''''''''''''13,''''''1''''''''''''''19'''''''''''''''">
              <a:rPr kumimoji="0" lang="ja-JP" altLang="en-US" sz="1000">
                <a:sym typeface="+mn-lt"/>
              </a:rPr>
              <a:pPr marL="0" indent="0" algn="ctr">
                <a:spcBef>
                  <a:spcPct val="0"/>
                </a:spcBef>
                <a:buNone/>
              </a:pPr>
              <a:t>13,119</a:t>
            </a:fld>
            <a:endParaRPr kumimoji="0" lang="ja-JP" altLang="en-US" sz="1000" dirty="0">
              <a:sym typeface="+mn-lt"/>
            </a:endParaRPr>
          </a:p>
        </p:txBody>
      </p:sp>
      <p:sp>
        <p:nvSpPr>
          <p:cNvPr id="21" name="テキスト プレースホルダ 9"/>
          <p:cNvSpPr>
            <a:spLocks noGrp="1"/>
          </p:cNvSpPr>
          <p:nvPr>
            <p:custDataLst>
              <p:tags r:id="rId9"/>
            </p:custDataLst>
          </p:nvPr>
        </p:nvSpPr>
        <p:spPr bwMode="auto">
          <a:xfrm>
            <a:off x="3919538"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7A61AD-C52A-4EBB-B4F1-CF6E9F86EF75}" type="datetime'''''''2''''''''0''''''1''''1'''''''''''''''''''''''''''''">
              <a:rPr lang="ja-JP" altLang="en-US" sz="1000"/>
              <a:pPr marL="0" indent="0" algn="ctr">
                <a:spcBef>
                  <a:spcPct val="0"/>
                </a:spcBef>
                <a:buNone/>
              </a:pPr>
              <a:t>2011</a:t>
            </a:fld>
            <a:endParaRPr kumimoji="0" lang="ja-JP" altLang="en-US" sz="1000" dirty="0">
              <a:sym typeface="+mn-lt"/>
            </a:endParaRPr>
          </a:p>
        </p:txBody>
      </p:sp>
      <p:sp>
        <p:nvSpPr>
          <p:cNvPr id="38" name="テキスト プレースホルダ 9"/>
          <p:cNvSpPr>
            <a:spLocks noGrp="1"/>
          </p:cNvSpPr>
          <p:nvPr>
            <p:custDataLst>
              <p:tags r:id="rId10"/>
            </p:custDataLst>
          </p:nvPr>
        </p:nvSpPr>
        <p:spPr bwMode="gray">
          <a:xfrm>
            <a:off x="4424363" y="5168900"/>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917FA0-4DD3-413D-9AB7-0FCABA24894F}" type="datetime'''16,2''''''3''''''''''''''''''''''''''''''''0'''''">
              <a:rPr kumimoji="0" lang="ja-JP" altLang="en-US" sz="1000">
                <a:sym typeface="+mn-lt"/>
              </a:rPr>
              <a:pPr marL="0" indent="0" algn="ctr">
                <a:spcBef>
                  <a:spcPct val="0"/>
                </a:spcBef>
                <a:buNone/>
              </a:pPr>
              <a:t>16,230</a:t>
            </a:fld>
            <a:endParaRPr kumimoji="0" lang="ja-JP" altLang="en-US" sz="1000" dirty="0">
              <a:sym typeface="+mn-lt"/>
            </a:endParaRPr>
          </a:p>
        </p:txBody>
      </p:sp>
      <p:sp>
        <p:nvSpPr>
          <p:cNvPr id="27" name="テキスト プレースホルダ 9"/>
          <p:cNvSpPr>
            <a:spLocks noGrp="1"/>
          </p:cNvSpPr>
          <p:nvPr>
            <p:custDataLst>
              <p:tags r:id="rId11"/>
            </p:custDataLst>
          </p:nvPr>
        </p:nvSpPr>
        <p:spPr bwMode="auto">
          <a:xfrm>
            <a:off x="4487863"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FF566D-25BD-48AC-BDEE-071B83D89849}" type="datetime'2''''''''''''''''''''''''''''''''''0''1''''3'''''''''''''''">
              <a:rPr lang="ja-JP" altLang="en-US" sz="1000"/>
              <a:pPr marL="0" indent="0" algn="ctr">
                <a:spcBef>
                  <a:spcPct val="0"/>
                </a:spcBef>
                <a:buNone/>
              </a:pPr>
              <a:t>2013</a:t>
            </a:fld>
            <a:endParaRPr kumimoji="0" lang="ja-JP" altLang="en-US" sz="1000" dirty="0">
              <a:sym typeface="+mn-lt"/>
            </a:endParaRPr>
          </a:p>
        </p:txBody>
      </p:sp>
      <p:sp>
        <p:nvSpPr>
          <p:cNvPr id="39" name="テキスト プレースホルダ 9"/>
          <p:cNvSpPr>
            <a:spLocks noGrp="1"/>
          </p:cNvSpPr>
          <p:nvPr>
            <p:custDataLst>
              <p:tags r:id="rId12"/>
            </p:custDataLst>
          </p:nvPr>
        </p:nvSpPr>
        <p:spPr bwMode="gray">
          <a:xfrm>
            <a:off x="4991100" y="5022850"/>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1EB7D9-25F2-41B8-81C1-BA16751BF841}" type="datetime'''''''''1''''8'''',''''''''''''''''7''2''''''''8'''">
              <a:rPr kumimoji="0" lang="ja-JP" altLang="en-US" sz="1000">
                <a:sym typeface="+mn-lt"/>
              </a:rPr>
              <a:pPr marL="0" indent="0" algn="ctr">
                <a:spcBef>
                  <a:spcPct val="0"/>
                </a:spcBef>
                <a:buNone/>
              </a:pPr>
              <a:t>18,728</a:t>
            </a:fld>
            <a:endParaRPr kumimoji="0" lang="ja-JP" altLang="en-US" sz="1000" dirty="0">
              <a:sym typeface="+mn-lt"/>
            </a:endParaRPr>
          </a:p>
        </p:txBody>
      </p:sp>
      <p:sp>
        <p:nvSpPr>
          <p:cNvPr id="29" name="テキスト プレースホルダ 9"/>
          <p:cNvSpPr>
            <a:spLocks noGrp="1"/>
          </p:cNvSpPr>
          <p:nvPr>
            <p:custDataLst>
              <p:tags r:id="rId13"/>
            </p:custDataLst>
          </p:nvPr>
        </p:nvSpPr>
        <p:spPr bwMode="auto">
          <a:xfrm>
            <a:off x="5054600"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D32B06-F870-40EF-8EEA-6F9405247C4E}" type="datetime'2''''0''''''''''''''''''''''''''''''1''''5'''''''''''''''">
              <a:rPr lang="ja-JP" altLang="en-US" sz="1000"/>
              <a:pPr marL="0" indent="0" algn="ctr">
                <a:spcBef>
                  <a:spcPct val="0"/>
                </a:spcBef>
                <a:buNone/>
              </a:pPr>
              <a:t>2015</a:t>
            </a:fld>
            <a:endParaRPr kumimoji="0" lang="ja-JP" altLang="en-US" sz="1000" dirty="0">
              <a:sym typeface="+mn-lt"/>
            </a:endParaRPr>
          </a:p>
        </p:txBody>
      </p:sp>
      <p:sp>
        <p:nvSpPr>
          <p:cNvPr id="40" name="テキスト プレースホルダ 9"/>
          <p:cNvSpPr>
            <a:spLocks noGrp="1"/>
          </p:cNvSpPr>
          <p:nvPr>
            <p:custDataLst>
              <p:tags r:id="rId14"/>
            </p:custDataLst>
          </p:nvPr>
        </p:nvSpPr>
        <p:spPr bwMode="gray">
          <a:xfrm>
            <a:off x="5557838" y="4941888"/>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807EE7-8862-4C22-A807-07920D3E1004}" type="datetime'''''''''''''2''''''''''''0'''''',''''''13''3'''''''''''''''''">
              <a:rPr kumimoji="0" lang="ja-JP" altLang="en-US" sz="1000">
                <a:sym typeface="+mn-lt"/>
              </a:rPr>
              <a:pPr marL="0" indent="0" algn="ctr">
                <a:spcBef>
                  <a:spcPct val="0"/>
                </a:spcBef>
                <a:buNone/>
              </a:pPr>
              <a:t>20,133</a:t>
            </a:fld>
            <a:endParaRPr kumimoji="0" lang="ja-JP" altLang="en-US" sz="1000" dirty="0">
              <a:sym typeface="+mn-lt"/>
            </a:endParaRPr>
          </a:p>
        </p:txBody>
      </p:sp>
      <p:sp>
        <p:nvSpPr>
          <p:cNvPr id="32" name="テキスト プレースホルダ 9"/>
          <p:cNvSpPr>
            <a:spLocks noGrp="1"/>
          </p:cNvSpPr>
          <p:nvPr>
            <p:custDataLst>
              <p:tags r:id="rId15"/>
            </p:custDataLst>
          </p:nvPr>
        </p:nvSpPr>
        <p:spPr bwMode="auto">
          <a:xfrm>
            <a:off x="5621338"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EC00C-03BC-458E-A97E-7AA6FCDA45FB}" type="datetime'''''''2''''''''''''''''''''''''0''''''''16'''''''''''''''''">
              <a:rPr lang="ja-JP" altLang="en-US" sz="1000"/>
              <a:pPr marL="0" indent="0" algn="ctr">
                <a:spcBef>
                  <a:spcPct val="0"/>
                </a:spcBef>
                <a:buNone/>
              </a:pPr>
              <a:t>2016</a:t>
            </a:fld>
            <a:endParaRPr kumimoji="0" lang="ja-JP" altLang="en-US" sz="1000" dirty="0">
              <a:sym typeface="+mn-lt"/>
            </a:endParaRPr>
          </a:p>
        </p:txBody>
      </p:sp>
      <p:sp>
        <p:nvSpPr>
          <p:cNvPr id="14" name="テキスト プレースホルダ 9">
            <a:extLst>
              <a:ext uri="{FF2B5EF4-FFF2-40B4-BE49-F238E27FC236}">
                <a16:creationId xmlns:a16="http://schemas.microsoft.com/office/drawing/2014/main" id="{D6C42E27-F871-110D-40D4-58E98F63E229}"/>
              </a:ext>
            </a:extLst>
          </p:cNvPr>
          <p:cNvSpPr>
            <a:spLocks noGrp="1"/>
          </p:cNvSpPr>
          <p:nvPr>
            <p:custDataLst>
              <p:tags r:id="rId16"/>
            </p:custDataLst>
          </p:nvPr>
        </p:nvSpPr>
        <p:spPr bwMode="gray">
          <a:xfrm>
            <a:off x="6124575" y="4497388"/>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8C6A57-0E4C-43AE-B3F1-34E925285069}" type="datetime'''''''2''''''''''''7,7''''''''''''''''''''3''''4'''''">
              <a:rPr kumimoji="0" lang="en-US" altLang="en-US" sz="1000" smtClean="0">
                <a:effectLst/>
                <a:sym typeface="+mn-lt"/>
              </a:rPr>
              <a:pPr/>
              <a:t>27,734</a:t>
            </a:fld>
            <a:endParaRPr kumimoji="0" lang="ja-JP" altLang="en-US" sz="1000" dirty="0">
              <a:sym typeface="+mn-lt"/>
            </a:endParaRPr>
          </a:p>
        </p:txBody>
      </p:sp>
      <p:sp>
        <p:nvSpPr>
          <p:cNvPr id="5" name="テキスト プレースホルダ 9">
            <a:extLst>
              <a:ext uri="{FF2B5EF4-FFF2-40B4-BE49-F238E27FC236}">
                <a16:creationId xmlns:a16="http://schemas.microsoft.com/office/drawing/2014/main" id="{F48295B7-F956-796E-95A5-E3B32F93D722}"/>
              </a:ext>
            </a:extLst>
          </p:cNvPr>
          <p:cNvSpPr>
            <a:spLocks noGrp="1"/>
          </p:cNvSpPr>
          <p:nvPr>
            <p:custDataLst>
              <p:tags r:id="rId17"/>
            </p:custDataLst>
          </p:nvPr>
        </p:nvSpPr>
        <p:spPr bwMode="auto">
          <a:xfrm>
            <a:off x="6188075"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27A016-CFAF-4B9A-9B3E-C75F0E66FA28}" type="datetime'''''2''''''''''''''''''''''''''''''0''''2''''4'''''''''''">
              <a:rPr kumimoji="0" lang="en-US" altLang="en-US" sz="1000" smtClean="0"/>
              <a:pPr/>
              <a:t>2024</a:t>
            </a:fld>
            <a:endParaRPr kumimoji="0" lang="ja-JP" altLang="en-US" sz="1000" dirty="0">
              <a:sym typeface="+mn-lt"/>
            </a:endParaRPr>
          </a:p>
        </p:txBody>
      </p:sp>
      <p:sp>
        <p:nvSpPr>
          <p:cNvPr id="30" name="Rectangle 29"/>
          <p:cNvSpPr/>
          <p:nvPr>
            <p:custDataLst>
              <p:tags r:id="rId18"/>
            </p:custDataLst>
          </p:nvPr>
        </p:nvSpPr>
        <p:spPr bwMode="gray">
          <a:xfrm>
            <a:off x="2700338" y="321310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テキスト プレースホルダ 9"/>
          <p:cNvSpPr>
            <a:spLocks noGrp="1"/>
          </p:cNvSpPr>
          <p:nvPr>
            <p:custDataLst>
              <p:tags r:id="rId19"/>
            </p:custDataLst>
          </p:nvPr>
        </p:nvSpPr>
        <p:spPr bwMode="auto">
          <a:xfrm>
            <a:off x="2930525" y="3208338"/>
            <a:ext cx="1143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3787DA5-7377-4B02-AB31-585C79AE4DBB}" type="datetime'''医''''''学部の''''在''''''''''''''''''籍''''''学生''数'">
              <a:rPr lang="ja-JP" altLang="en-US" sz="1000"/>
              <a:pPr marL="0" indent="0">
                <a:spcBef>
                  <a:spcPct val="0"/>
                </a:spcBef>
                <a:buNone/>
              </a:pPr>
              <a:t>医学部の在籍学生数</a:t>
            </a:fld>
            <a:endParaRPr kumimoji="0" lang="ja-JP" altLang="en-US" sz="1000" dirty="0">
              <a:sym typeface="+mn-lt"/>
            </a:endParaRPr>
          </a:p>
        </p:txBody>
      </p:sp>
    </p:spTree>
    <p:extLst>
      <p:ext uri="{BB962C8B-B14F-4D97-AF65-F5344CB8AC3E}">
        <p14:creationId xmlns:p14="http://schemas.microsoft.com/office/powerpoint/2010/main" val="21401404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5" name="テキスト ボックス 24"/>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Commission for Health Special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所定の書類 を提出し、承認を得ることで</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ライセンス（職位）を得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医師ライセンスの再登録には、「医学生涯教育（</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ntinuing medical educ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証明書と、</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国内の雇用主からの身分証明書（就労継続の証明書）、手数料の領収書が必要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 of Professional Classification and Registration For health practitio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len Ziegl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sociates HP(https://www.hziegler.com/)</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7333314" y="2741701"/>
            <a:ext cx="1436110" cy="909827"/>
          </a:xfrm>
          <a:prstGeom prst="ellipse">
            <a:avLst/>
          </a:prstGeom>
          <a:gradFill flip="none" rotWithShape="1">
            <a:gsLst>
              <a:gs pos="0">
                <a:srgbClr val="FCAE91"/>
              </a:gs>
              <a:gs pos="100000">
                <a:schemeClr val="bg1"/>
              </a:gs>
            </a:gsLst>
            <a:path path="shape">
              <a:fillToRect l="50000" t="50000" r="50000" b="50000"/>
            </a:path>
            <a:tileRect/>
          </a:gradFill>
        </p:spPr>
        <p:txBody>
          <a:bodyPr wrap="none" lIns="36000" tIns="144000" rIns="36000" bIns="144000" anchor="ctr" anchorCtr="0">
            <a:noAutofit/>
          </a:bodyPr>
          <a:lstStyle/>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a:t>
            </a:r>
            <a:r>
              <a:rPr lang="ja-JP" altLang="en-US" sz="1400" dirty="0">
                <a:latin typeface="HGP創英角ｺﾞｼｯｸUB" panose="020B0900000000000000" pitchFamily="50" charset="-128"/>
                <a:ea typeface="HGP創英角ｺﾞｼｯｸUB" panose="020B0900000000000000" pitchFamily="50" charset="-128"/>
              </a:rPr>
              <a:t>取得</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有効）</a:t>
            </a:r>
            <a:endPar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1280847" y="2273176"/>
            <a:ext cx="7315200" cy="288032"/>
            <a:chOff x="2358644" y="1988840"/>
            <a:chExt cx="4785412" cy="288032"/>
          </a:xfrm>
        </p:grpSpPr>
        <p:cxnSp>
          <p:nvCxnSpPr>
            <p:cNvPr id="10" name="直線コネクタ 9"/>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フロー</a:t>
              </a:r>
            </a:p>
          </p:txBody>
        </p:sp>
      </p:grpSp>
      <p:grpSp>
        <p:nvGrpSpPr>
          <p:cNvPr id="15" name="グループ化 14"/>
          <p:cNvGrpSpPr/>
          <p:nvPr/>
        </p:nvGrpSpPr>
        <p:grpSpPr>
          <a:xfrm>
            <a:off x="3653286" y="2791542"/>
            <a:ext cx="1105253" cy="725224"/>
            <a:chOff x="1280592" y="5132160"/>
            <a:chExt cx="864096" cy="566986"/>
          </a:xfrm>
        </p:grpSpPr>
        <p:sp>
          <p:nvSpPr>
            <p:cNvPr id="16" name="Freeform 787"/>
            <p:cNvSpPr>
              <a:spLocks noChangeAspect="1"/>
            </p:cNvSpPr>
            <p:nvPr/>
          </p:nvSpPr>
          <p:spPr bwMode="auto">
            <a:xfrm>
              <a:off x="1280592" y="5132160"/>
              <a:ext cx="864096" cy="566986"/>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7" name="Rectangle 788"/>
            <p:cNvSpPr>
              <a:spLocks noChangeAspect="1" noChangeArrowheads="1"/>
            </p:cNvSpPr>
            <p:nvPr/>
          </p:nvSpPr>
          <p:spPr bwMode="auto">
            <a:xfrm>
              <a:off x="1600493" y="5537146"/>
              <a:ext cx="228426" cy="141750"/>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8" name="Rectangle 789"/>
            <p:cNvSpPr>
              <a:spLocks noChangeAspect="1" noChangeArrowheads="1"/>
            </p:cNvSpPr>
            <p:nvPr/>
          </p:nvSpPr>
          <p:spPr bwMode="auto">
            <a:xfrm>
              <a:off x="1372066"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0"/>
            <p:cNvSpPr>
              <a:spLocks noChangeAspect="1" noChangeArrowheads="1"/>
            </p:cNvSpPr>
            <p:nvPr/>
          </p:nvSpPr>
          <p:spPr bwMode="auto">
            <a:xfrm>
              <a:off x="1451381"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 name="Rectangle 791"/>
            <p:cNvSpPr>
              <a:spLocks noChangeAspect="1" noChangeArrowheads="1"/>
            </p:cNvSpPr>
            <p:nvPr/>
          </p:nvSpPr>
          <p:spPr bwMode="auto">
            <a:xfrm>
              <a:off x="1901889"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 name="Rectangle 792"/>
            <p:cNvSpPr>
              <a:spLocks noChangeAspect="1" noChangeArrowheads="1"/>
            </p:cNvSpPr>
            <p:nvPr/>
          </p:nvSpPr>
          <p:spPr bwMode="auto">
            <a:xfrm>
              <a:off x="198120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3"/>
            <p:cNvSpPr>
              <a:spLocks noChangeAspect="1" noChangeArrowheads="1"/>
            </p:cNvSpPr>
            <p:nvPr/>
          </p:nvSpPr>
          <p:spPr bwMode="auto">
            <a:xfrm>
              <a:off x="1372066"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4"/>
            <p:cNvSpPr>
              <a:spLocks noChangeAspect="1" noChangeArrowheads="1"/>
            </p:cNvSpPr>
            <p:nvPr/>
          </p:nvSpPr>
          <p:spPr bwMode="auto">
            <a:xfrm>
              <a:off x="1451381"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5"/>
            <p:cNvSpPr>
              <a:spLocks noChangeAspect="1" noChangeArrowheads="1"/>
            </p:cNvSpPr>
            <p:nvPr/>
          </p:nvSpPr>
          <p:spPr bwMode="auto">
            <a:xfrm>
              <a:off x="1901889"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6"/>
            <p:cNvSpPr>
              <a:spLocks noChangeAspect="1" noChangeArrowheads="1"/>
            </p:cNvSpPr>
            <p:nvPr/>
          </p:nvSpPr>
          <p:spPr bwMode="auto">
            <a:xfrm>
              <a:off x="198120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 name="Rectangle 797"/>
            <p:cNvSpPr>
              <a:spLocks noChangeAspect="1" noChangeArrowheads="1"/>
            </p:cNvSpPr>
            <p:nvPr/>
          </p:nvSpPr>
          <p:spPr bwMode="auto">
            <a:xfrm>
              <a:off x="1372066"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 name="Rectangle 815"/>
            <p:cNvSpPr>
              <a:spLocks noChangeAspect="1" noChangeArrowheads="1"/>
            </p:cNvSpPr>
            <p:nvPr/>
          </p:nvSpPr>
          <p:spPr bwMode="auto">
            <a:xfrm>
              <a:off x="1901889"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16"/>
            <p:cNvSpPr>
              <a:spLocks noChangeAspect="1" noChangeArrowheads="1"/>
            </p:cNvSpPr>
            <p:nvPr/>
          </p:nvSpPr>
          <p:spPr bwMode="auto">
            <a:xfrm>
              <a:off x="1981203"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 name="Rectangle 818"/>
            <p:cNvSpPr>
              <a:spLocks noChangeAspect="1" noChangeArrowheads="1"/>
            </p:cNvSpPr>
            <p:nvPr/>
          </p:nvSpPr>
          <p:spPr bwMode="auto">
            <a:xfrm>
              <a:off x="1451381"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 name="Rectangle 819"/>
            <p:cNvSpPr>
              <a:spLocks noChangeAspect="1" noChangeArrowheads="1"/>
            </p:cNvSpPr>
            <p:nvPr/>
          </p:nvSpPr>
          <p:spPr bwMode="auto">
            <a:xfrm>
              <a:off x="160049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 name="Rectangle 820"/>
            <p:cNvSpPr>
              <a:spLocks noChangeAspect="1" noChangeArrowheads="1"/>
            </p:cNvSpPr>
            <p:nvPr/>
          </p:nvSpPr>
          <p:spPr bwMode="auto">
            <a:xfrm>
              <a:off x="1752777"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 name="Rectangle 821"/>
            <p:cNvSpPr>
              <a:spLocks noChangeAspect="1" noChangeArrowheads="1"/>
            </p:cNvSpPr>
            <p:nvPr/>
          </p:nvSpPr>
          <p:spPr bwMode="auto">
            <a:xfrm>
              <a:off x="160049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 name="Rectangle 822"/>
            <p:cNvSpPr>
              <a:spLocks noChangeAspect="1" noChangeArrowheads="1"/>
            </p:cNvSpPr>
            <p:nvPr/>
          </p:nvSpPr>
          <p:spPr bwMode="auto">
            <a:xfrm>
              <a:off x="1752777"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37" name="正方形/長方形 36"/>
          <p:cNvSpPr/>
          <p:nvPr/>
        </p:nvSpPr>
        <p:spPr>
          <a:xfrm>
            <a:off x="3662125" y="3520108"/>
            <a:ext cx="1087575" cy="284888"/>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zh-TW"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専門委員会</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2425155" y="2581940"/>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kumimoji="0" lang="ja-JP" altLang="en-US" sz="10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申請</a:t>
            </a:r>
            <a:endParaRPr kumimoji="0" lang="en-US" altLang="ja-JP" sz="6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右矢印 38"/>
          <p:cNvSpPr/>
          <p:nvPr/>
        </p:nvSpPr>
        <p:spPr>
          <a:xfrm>
            <a:off x="6755841" y="3010496"/>
            <a:ext cx="644731"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882225" y="3052261"/>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ja-JP" altLang="en-US" sz="1400" dirty="0">
                <a:latin typeface="HGP創英角ｺﾞｼｯｸUB" panose="020B0900000000000000" pitchFamily="50" charset="-128"/>
                <a:ea typeface="HGP創英角ｺﾞｼｯｸUB" panose="020B0900000000000000" pitchFamily="50" charset="-128"/>
              </a:rPr>
              <a:t>同委員会</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lang="ja-JP" altLang="en-US" sz="1400" dirty="0">
                <a:latin typeface="HGP創英角ｺﾞｼｯｸUB" panose="020B0900000000000000" pitchFamily="50" charset="-128"/>
                <a:ea typeface="HGP創英角ｺﾞｼｯｸUB" panose="020B0900000000000000" pitchFamily="50" charset="-128"/>
              </a:rPr>
              <a:t>の承認</a:t>
            </a:r>
            <a:endParaRPr lang="en-US" altLang="ja-JP" sz="1400" dirty="0">
              <a:latin typeface="HGP創英角ｺﾞｼｯｸUB" panose="020B0900000000000000" pitchFamily="50" charset="-128"/>
              <a:ea typeface="HGP創英角ｺﾞｼｯｸUB" panose="020B0900000000000000" pitchFamily="50" charset="-128"/>
            </a:endParaRPr>
          </a:p>
        </p:txBody>
      </p:sp>
      <p:sp>
        <p:nvSpPr>
          <p:cNvPr id="41" name="右矢印 40"/>
          <p:cNvSpPr/>
          <p:nvPr/>
        </p:nvSpPr>
        <p:spPr>
          <a:xfrm>
            <a:off x="4923142" y="3010496"/>
            <a:ext cx="644731"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2" name="Group 6"/>
          <p:cNvGrpSpPr>
            <a:grpSpLocks noChangeAspect="1"/>
          </p:cNvGrpSpPr>
          <p:nvPr/>
        </p:nvGrpSpPr>
        <p:grpSpPr bwMode="auto">
          <a:xfrm>
            <a:off x="1435885" y="2741702"/>
            <a:ext cx="449714" cy="745282"/>
            <a:chOff x="1261" y="1689"/>
            <a:chExt cx="318" cy="527"/>
          </a:xfrm>
        </p:grpSpPr>
        <p:sp>
          <p:nvSpPr>
            <p:cNvPr id="43"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45" name="正方形/長方形 44"/>
          <p:cNvSpPr/>
          <p:nvPr/>
        </p:nvSpPr>
        <p:spPr>
          <a:xfrm>
            <a:off x="1235494" y="3574466"/>
            <a:ext cx="850496" cy="230530"/>
          </a:xfrm>
          <a:prstGeom prst="rect">
            <a:avLst/>
          </a:prstGeom>
          <a:no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医師</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32997" y="3646474"/>
            <a:ext cx="728102" cy="230530"/>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提出書類等</a:t>
            </a:r>
            <a:endParaRPr kumimoji="0" lang="en-US" altLang="ja-JP"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語）</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右矢印 46"/>
          <p:cNvSpPr/>
          <p:nvPr/>
        </p:nvSpPr>
        <p:spPr>
          <a:xfrm>
            <a:off x="1970814" y="3010496"/>
            <a:ext cx="1505375"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8" name="グループ化 47"/>
          <p:cNvGrpSpPr/>
          <p:nvPr/>
        </p:nvGrpSpPr>
        <p:grpSpPr>
          <a:xfrm>
            <a:off x="2436640" y="2840762"/>
            <a:ext cx="520816" cy="684818"/>
            <a:chOff x="1835471" y="2722334"/>
            <a:chExt cx="1083859" cy="1425159"/>
          </a:xfrm>
        </p:grpSpPr>
        <p:grpSp>
          <p:nvGrpSpPr>
            <p:cNvPr id="49" name="グループ化 48"/>
            <p:cNvGrpSpPr/>
            <p:nvPr/>
          </p:nvGrpSpPr>
          <p:grpSpPr>
            <a:xfrm>
              <a:off x="1865951" y="2722334"/>
              <a:ext cx="1053379" cy="1425159"/>
              <a:chOff x="2432720" y="3429000"/>
              <a:chExt cx="1224136" cy="1656184"/>
            </a:xfrm>
          </p:grpSpPr>
          <p:sp>
            <p:nvSpPr>
              <p:cNvPr id="51" name="正方形/長方形 50"/>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直線コネクタ 51"/>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0" name="テキスト ボックス 49"/>
            <p:cNvSpPr txBox="1"/>
            <p:nvPr/>
          </p:nvSpPr>
          <p:spPr>
            <a:xfrm>
              <a:off x="1835471" y="2792627"/>
              <a:ext cx="1056025" cy="352278"/>
            </a:xfrm>
            <a:prstGeom prst="rect">
              <a:avLst/>
            </a:prstGeom>
            <a:noFill/>
          </p:spPr>
          <p:txBody>
            <a:bodyPr wrap="square" lIns="0" rIns="0" rtlCol="0">
              <a:spAutoFit/>
            </a:bodyPr>
            <a:lstStyle/>
            <a:p>
              <a:pPr algn="ctr"/>
              <a:r>
                <a:rPr kumimoji="1" lang="en-US" altLang="ja-JP"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rPr>
                <a:t>Application</a:t>
              </a:r>
              <a:endParaRPr kumimoji="1" lang="ja-JP" altLang="en-US"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9" name="グループ化 7"/>
          <p:cNvGrpSpPr/>
          <p:nvPr/>
        </p:nvGrpSpPr>
        <p:grpSpPr>
          <a:xfrm>
            <a:off x="2827307" y="4094105"/>
            <a:ext cx="4251386" cy="288032"/>
            <a:chOff x="4944173" y="2113806"/>
            <a:chExt cx="5861371" cy="288032"/>
          </a:xfrm>
        </p:grpSpPr>
        <p:cxnSp>
          <p:nvCxnSpPr>
            <p:cNvPr id="70" name="直線コネクタ 6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の際に必要な提出書類等</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72" name="表 71"/>
          <p:cNvGraphicFramePr>
            <a:graphicFrameLocks noGrp="1"/>
          </p:cNvGraphicFramePr>
          <p:nvPr>
            <p:extLst>
              <p:ext uri="{D42A27DB-BD31-4B8C-83A1-F6EECF244321}">
                <p14:modId xmlns:p14="http://schemas.microsoft.com/office/powerpoint/2010/main" val="3764448692"/>
              </p:ext>
            </p:extLst>
          </p:nvPr>
        </p:nvGraphicFramePr>
        <p:xfrm>
          <a:off x="2864956" y="4454148"/>
          <a:ext cx="4176089" cy="1947912"/>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就労証明書（過去</a:t>
                      </a:r>
                      <a:r>
                        <a:rPr lang="en-US" altLang="ja-JP" sz="1000" b="0" dirty="0">
                          <a:solidFill>
                            <a:schemeClr val="tx1"/>
                          </a:solidFill>
                        </a:rPr>
                        <a:t>2</a:t>
                      </a:r>
                      <a:r>
                        <a:rPr lang="ja-JP" altLang="en-US" sz="1000" b="0" dirty="0">
                          <a:solidFill>
                            <a:schemeClr val="tx1"/>
                          </a:solidFill>
                        </a:rPr>
                        <a:t>年間に就労した全ての機関）</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1" lang="ja-JP" altLang="en-US" sz="1000" b="0" i="0" u="none" strike="noStrike" kern="1200" cap="none" spc="0" normalizeH="0" baseline="0" dirty="0" bmk="">
                          <a:ln>
                            <a:noFill/>
                          </a:ln>
                          <a:solidFill>
                            <a:schemeClr val="tx1"/>
                          </a:solidFill>
                          <a:effectLst/>
                          <a:uLnTx/>
                          <a:uFillTx/>
                          <a:latin typeface="+mn-lt"/>
                          <a:ea typeface="+mn-ea"/>
                          <a:cs typeface="+mn-cs"/>
                        </a:rPr>
                        <a:t>学位証明書、その他の医師認定証明書類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現在の医師免許の証明書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履歴書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パスポート、在留許可書、またはビザ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写真</a:t>
                      </a:r>
                      <a:r>
                        <a:rPr kumimoji="0" lang="en-US" altLang="ja-JP" sz="950" b="0" i="0" u="none" strike="noStrike" cap="none" normalizeH="0" baseline="0" dirty="0" bmk="">
                          <a:ln>
                            <a:noFill/>
                          </a:ln>
                          <a:solidFill>
                            <a:schemeClr val="tx1"/>
                          </a:solidFill>
                          <a:effectLst/>
                          <a:latin typeface="+mn-ea"/>
                          <a:ea typeface="+mn-ea"/>
                        </a:rPr>
                        <a:t>2</a:t>
                      </a:r>
                      <a:r>
                        <a:rPr kumimoji="0" lang="ja-JP" altLang="en-US" sz="950" b="0" i="0" u="none" strike="noStrike" cap="none" normalizeH="0" baseline="0" dirty="0" bmk="">
                          <a:ln>
                            <a:noFill/>
                          </a:ln>
                          <a:solidFill>
                            <a:schemeClr val="tx1"/>
                          </a:solidFill>
                          <a:effectLst/>
                          <a:latin typeface="+mn-ea"/>
                          <a:ea typeface="+mn-ea"/>
                        </a:rPr>
                        <a:t>枚（パスポートサイ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医師申込書（就労予定先の医療機関から交付される）</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手数料</a:t>
                      </a:r>
                      <a:endParaRPr kumimoji="0" lang="en-US" altLang="ja-JP" sz="95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669201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693128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サウジアラビ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07925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9</a:t>
            </a:r>
            <a:r>
              <a:rPr lang="ja-JP" altLang="en-US" sz="1400" dirty="0"/>
              <a:t>月</a:t>
            </a:r>
            <a:r>
              <a:rPr lang="en-US" altLang="ja-JP" sz="1400" dirty="0"/>
              <a:t>17</a:t>
            </a:r>
            <a:r>
              <a:rPr lang="ja-JP" altLang="en-US" sz="1400" dirty="0"/>
              <a:t>日付の勅令</a:t>
            </a:r>
            <a:r>
              <a:rPr lang="en-US" altLang="ja-JP" sz="1400" dirty="0"/>
              <a:t>M/19</a:t>
            </a:r>
            <a:r>
              <a:rPr lang="ja-JP" altLang="en-US" sz="1400" dirty="0"/>
              <a:t>によって、サウジアラビア初のデータ保護法（「</a:t>
            </a:r>
            <a:r>
              <a:rPr lang="en-US" altLang="ja-JP" sz="1400" dirty="0"/>
              <a:t>PDPL</a:t>
            </a:r>
            <a:r>
              <a:rPr lang="ja-JP" altLang="en-US" sz="1400" dirty="0"/>
              <a:t>」）が施行された。</a:t>
            </a: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法規制・ガイドラインは確認されなか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データの取り扱いに関し、必要なデータ、データ共有要求の背景にある目的、データの転送および保存の仕組み、データのセキュリティ管理、およびデータ廃棄の仕組みなど、データ共有の目的を成功させるために必要なすべての情報を公開することが求められる。また、すべてのデータは、適用されるデータ処分規則に準拠して、安全に処分される必要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加えて、紙ベースのデータはすべてシュレッダーを使用して廃棄、デジタル上で廃棄されたすべてのデータの詳細なログは維持されなければならない。</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025" y="6422867"/>
            <a:ext cx="9505054"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neTrus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Guid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 New Personal Data Protection Law – What you need to kno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ata Management Off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ata Governance Interim Regula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06/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0" name="表 7">
            <a:extLst>
              <a:ext uri="{FF2B5EF4-FFF2-40B4-BE49-F238E27FC236}">
                <a16:creationId xmlns:a16="http://schemas.microsoft.com/office/drawing/2014/main" id="{704FB2A3-DC09-42B5-A021-1CDFCE517090}"/>
              </a:ext>
            </a:extLst>
          </p:cNvPr>
          <p:cNvGraphicFramePr>
            <a:graphicFrameLocks noGrp="1"/>
          </p:cNvGraphicFramePr>
          <p:nvPr>
            <p:extLst>
              <p:ext uri="{D42A27DB-BD31-4B8C-83A1-F6EECF244321}">
                <p14:modId xmlns:p14="http://schemas.microsoft.com/office/powerpoint/2010/main" val="263565898"/>
              </p:ext>
            </p:extLst>
          </p:nvPr>
        </p:nvGraphicFramePr>
        <p:xfrm>
          <a:off x="200025" y="1700808"/>
          <a:ext cx="9505056" cy="1238962"/>
        </p:xfrm>
        <a:graphic>
          <a:graphicData uri="http://schemas.openxmlformats.org/drawingml/2006/table">
            <a:tbl>
              <a:tblPr firstRow="1" bandRow="1">
                <a:tableStyleId>{5C22544A-7EE6-4342-B048-85BDC9FD1C3A}</a:tableStyleId>
              </a:tblPr>
              <a:tblGrid>
                <a:gridCol w="5041007">
                  <a:extLst>
                    <a:ext uri="{9D8B030D-6E8A-4147-A177-3AD203B41FA5}">
                      <a16:colId xmlns:a16="http://schemas.microsoft.com/office/drawing/2014/main" val="20002"/>
                    </a:ext>
                  </a:extLst>
                </a:gridCol>
                <a:gridCol w="2304256">
                  <a:extLst>
                    <a:ext uri="{9D8B030D-6E8A-4147-A177-3AD203B41FA5}">
                      <a16:colId xmlns:a16="http://schemas.microsoft.com/office/drawing/2014/main" val="3821560009"/>
                    </a:ext>
                  </a:extLst>
                </a:gridCol>
                <a:gridCol w="2159793">
                  <a:extLst>
                    <a:ext uri="{9D8B030D-6E8A-4147-A177-3AD203B41FA5}">
                      <a16:colId xmlns:a16="http://schemas.microsoft.com/office/drawing/2014/main" val="4130878855"/>
                    </a:ext>
                  </a:extLst>
                </a:gridCol>
              </a:tblGrid>
              <a:tr h="125725">
                <a:tc>
                  <a:txBody>
                    <a:bodyPr/>
                    <a:lstStyle/>
                    <a:p>
                      <a:pPr algn="ctr" fontAlgn="ctr" hangingPunct="0"/>
                      <a:r>
                        <a:rPr kumimoji="1" lang="en-US" altLang="ja-JP" sz="1050" b="1" kern="1200" dirty="0">
                          <a:solidFill>
                            <a:schemeClr val="bg1"/>
                          </a:solidFill>
                          <a:latin typeface="+mj-lt"/>
                          <a:ea typeface="HGP創英角ｺﾞｼｯｸUB" panose="020B0900000000000000" pitchFamily="50" charset="-128"/>
                          <a:cs typeface="Arial" panose="020B0604020202020204" pitchFamily="34" charset="0"/>
                        </a:rPr>
                        <a:t>PDPL</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管理者の義務</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データの処理</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では、サウジアラビアデータ・人工知能庁（以下、</a:t>
                      </a:r>
                      <a:r>
                        <a:rPr lang="en-US" altLang="ja-JP" sz="1000" dirty="0"/>
                        <a:t>SDAIA</a:t>
                      </a:r>
                      <a:r>
                        <a:rPr lang="ja-JP" altLang="en-US" sz="1000" dirty="0"/>
                        <a:t>）を、当初</a:t>
                      </a:r>
                      <a:r>
                        <a:rPr lang="en-US" altLang="ja-JP" sz="1000" dirty="0"/>
                        <a:t>2</a:t>
                      </a:r>
                      <a:r>
                        <a:rPr lang="ja-JP" altLang="en-US" sz="1000" dirty="0"/>
                        <a:t>年間は</a:t>
                      </a:r>
                      <a:r>
                        <a:rPr lang="en-US" altLang="ja-JP" sz="1000" dirty="0"/>
                        <a:t>PDPL</a:t>
                      </a:r>
                      <a:r>
                        <a:rPr lang="ja-JP" altLang="en-US" sz="1000" dirty="0"/>
                        <a:t>の実施を監督・執行する責任を負う主務機関として指定しているが、監督の役割は</a:t>
                      </a:r>
                      <a:r>
                        <a:rPr lang="en-US" altLang="ja-JP" sz="1000" dirty="0"/>
                        <a:t>SDAIA</a:t>
                      </a:r>
                      <a:r>
                        <a:rPr lang="ja-JP" altLang="en-US" sz="1000" dirty="0"/>
                        <a:t>の規制部門である国家データ管理局（以下、</a:t>
                      </a:r>
                      <a:r>
                        <a:rPr lang="en-US" altLang="ja-JP" sz="1000" dirty="0"/>
                        <a:t>NDMO</a:t>
                      </a:r>
                      <a:r>
                        <a:rPr lang="ja-JP" altLang="en-US" sz="1000" dirty="0"/>
                        <a:t>）に移管される可能性があ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SDAIA</a:t>
                      </a:r>
                      <a:r>
                        <a:rPr lang="ja-JP" altLang="en-US" sz="1000" dirty="0"/>
                        <a:t>は、</a:t>
                      </a:r>
                      <a:r>
                        <a:rPr lang="en-US" altLang="ja-JP" sz="1000" dirty="0"/>
                        <a:t>PDPL</a:t>
                      </a:r>
                      <a:r>
                        <a:rPr lang="ja-JP" altLang="en-US" sz="1000" dirty="0"/>
                        <a:t>の目的が、個人データのプライバシーを確保し、データ共有を規制し、個人データの乱用を防止することであり、サウジアラビアを中東諸国や国際基準に近づけることにあると強調してい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に基づく管理者は、説明責任、個人データの収集における目的の制限、透明性、データの正確性・最新性の担保、データ保護責任者の任命、処理活動の記録、等が義務として課され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の第</a:t>
                      </a:r>
                      <a:r>
                        <a:rPr lang="en-US" altLang="ja-JP" sz="1000" dirty="0"/>
                        <a:t>23</a:t>
                      </a:r>
                      <a:r>
                        <a:rPr lang="ja-JP" altLang="en-US" sz="1000" dirty="0"/>
                        <a:t>条は、特に健康データの処理について規定しており、このような個人データは、データ対象者の機密性と権利保護を保証する方法で処理されるべきであるとしてい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982598"/>
            <a:ext cx="9505056" cy="70769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3年の個人データ保護法(PDPL)は、個人データの収集、処理、および転送を規制し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意、プライバシーポリシー、データセキュリティ、違反通知、国境を越えたルール、およびデータプライバシーを確保するためのデータ保護責任者の任命を義務付け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2B0C83E3-88D0-9786-BEB2-DB2BC895A0ED}"/>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記事(Clyde and Co、Secure Privacy、Decube、Dla piper、ICLG)</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9" name="Table 8">
            <a:extLst>
              <a:ext uri="{FF2B5EF4-FFF2-40B4-BE49-F238E27FC236}">
                <a16:creationId xmlns:a16="http://schemas.microsoft.com/office/drawing/2014/main" id="{DAB013D2-DAA5-FE73-644E-59FE2E2D2543}"/>
              </a:ext>
            </a:extLst>
          </p:cNvPr>
          <p:cNvGraphicFramePr>
            <a:graphicFrameLocks noGrp="1"/>
          </p:cNvGraphicFramePr>
          <p:nvPr>
            <p:extLst>
              <p:ext uri="{D42A27DB-BD31-4B8C-83A1-F6EECF244321}">
                <p14:modId xmlns:p14="http://schemas.microsoft.com/office/powerpoint/2010/main" val="265554268"/>
              </p:ext>
            </p:extLst>
          </p:nvPr>
        </p:nvGraphicFramePr>
        <p:xfrm>
          <a:off x="206375" y="1808300"/>
          <a:ext cx="9469674" cy="4429012"/>
        </p:xfrm>
        <a:graphic>
          <a:graphicData uri="http://schemas.openxmlformats.org/drawingml/2006/table">
            <a:tbl>
              <a:tblPr firstRow="1" bandRow="1">
                <a:tableStyleId>{5C22544A-7EE6-4342-B048-85BDC9FD1C3A}</a:tableStyleId>
              </a:tblPr>
              <a:tblGrid>
                <a:gridCol w="1438431">
                  <a:extLst>
                    <a:ext uri="{9D8B030D-6E8A-4147-A177-3AD203B41FA5}">
                      <a16:colId xmlns:a16="http://schemas.microsoft.com/office/drawing/2014/main" val="2392580594"/>
                    </a:ext>
                  </a:extLst>
                </a:gridCol>
                <a:gridCol w="8031243">
                  <a:extLst>
                    <a:ext uri="{9D8B030D-6E8A-4147-A177-3AD203B41FA5}">
                      <a16:colId xmlns:a16="http://schemas.microsoft.com/office/drawing/2014/main" val="2920949029"/>
                    </a:ext>
                  </a:extLst>
                </a:gridCol>
              </a:tblGrid>
              <a:tr h="218515">
                <a:tc>
                  <a:txBody>
                    <a:bodyPr/>
                    <a:lstStyle/>
                    <a:p>
                      <a:pPr marL="0" algn="l" defTabSz="914400" rtl="0" eaLnBrk="1" latinLnBrk="0" hangingPunct="1"/>
                      <a:r>
                        <a:rPr kumimoji="1" lang="en-US" sz="1000" kern="1200" noProof="1">
                          <a:solidFill>
                            <a:schemeClr val="bg1"/>
                          </a:solidFill>
                          <a:latin typeface="MS PGothic (headings)"/>
                          <a:ea typeface="+mj-ea"/>
                          <a:cs typeface="+mn-cs"/>
                        </a:rPr>
                        <a:t>規定</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kumimoji="1" lang="en-US" sz="1000" kern="1200" noProof="1">
                          <a:solidFill>
                            <a:schemeClr val="bg1"/>
                          </a:solidFill>
                          <a:latin typeface="MS PGothic (headings)"/>
                          <a:ea typeface="+mj-ea"/>
                          <a:cs typeface="+mn-cs"/>
                        </a:rPr>
                        <a:t>説明</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1480422"/>
                  </a:ext>
                </a:extLst>
              </a:tr>
              <a:tr h="353215">
                <a:tc>
                  <a:txBody>
                    <a:bodyPr/>
                    <a:lstStyle/>
                    <a:p>
                      <a:pPr algn="l"/>
                      <a:r>
                        <a:rPr lang="en-US" sz="1000" noProof="1">
                          <a:latin typeface="MS PGothic (headings)"/>
                        </a:rPr>
                        <a:t>適用範囲</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en-US" sz="1000" noProof="1">
                          <a:latin typeface="MS PGothic (headings)"/>
                        </a:rPr>
                        <a:t>サウジアラビアでの個人データの処理に何らかの方法で適用され</a:t>
                      </a:r>
                      <a:r>
                        <a:rPr lang="ja-JP" altLang="en-US" sz="1000" noProof="1">
                          <a:latin typeface="MS PGothic (headings)"/>
                        </a:rPr>
                        <a:t>る</a:t>
                      </a:r>
                      <a:r>
                        <a:rPr lang="en-US" sz="1000" noProof="1">
                          <a:latin typeface="MS PGothic (headings)"/>
                        </a:rPr>
                        <a:t>。</a:t>
                      </a:r>
                    </a:p>
                    <a:p>
                      <a:pPr marL="171450" indent="-171450" algn="l">
                        <a:buFont typeface="Courier New" panose="02070309020205020404" pitchFamily="49" charset="0"/>
                        <a:buChar char="o"/>
                      </a:pPr>
                      <a:r>
                        <a:rPr lang="en-US" sz="1000" noProof="1">
                          <a:latin typeface="MS PGothic (headings)"/>
                        </a:rPr>
                        <a:t>家族または個人的な目的のための個人データの処理は含まれ</a:t>
                      </a:r>
                      <a:r>
                        <a:rPr lang="ja-JP" altLang="en-US" sz="1000" noProof="1">
                          <a:latin typeface="MS PGothic (headings)"/>
                        </a:rPr>
                        <a:t>ない</a:t>
                      </a:r>
                      <a:r>
                        <a:rPr lang="en-US" sz="1000" noProof="1">
                          <a:latin typeface="MS PGothic (heading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5745205"/>
                  </a:ext>
                </a:extLst>
              </a:tr>
              <a:tr h="353215">
                <a:tc>
                  <a:txBody>
                    <a:bodyPr/>
                    <a:lstStyle/>
                    <a:p>
                      <a:pPr algn="l"/>
                      <a:r>
                        <a:rPr lang="en-US" sz="1000" noProof="1">
                          <a:latin typeface="MS PGothic (headings)"/>
                        </a:rPr>
                        <a:t>規制機関の設置</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en-US" sz="1000" noProof="1">
                          <a:latin typeface="MS PGothic (headings)"/>
                        </a:rPr>
                        <a:t>PDPLの遵守を監視し、実施する責任を負う権限のある当局を設置す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692715"/>
                  </a:ext>
                </a:extLst>
              </a:tr>
              <a:tr h="353215">
                <a:tc>
                  <a:txBody>
                    <a:bodyPr/>
                    <a:lstStyle/>
                    <a:p>
                      <a:r>
                        <a:rPr lang="en-US" sz="1000" noProof="1">
                          <a:latin typeface="MS PGothic (headings)"/>
                        </a:rPr>
                        <a:t>同意</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en-US" sz="1000" noProof="1">
                          <a:latin typeface="MS PGothic (headings)"/>
                        </a:rPr>
                        <a:t>組織は、データ処理の特定の目的ごとに自由に与えられた同意を得なければならず、個人は法的能力を有していなければならない。</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0219740"/>
                  </a:ext>
                </a:extLst>
              </a:tr>
              <a:tr h="300288">
                <a:tc>
                  <a:txBody>
                    <a:bodyPr/>
                    <a:lstStyle/>
                    <a:p>
                      <a:r>
                        <a:rPr lang="en-US" sz="1000" noProof="1">
                          <a:latin typeface="MS PGothic (headings)"/>
                        </a:rPr>
                        <a:t>プライバシーポリシー</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管理者は、個人データを収集する前に、プライバシーポリシーを実施し、データ主体に提供しなければならない。</a:t>
                      </a:r>
                      <a:r>
                        <a:rPr lang="en-US" sz="1000" dirty="0">
                          <a:latin typeface="MS PGothic (headings)"/>
                        </a:rPr>
                        <a:t> </a:t>
                      </a:r>
                      <a:r>
                        <a:rPr lang="en-US" sz="1000" noProof="1">
                          <a:latin typeface="MS PGothic (headings)"/>
                        </a:rPr>
                        <a:t>ポリシーには、データ収集の目的と内容、収集方法、保存、処理、破棄、およびデータ主体が権利を行使する方法を含める必要があ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7898926"/>
                  </a:ext>
                </a:extLst>
              </a:tr>
              <a:tr h="300288">
                <a:tc>
                  <a:txBody>
                    <a:bodyPr/>
                    <a:lstStyle/>
                    <a:p>
                      <a:r>
                        <a:rPr lang="en-US" sz="1000" noProof="1">
                          <a:latin typeface="MS PGothic (headings)"/>
                        </a:rPr>
                        <a:t>データ収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marR="0" lvl="0" indent="-18097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000" noProof="1">
                          <a:latin typeface="MS PGothic (headings)"/>
                        </a:rPr>
                        <a:t>データは、データ主体または第三者のソースから直接収集することができる。</a:t>
                      </a:r>
                      <a:r>
                        <a:rPr lang="en-US" sz="1000" dirty="0">
                          <a:latin typeface="MS PGothic (headings)"/>
                        </a:rPr>
                        <a:t> </a:t>
                      </a:r>
                      <a:r>
                        <a:rPr lang="en-US" sz="1000" noProof="1">
                          <a:latin typeface="MS PGothic (headings)"/>
                        </a:rPr>
                        <a:t>組織は、個人データ収集の目的を明確に示し、データが適切であることを確認し、収集をその目的に必要な最小限に制限する必要があ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1947696"/>
                  </a:ext>
                </a:extLst>
              </a:tr>
              <a:tr h="353215">
                <a:tc>
                  <a:txBody>
                    <a:bodyPr/>
                    <a:lstStyle/>
                    <a:p>
                      <a:r>
                        <a:rPr lang="en-US" sz="1000" noProof="1">
                          <a:latin typeface="MS PGothic (headings)"/>
                        </a:rPr>
                        <a:t>データ処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en-US" sz="1000" noProof="1">
                          <a:latin typeface="MS PGothic (headings)"/>
                        </a:rPr>
                        <a:t>データは、収集された目的のためにのみ処理することができるが、組織は、法律によって認められる場合には、他の目的のためにデータを処理することができ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4126393"/>
                  </a:ext>
                </a:extLst>
              </a:tr>
              <a:tr h="353215">
                <a:tc>
                  <a:txBody>
                    <a:bodyPr/>
                    <a:lstStyle/>
                    <a:p>
                      <a:r>
                        <a:rPr lang="en-US" sz="1000" noProof="1">
                          <a:latin typeface="MS PGothic (headings)"/>
                        </a:rPr>
                        <a:t>データセキュリティ</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組織は、個人データの保護を確保するために必要な組織的、管理的および技術的措置を実施することが要求され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2573747"/>
                  </a:ext>
                </a:extLst>
              </a:tr>
              <a:tr h="353215">
                <a:tc>
                  <a:txBody>
                    <a:bodyPr/>
                    <a:lstStyle/>
                    <a:p>
                      <a:r>
                        <a:rPr lang="en-US" sz="1000" noProof="1">
                          <a:latin typeface="MS PGothic (headings)"/>
                        </a:rPr>
                        <a:t>データ侵害</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管理者は、違反、損害、または個人データへの違法アクセスが発見された場合は、規則に従って所管当局に通知するものとする。</a:t>
                      </a:r>
                      <a:r>
                        <a:rPr lang="en-US" sz="1000" dirty="0">
                          <a:latin typeface="MS PGothic (headings)"/>
                        </a:rPr>
                        <a:t> </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2052901"/>
                  </a:ext>
                </a:extLst>
              </a:tr>
              <a:tr h="353215">
                <a:tc>
                  <a:txBody>
                    <a:bodyPr/>
                    <a:lstStyle/>
                    <a:p>
                      <a:r>
                        <a:rPr lang="en-US" sz="1000" noProof="1">
                          <a:latin typeface="MS PGothic (headings)"/>
                        </a:rPr>
                        <a:t>データ保護影響評価</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管理者は、特定の取扱活動に関連する個人データに対するリスクを特定し、評価する必要があ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037109"/>
                  </a:ext>
                </a:extLst>
              </a:tr>
              <a:tr h="502883">
                <a:tc>
                  <a:txBody>
                    <a:bodyPr/>
                    <a:lstStyle/>
                    <a:p>
                      <a:r>
                        <a:rPr lang="en-US" sz="1000" noProof="1">
                          <a:latin typeface="MS PGothic (headings)"/>
                        </a:rPr>
                        <a:t>データ保護オフィサーの任命</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データ保護オフィサーは、法律の規定の実施を監督し、確保するために任命され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6268509"/>
                  </a:ext>
                </a:extLst>
              </a:tr>
              <a:tr h="502883">
                <a:tc>
                  <a:txBody>
                    <a:bodyPr/>
                    <a:lstStyle/>
                    <a:p>
                      <a:r>
                        <a:rPr lang="en-US" sz="1000" noProof="1">
                          <a:latin typeface="MS PGothic (headings)"/>
                        </a:rPr>
                        <a:t>国境を越えるデータ転送の要件</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PDPLはサウジアラビア国外への転送を許可しますが、受領国には、個人データの適切な保護を確保する規制と、個人データを保護するために管理者に適切な手順と措置を課す監督機関が必要で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4222301"/>
                  </a:ext>
                </a:extLst>
              </a:tr>
            </a:tbl>
          </a:graphicData>
        </a:graphic>
      </p:graphicFrame>
    </p:spTree>
    <p:extLst>
      <p:ext uri="{BB962C8B-B14F-4D97-AF65-F5344CB8AC3E}">
        <p14:creationId xmlns:p14="http://schemas.microsoft.com/office/powerpoint/2010/main" val="604009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PDPLは、医療データを機密性の高い個人データに分類し、明示的な同意、処理の法的根拠としての管理者の正当な利益の制限、マーケティングおよび研究目的での機密データの使用の制限などの追加の保護措置を要求</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す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4880992" y="1939978"/>
            <a:ext cx="4824983" cy="2597002"/>
            <a:chOff x="210900" y="3933056"/>
            <a:chExt cx="2509852" cy="2902377"/>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326053"/>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257671"/>
              <a:ext cx="2509852" cy="1905579"/>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人種的または民族的出身を明らかにする個人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宗教的、哲学的または政治的信念を明らかにする個人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前科を明らかにする個人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生体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遺伝子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身体的、精神的、心理的状態を問わず、個人の健康状態に関連する個人データ、または個人が受けた医療サービスに関連する個人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親子関係 (父母の一方又は双方) が不明であるか否かを明らかにする個人データ</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16367" y="1939977"/>
            <a:ext cx="3850436" cy="2588262"/>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8"/>
              <a:ext cx="2509852" cy="328951"/>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panose="020B0500000000000000" pitchFamily="34" charset="-128"/>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253320"/>
              <a:ext cx="2509852" cy="2356439"/>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情報源又は形態にかかわらず、個人が直接的又は間接的に特定される可能性のある情報は、個人データと呼ばれる。これには、次のものが含まれる。</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氏名</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個人識別情報</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住所</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連絡先</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ライセンス番号</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記録、個人資産、銀行およびクレジットカード番号</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個人の写真およびビデオ</a:t>
              </a:r>
            </a:p>
          </p:txBody>
        </p:sp>
      </p:grpSp>
      <p:sp>
        <p:nvSpPr>
          <p:cNvPr id="21" name="テキスト ボックス 14">
            <a:extLst>
              <a:ext uri="{FF2B5EF4-FFF2-40B4-BE49-F238E27FC236}">
                <a16:creationId xmlns:a16="http://schemas.microsoft.com/office/drawing/2014/main" id="{30369EF1-E1A9-5749-D558-39882456F1AE}"/>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データおよびAI当局の法律および規則 (SDAI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pSp>
        <p:nvGrpSpPr>
          <p:cNvPr id="5" name="Group 4">
            <a:extLst>
              <a:ext uri="{FF2B5EF4-FFF2-40B4-BE49-F238E27FC236}">
                <a16:creationId xmlns:a16="http://schemas.microsoft.com/office/drawing/2014/main" id="{08253D2F-3CB7-BB4F-1545-693E80BB9CB3}"/>
              </a:ext>
            </a:extLst>
          </p:cNvPr>
          <p:cNvGrpSpPr/>
          <p:nvPr/>
        </p:nvGrpSpPr>
        <p:grpSpPr>
          <a:xfrm>
            <a:off x="4279529" y="3010463"/>
            <a:ext cx="457447" cy="479747"/>
            <a:chOff x="-1383705" y="1484213"/>
            <a:chExt cx="286889" cy="360040"/>
          </a:xfrm>
        </p:grpSpPr>
        <p:sp>
          <p:nvSpPr>
            <p:cNvPr id="23" name="Isosceles Triangle 22">
              <a:extLst>
                <a:ext uri="{FF2B5EF4-FFF2-40B4-BE49-F238E27FC236}">
                  <a16:creationId xmlns:a16="http://schemas.microsoft.com/office/drawing/2014/main" id="{B98C7126-E6B5-01B4-04CA-58C4CD7A70E1}"/>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dirty="0"/>
            </a:p>
          </p:txBody>
        </p:sp>
        <p:sp>
          <p:nvSpPr>
            <p:cNvPr id="24" name="Isosceles Triangle 23">
              <a:extLst>
                <a:ext uri="{FF2B5EF4-FFF2-40B4-BE49-F238E27FC236}">
                  <a16:creationId xmlns:a16="http://schemas.microsoft.com/office/drawing/2014/main" id="{08B361CE-9386-D6AB-83A9-C884760BF7EA}"/>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dirty="0"/>
            </a:p>
          </p:txBody>
        </p:sp>
      </p:grpSp>
      <p:graphicFrame>
        <p:nvGraphicFramePr>
          <p:cNvPr id="25" name="Table 24">
            <a:extLst>
              <a:ext uri="{FF2B5EF4-FFF2-40B4-BE49-F238E27FC236}">
                <a16:creationId xmlns:a16="http://schemas.microsoft.com/office/drawing/2014/main" id="{DC7D4418-02EA-D079-CA9B-B2D4917C28D3}"/>
              </a:ext>
            </a:extLst>
          </p:cNvPr>
          <p:cNvGraphicFramePr>
            <a:graphicFrameLocks noGrp="1"/>
          </p:cNvGraphicFramePr>
          <p:nvPr>
            <p:extLst>
              <p:ext uri="{D42A27DB-BD31-4B8C-83A1-F6EECF244321}">
                <p14:modId xmlns:p14="http://schemas.microsoft.com/office/powerpoint/2010/main" val="1610657926"/>
              </p:ext>
            </p:extLst>
          </p:nvPr>
        </p:nvGraphicFramePr>
        <p:xfrm>
          <a:off x="218162" y="5285243"/>
          <a:ext cx="4583559" cy="858294"/>
        </p:xfrm>
        <a:graphic>
          <a:graphicData uri="http://schemas.openxmlformats.org/drawingml/2006/table">
            <a:tbl>
              <a:tblPr firstRow="1" bandRow="1">
                <a:tableStyleId>{5C22544A-7EE6-4342-B048-85BDC9FD1C3A}</a:tableStyleId>
              </a:tblPr>
              <a:tblGrid>
                <a:gridCol w="271741">
                  <a:extLst>
                    <a:ext uri="{9D8B030D-6E8A-4147-A177-3AD203B41FA5}">
                      <a16:colId xmlns:a16="http://schemas.microsoft.com/office/drawing/2014/main" val="2392580594"/>
                    </a:ext>
                  </a:extLst>
                </a:gridCol>
                <a:gridCol w="4311818">
                  <a:extLst>
                    <a:ext uri="{9D8B030D-6E8A-4147-A177-3AD203B41FA5}">
                      <a16:colId xmlns:a16="http://schemas.microsoft.com/office/drawing/2014/main" val="2920949029"/>
                    </a:ext>
                  </a:extLst>
                </a:gridCol>
              </a:tblGrid>
              <a:tr h="450466">
                <a:tc>
                  <a:txBody>
                    <a:bodyPr/>
                    <a:lstStyle/>
                    <a:p>
                      <a:pPr algn="r"/>
                      <a:r>
                        <a:rPr lang="en-US" sz="1100" b="0" noProof="1">
                          <a:solidFill>
                            <a:schemeClr val="tx1"/>
                          </a:solidFill>
                          <a:latin typeface="MS PGothic (headings)"/>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個人データを処理する際に、正当な利益を法的根拠として使用することはできない</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407828">
                <a:tc>
                  <a:txBody>
                    <a:bodyPr/>
                    <a:lstStyle/>
                    <a:p>
                      <a:pPr algn="r"/>
                      <a:r>
                        <a:rPr lang="en-US" sz="1100" b="0" noProof="1">
                          <a:solidFill>
                            <a:schemeClr val="tx1"/>
                          </a:solidFill>
                          <a:latin typeface="MS PGothic (headings)"/>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同意が明示的であること</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bl>
          </a:graphicData>
        </a:graphic>
      </p:graphicFrame>
      <p:sp>
        <p:nvSpPr>
          <p:cNvPr id="26" name="TextBox 25">
            <a:extLst>
              <a:ext uri="{FF2B5EF4-FFF2-40B4-BE49-F238E27FC236}">
                <a16:creationId xmlns:a16="http://schemas.microsoft.com/office/drawing/2014/main" id="{D547239B-E0CC-5D00-31FF-A71C1205C02B}"/>
              </a:ext>
            </a:extLst>
          </p:cNvPr>
          <p:cNvSpPr txBox="1"/>
          <p:nvPr/>
        </p:nvSpPr>
        <p:spPr>
          <a:xfrm>
            <a:off x="231775" y="4970290"/>
            <a:ext cx="9977809" cy="293348"/>
          </a:xfrm>
          <a:prstGeom prst="rect">
            <a:avLst/>
          </a:prstGeom>
          <a:noFill/>
        </p:spPr>
        <p:txBody>
          <a:bodyPr wrap="square" rtlCol="0">
            <a:spAutoFit/>
          </a:bodyPr>
          <a:lstStyle/>
          <a:p>
            <a:pPr>
              <a:lnSpc>
                <a:spcPct val="120000"/>
              </a:lnSpc>
            </a:pPr>
            <a:r>
              <a:rPr kumimoji="1" lang="en-US" sz="1200" b="1" u="sng" noProof="1">
                <a:latin typeface="MS PGothic (headings)"/>
              </a:rPr>
              <a:t>機密データを処理する際には、次の特定の要件を満たす必要があります。</a:t>
            </a:r>
          </a:p>
        </p:txBody>
      </p:sp>
      <p:graphicFrame>
        <p:nvGraphicFramePr>
          <p:cNvPr id="31" name="Table 30">
            <a:extLst>
              <a:ext uri="{FF2B5EF4-FFF2-40B4-BE49-F238E27FC236}">
                <a16:creationId xmlns:a16="http://schemas.microsoft.com/office/drawing/2014/main" id="{D1950D8D-348D-B9D6-FEAC-D2B5C3191A61}"/>
              </a:ext>
            </a:extLst>
          </p:cNvPr>
          <p:cNvGraphicFramePr>
            <a:graphicFrameLocks noGrp="1"/>
          </p:cNvGraphicFramePr>
          <p:nvPr>
            <p:extLst>
              <p:ext uri="{D42A27DB-BD31-4B8C-83A1-F6EECF244321}">
                <p14:modId xmlns:p14="http://schemas.microsoft.com/office/powerpoint/2010/main" val="4186247932"/>
              </p:ext>
            </p:extLst>
          </p:nvPr>
        </p:nvGraphicFramePr>
        <p:xfrm>
          <a:off x="5122415" y="5259842"/>
          <a:ext cx="4583560" cy="900932"/>
        </p:xfrm>
        <a:graphic>
          <a:graphicData uri="http://schemas.openxmlformats.org/drawingml/2006/table">
            <a:tbl>
              <a:tblPr firstRow="1" bandRow="1">
                <a:tableStyleId>{5C22544A-7EE6-4342-B048-85BDC9FD1C3A}</a:tableStyleId>
              </a:tblPr>
              <a:tblGrid>
                <a:gridCol w="271742">
                  <a:extLst>
                    <a:ext uri="{9D8B030D-6E8A-4147-A177-3AD203B41FA5}">
                      <a16:colId xmlns:a16="http://schemas.microsoft.com/office/drawing/2014/main" val="2392580594"/>
                    </a:ext>
                  </a:extLst>
                </a:gridCol>
                <a:gridCol w="4311818">
                  <a:extLst>
                    <a:ext uri="{9D8B030D-6E8A-4147-A177-3AD203B41FA5}">
                      <a16:colId xmlns:a16="http://schemas.microsoft.com/office/drawing/2014/main" val="2920949029"/>
                    </a:ext>
                  </a:extLst>
                </a:gridCol>
              </a:tblGrid>
              <a:tr h="450466">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個人の同意があっても、マーケティング目的で機密データを処理することはできません。</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450466">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匿名化されていない機密データの科学的、研究的または統計的目的での使用を制限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51720670"/>
                  </a:ext>
                </a:extLst>
              </a:tr>
            </a:tbl>
          </a:graphicData>
        </a:graphic>
      </p:graphicFrame>
      <p:grpSp>
        <p:nvGrpSpPr>
          <p:cNvPr id="32" name="Group 31">
            <a:extLst>
              <a:ext uri="{FF2B5EF4-FFF2-40B4-BE49-F238E27FC236}">
                <a16:creationId xmlns:a16="http://schemas.microsoft.com/office/drawing/2014/main" id="{356C25B8-402B-D602-2C51-70ECA24FBC28}"/>
              </a:ext>
            </a:extLst>
          </p:cNvPr>
          <p:cNvGrpSpPr/>
          <p:nvPr/>
        </p:nvGrpSpPr>
        <p:grpSpPr>
          <a:xfrm>
            <a:off x="5168900" y="4653136"/>
            <a:ext cx="4320604" cy="178678"/>
            <a:chOff x="1928664" y="919398"/>
            <a:chExt cx="3456384" cy="178678"/>
          </a:xfrm>
        </p:grpSpPr>
        <p:cxnSp>
          <p:nvCxnSpPr>
            <p:cNvPr id="33" name="Straight Connector 32">
              <a:extLst>
                <a:ext uri="{FF2B5EF4-FFF2-40B4-BE49-F238E27FC236}">
                  <a16:creationId xmlns:a16="http://schemas.microsoft.com/office/drawing/2014/main" id="{9CD6E644-B537-A653-4D0F-C2F611F82F59}"/>
                </a:ext>
              </a:extLst>
            </p:cNvPr>
            <p:cNvCxnSpPr/>
            <p:nvPr/>
          </p:nvCxnSpPr>
          <p:spPr>
            <a:xfrm>
              <a:off x="1928664" y="980728"/>
              <a:ext cx="345638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Isosceles Triangle 33">
              <a:extLst>
                <a:ext uri="{FF2B5EF4-FFF2-40B4-BE49-F238E27FC236}">
                  <a16:creationId xmlns:a16="http://schemas.microsoft.com/office/drawing/2014/main" id="{6E09512A-95FB-92E7-A026-AB4ED136AE60}"/>
                </a:ext>
              </a:extLst>
            </p:cNvPr>
            <p:cNvSpPr/>
            <p:nvPr/>
          </p:nvSpPr>
          <p:spPr>
            <a:xfrm rot="10800000">
              <a:off x="3426486" y="919398"/>
              <a:ext cx="590409" cy="178678"/>
            </a:xfrm>
            <a:prstGeom prst="triangle">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grpSp>
      <p:sp>
        <p:nvSpPr>
          <p:cNvPr id="35" name="TextBox 34">
            <a:extLst>
              <a:ext uri="{FF2B5EF4-FFF2-40B4-BE49-F238E27FC236}">
                <a16:creationId xmlns:a16="http://schemas.microsoft.com/office/drawing/2014/main" id="{8AF17115-CA0E-F23D-08B7-DB183DB3E1FF}"/>
              </a:ext>
            </a:extLst>
          </p:cNvPr>
          <p:cNvSpPr txBox="1"/>
          <p:nvPr/>
        </p:nvSpPr>
        <p:spPr>
          <a:xfrm>
            <a:off x="209187" y="6197266"/>
            <a:ext cx="9470940" cy="225383"/>
          </a:xfrm>
          <a:prstGeom prst="rect">
            <a:avLst/>
          </a:prstGeom>
          <a:noFill/>
        </p:spPr>
        <p:txBody>
          <a:bodyPr wrap="square" rtlCol="0">
            <a:spAutoFit/>
          </a:bodyPr>
          <a:lstStyle/>
          <a:p>
            <a:pPr>
              <a:lnSpc>
                <a:spcPct val="120000"/>
              </a:lnSpc>
            </a:pPr>
            <a:r>
              <a:rPr lang="ja-JP" altLang="en-US" sz="800" noProof="1">
                <a:latin typeface="MS PGothic (headings)"/>
              </a:rPr>
              <a:t>音符</a:t>
            </a:r>
            <a:r>
              <a:rPr kumimoji="1" lang="en-US" sz="800" noProof="1">
                <a:latin typeface="MS PGothic (headings)"/>
              </a:rPr>
              <a:t>:正当な利益とは、データ主体の権利および利益に悪影響を及ぼさない限り、特定の目的のための個人データの取扱いを必要とする管理者の必要な利益を指す。</a:t>
            </a:r>
            <a:r>
              <a:rPr kumimoji="1" lang="en-US" sz="800" dirty="0">
                <a:latin typeface="MS PGothic (headings)"/>
              </a:rPr>
              <a:t> </a:t>
            </a:r>
          </a:p>
        </p:txBody>
      </p:sp>
    </p:spTree>
    <p:extLst>
      <p:ext uri="{BB962C8B-B14F-4D97-AF65-F5344CB8AC3E}">
        <p14:creationId xmlns:p14="http://schemas.microsoft.com/office/powerpoint/2010/main" val="31803525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BC2DC-EB7A-78A6-2B1C-C2B9B3B7D13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FB5AA1-F158-EAA6-DDC8-CC2F6E0659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CAFB5AA1-F158-EAA6-DDC8-CC2F6E0659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2F0309-05BD-02AA-DB90-30F42C2634F4}"/>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5AE43190-1AF8-D633-FD0A-EDC6F0F1DB45}"/>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FE0D0A89-FA08-3CBA-4E10-4D64B46D127B}"/>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B370CDB3-6CB5-F503-8C32-E10345F38E18}"/>
              </a:ext>
            </a:extLst>
          </p:cNvPr>
          <p:cNvSpPr txBox="1"/>
          <p:nvPr/>
        </p:nvSpPr>
        <p:spPr>
          <a:xfrm>
            <a:off x="200471" y="1146518"/>
            <a:ext cx="9505056" cy="120731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法は、データ主体の同意なしに個人データを処理したり、データ収集の目的を変更したりすることはできないと規定しており、機密データの処理には明示的な同意が必要であ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ただし、個人データがデータ主体の利益に資する場合、データ管理者が公的機関である場合、または目的がセキュリティまたは司法上の要件に関連する場合は、同意なしに個人データを収集することができ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意が必要な場合と、データの処理に同意が必要ない場合について規定してい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ACCB6B1A-B3B4-B4EE-7BAE-A1260522F830}"/>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アラビアデータおよびAI当局の法律および規則 (SDAI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pSp>
        <p:nvGrpSpPr>
          <p:cNvPr id="9" name="Group 8">
            <a:extLst>
              <a:ext uri="{FF2B5EF4-FFF2-40B4-BE49-F238E27FC236}">
                <a16:creationId xmlns:a16="http://schemas.microsoft.com/office/drawing/2014/main" id="{2E518CA9-5BAF-1E18-5F05-DCDBFA23FADB}"/>
              </a:ext>
            </a:extLst>
          </p:cNvPr>
          <p:cNvGrpSpPr/>
          <p:nvPr/>
        </p:nvGrpSpPr>
        <p:grpSpPr>
          <a:xfrm>
            <a:off x="201000" y="2520616"/>
            <a:ext cx="4247944" cy="2645162"/>
            <a:chOff x="210900" y="3933055"/>
            <a:chExt cx="2509852" cy="2663363"/>
          </a:xfrm>
        </p:grpSpPr>
        <p:sp>
          <p:nvSpPr>
            <p:cNvPr id="10" name="Rectangle: Rounded Corners 9">
              <a:extLst>
                <a:ext uri="{FF2B5EF4-FFF2-40B4-BE49-F238E27FC236}">
                  <a16:creationId xmlns:a16="http://schemas.microsoft.com/office/drawing/2014/main" id="{17A1E8A5-7D41-6514-7EF6-F66EB3B3AFDD}"/>
                </a:ext>
              </a:extLst>
            </p:cNvPr>
            <p:cNvSpPr/>
            <p:nvPr/>
          </p:nvSpPr>
          <p:spPr>
            <a:xfrm>
              <a:off x="210900" y="3933055"/>
              <a:ext cx="2509852" cy="2663363"/>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latin typeface="MS PGothic (headings)"/>
              </a:endParaRPr>
            </a:p>
          </p:txBody>
        </p:sp>
        <p:sp>
          <p:nvSpPr>
            <p:cNvPr id="18" name="TextBox 17">
              <a:extLst>
                <a:ext uri="{FF2B5EF4-FFF2-40B4-BE49-F238E27FC236}">
                  <a16:creationId xmlns:a16="http://schemas.microsoft.com/office/drawing/2014/main" id="{4A85260E-FE8D-D67B-0A41-5955287652A6}"/>
                </a:ext>
              </a:extLst>
            </p:cNvPr>
            <p:cNvSpPr txBox="1"/>
            <p:nvPr/>
          </p:nvSpPr>
          <p:spPr>
            <a:xfrm>
              <a:off x="210900" y="3937819"/>
              <a:ext cx="2509852" cy="291260"/>
            </a:xfrm>
            <a:prstGeom prst="rect">
              <a:avLst/>
            </a:prstGeom>
            <a:noFill/>
          </p:spPr>
          <p:txBody>
            <a:bodyPr wrap="square" rtlCol="0">
              <a:spAutoFit/>
            </a:bodyPr>
            <a:lstStyle/>
            <a:p>
              <a:pPr algn="ctr">
                <a:lnSpc>
                  <a:spcPct val="120000"/>
                </a:lnSpc>
              </a:pPr>
              <a:r>
                <a:rPr kumimoji="1" lang="en-US" sz="1200" b="1" u="sng" noProof="1">
                  <a:latin typeface="MS PGothic (headings)"/>
                </a:rPr>
                <a:t>➀ 明示的な同意が必要な場合</a:t>
              </a:r>
            </a:p>
          </p:txBody>
        </p:sp>
        <p:sp>
          <p:nvSpPr>
            <p:cNvPr id="19" name="TextBox 18">
              <a:extLst>
                <a:ext uri="{FF2B5EF4-FFF2-40B4-BE49-F238E27FC236}">
                  <a16:creationId xmlns:a16="http://schemas.microsoft.com/office/drawing/2014/main" id="{61D42F33-5642-E817-C1A5-982A103BD1C5}"/>
                </a:ext>
              </a:extLst>
            </p:cNvPr>
            <p:cNvSpPr txBox="1"/>
            <p:nvPr/>
          </p:nvSpPr>
          <p:spPr>
            <a:xfrm>
              <a:off x="210900" y="4221087"/>
              <a:ext cx="2509852" cy="863637"/>
            </a:xfrm>
            <a:prstGeom prst="rect">
              <a:avLst/>
            </a:prstGeom>
            <a:noFill/>
          </p:spPr>
          <p:txBody>
            <a:bodyPr wrap="square" rtlCol="0">
              <a:spAutoFit/>
            </a:bodyPr>
            <a:lstStyle/>
            <a:p>
              <a:pPr marL="171450" indent="-171450">
                <a:lnSpc>
                  <a:spcPct val="120000"/>
                </a:lnSpc>
                <a:spcBef>
                  <a:spcPts val="200"/>
                </a:spcBef>
                <a:buFont typeface="Courier New" panose="02070309020205020404" pitchFamily="49" charset="0"/>
                <a:buChar char="o"/>
              </a:pPr>
              <a:r>
                <a:rPr kumimoji="1" lang="en-US" sz="1000" noProof="1">
                  <a:latin typeface="MS PGothic (headings)"/>
                </a:rPr>
                <a:t>取扱いにセンシティブなデータが含まれる場合</a:t>
              </a:r>
            </a:p>
            <a:p>
              <a:pPr marL="171450" indent="-171450">
                <a:lnSpc>
                  <a:spcPct val="120000"/>
                </a:lnSpc>
                <a:spcBef>
                  <a:spcPts val="200"/>
                </a:spcBef>
                <a:buFont typeface="Courier New" panose="02070309020205020404" pitchFamily="49" charset="0"/>
                <a:buChar char="o"/>
              </a:pPr>
              <a:r>
                <a:rPr kumimoji="1" lang="en-US" sz="1000" noProof="1">
                  <a:latin typeface="MS PGothic (headings)"/>
                </a:rPr>
                <a:t>取扱いにクレジットデータが含まれる場合</a:t>
              </a:r>
            </a:p>
            <a:p>
              <a:pPr marL="171450" indent="-171450">
                <a:lnSpc>
                  <a:spcPct val="120000"/>
                </a:lnSpc>
                <a:spcBef>
                  <a:spcPts val="200"/>
                </a:spcBef>
                <a:buFont typeface="Courier New" panose="02070309020205020404" pitchFamily="49" charset="0"/>
                <a:buChar char="o"/>
              </a:pPr>
              <a:r>
                <a:rPr kumimoji="1" lang="en-US" sz="1000" noProof="1">
                  <a:latin typeface="MS PGothic (headings)"/>
                </a:rPr>
                <a:t>個人データの自動処理のみに基づいて意思決定が行われる場合</a:t>
              </a:r>
            </a:p>
          </p:txBody>
        </p:sp>
      </p:grpSp>
      <p:grpSp>
        <p:nvGrpSpPr>
          <p:cNvPr id="20" name="Group 19">
            <a:extLst>
              <a:ext uri="{FF2B5EF4-FFF2-40B4-BE49-F238E27FC236}">
                <a16:creationId xmlns:a16="http://schemas.microsoft.com/office/drawing/2014/main" id="{2857D591-4BFE-3EAB-6B09-A3E4FF699437}"/>
              </a:ext>
            </a:extLst>
          </p:cNvPr>
          <p:cNvGrpSpPr/>
          <p:nvPr/>
        </p:nvGrpSpPr>
        <p:grpSpPr>
          <a:xfrm>
            <a:off x="5423875" y="2520616"/>
            <a:ext cx="4247944" cy="2645162"/>
            <a:chOff x="210900" y="3933055"/>
            <a:chExt cx="2509852" cy="3312886"/>
          </a:xfrm>
        </p:grpSpPr>
        <p:sp>
          <p:nvSpPr>
            <p:cNvPr id="22" name="Rectangle: Rounded Corners 21">
              <a:extLst>
                <a:ext uri="{FF2B5EF4-FFF2-40B4-BE49-F238E27FC236}">
                  <a16:creationId xmlns:a16="http://schemas.microsoft.com/office/drawing/2014/main" id="{AAF3CF0F-E634-7FCE-C0BA-BB25229075B9}"/>
                </a:ext>
              </a:extLst>
            </p:cNvPr>
            <p:cNvSpPr/>
            <p:nvPr/>
          </p:nvSpPr>
          <p:spPr>
            <a:xfrm>
              <a:off x="210900" y="3933055"/>
              <a:ext cx="2509852" cy="3312886"/>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latin typeface="MS PGothic (headings)"/>
              </a:endParaRPr>
            </a:p>
          </p:txBody>
        </p:sp>
        <p:sp>
          <p:nvSpPr>
            <p:cNvPr id="27" name="TextBox 26">
              <a:extLst>
                <a:ext uri="{FF2B5EF4-FFF2-40B4-BE49-F238E27FC236}">
                  <a16:creationId xmlns:a16="http://schemas.microsoft.com/office/drawing/2014/main" id="{DE353FD7-70E0-2CA1-9842-D2F9C4968715}"/>
                </a:ext>
              </a:extLst>
            </p:cNvPr>
            <p:cNvSpPr txBox="1"/>
            <p:nvPr/>
          </p:nvSpPr>
          <p:spPr>
            <a:xfrm>
              <a:off x="210900" y="3937818"/>
              <a:ext cx="2509852" cy="362291"/>
            </a:xfrm>
            <a:prstGeom prst="rect">
              <a:avLst/>
            </a:prstGeom>
            <a:noFill/>
          </p:spPr>
          <p:txBody>
            <a:bodyPr wrap="square" rtlCol="0">
              <a:spAutoFit/>
            </a:bodyPr>
            <a:lstStyle/>
            <a:p>
              <a:pPr algn="ctr">
                <a:lnSpc>
                  <a:spcPct val="120000"/>
                </a:lnSpc>
              </a:pPr>
              <a:r>
                <a:rPr kumimoji="1" lang="en-US" sz="1200" b="1" u="sng" noProof="1">
                  <a:latin typeface="MS PGothic (headings)"/>
                </a:rPr>
                <a:t>➁ 同意が不要な場合</a:t>
              </a:r>
            </a:p>
          </p:txBody>
        </p:sp>
        <p:sp>
          <p:nvSpPr>
            <p:cNvPr id="28" name="TextBox 27">
              <a:extLst>
                <a:ext uri="{FF2B5EF4-FFF2-40B4-BE49-F238E27FC236}">
                  <a16:creationId xmlns:a16="http://schemas.microsoft.com/office/drawing/2014/main" id="{D394C273-32AB-BA99-5DF3-4845A8106BC0}"/>
                </a:ext>
              </a:extLst>
            </p:cNvPr>
            <p:cNvSpPr txBox="1"/>
            <p:nvPr/>
          </p:nvSpPr>
          <p:spPr>
            <a:xfrm>
              <a:off x="210900" y="4221088"/>
              <a:ext cx="2509852" cy="2262785"/>
            </a:xfrm>
            <a:prstGeom prst="rect">
              <a:avLst/>
            </a:prstGeom>
            <a:noFill/>
          </p:spPr>
          <p:txBody>
            <a:bodyPr wrap="square" rtlCol="0">
              <a:spAutoFit/>
            </a:bodyPr>
            <a:lstStyle/>
            <a:p>
              <a:pPr marL="171450" indent="-171450">
                <a:lnSpc>
                  <a:spcPct val="120000"/>
                </a:lnSpc>
                <a:spcBef>
                  <a:spcPts val="200"/>
                </a:spcBef>
                <a:buFont typeface="Courier New" panose="02070309020205020404" pitchFamily="49" charset="0"/>
                <a:buChar char="o"/>
              </a:pPr>
              <a:r>
                <a:rPr kumimoji="1" lang="en-US" sz="1000" noProof="1">
                  <a:latin typeface="MS PGothic (headings)"/>
                </a:rPr>
                <a:t>取扱いがデータ主体の実際の利益に資するが、データ主体と連絡を取ることが不可能または困難である場合。</a:t>
              </a:r>
            </a:p>
            <a:p>
              <a:pPr marL="171450" indent="-171450">
                <a:lnSpc>
                  <a:spcPct val="120000"/>
                </a:lnSpc>
                <a:spcBef>
                  <a:spcPts val="200"/>
                </a:spcBef>
                <a:buFont typeface="Courier New" panose="02070309020205020404" pitchFamily="49" charset="0"/>
                <a:buChar char="o"/>
              </a:pPr>
              <a:r>
                <a:rPr lang="en-US" sz="1000" noProof="1">
                  <a:latin typeface="MS PGothic (headings)"/>
                </a:rPr>
                <a:t>取扱いが別の法律に準拠している場合、またはデータ主体が当事者である以前の契約の実施において行われる場合。</a:t>
              </a:r>
            </a:p>
            <a:p>
              <a:pPr marL="171450" indent="-171450">
                <a:lnSpc>
                  <a:spcPct val="120000"/>
                </a:lnSpc>
                <a:spcBef>
                  <a:spcPts val="200"/>
                </a:spcBef>
                <a:buFont typeface="Courier New" panose="02070309020205020404" pitchFamily="49" charset="0"/>
                <a:buChar char="o"/>
              </a:pPr>
              <a:r>
                <a:rPr lang="en-US" sz="1000" noProof="1">
                  <a:latin typeface="MS PGothic (headings)"/>
                </a:rPr>
                <a:t>管理者が公的機関であり、セキュリティ目的または司法上の要件を満たすために取扱いが必要な場合。</a:t>
              </a:r>
            </a:p>
            <a:p>
              <a:pPr marL="171450" indent="-171450">
                <a:lnSpc>
                  <a:spcPct val="120000"/>
                </a:lnSpc>
                <a:spcBef>
                  <a:spcPts val="200"/>
                </a:spcBef>
                <a:buFont typeface="Courier New" panose="02070309020205020404" pitchFamily="49" charset="0"/>
                <a:buChar char="o"/>
              </a:pPr>
              <a:r>
                <a:rPr lang="en-US" sz="1000" noProof="1">
                  <a:latin typeface="MS PGothic (headings)"/>
                </a:rPr>
                <a:t>データ主体の権利が侵害されない限り、管理者または第三者の正当な利益を保護するために取扱いが必要な場合。</a:t>
              </a:r>
              <a:r>
                <a:rPr lang="en-US" sz="1000" dirty="0">
                  <a:latin typeface="MS PGothic (headings)"/>
                </a:rPr>
                <a:t> </a:t>
              </a:r>
              <a:r>
                <a:rPr lang="en-US" sz="1000" noProof="1">
                  <a:latin typeface="MS PGothic (headings)"/>
                </a:rPr>
                <a:t>(機密データが取扱われない場合)</a:t>
              </a:r>
            </a:p>
          </p:txBody>
        </p:sp>
      </p:grpSp>
      <p:grpSp>
        <p:nvGrpSpPr>
          <p:cNvPr id="29" name="Group 28">
            <a:extLst>
              <a:ext uri="{FF2B5EF4-FFF2-40B4-BE49-F238E27FC236}">
                <a16:creationId xmlns:a16="http://schemas.microsoft.com/office/drawing/2014/main" id="{B368AE02-EDDD-B389-5368-1404C26EC697}"/>
              </a:ext>
            </a:extLst>
          </p:cNvPr>
          <p:cNvGrpSpPr/>
          <p:nvPr/>
        </p:nvGrpSpPr>
        <p:grpSpPr>
          <a:xfrm>
            <a:off x="210900" y="5689048"/>
            <a:ext cx="9460919" cy="602517"/>
            <a:chOff x="210900" y="5987169"/>
            <a:chExt cx="9460919" cy="652033"/>
          </a:xfrm>
        </p:grpSpPr>
        <p:sp>
          <p:nvSpPr>
            <p:cNvPr id="30" name="Rounded Rectangle 20">
              <a:extLst>
                <a:ext uri="{FF2B5EF4-FFF2-40B4-BE49-F238E27FC236}">
                  <a16:creationId xmlns:a16="http://schemas.microsoft.com/office/drawing/2014/main" id="{5B8EE4F2-DE71-4E3B-C9AF-A8FF746F5C9A}"/>
                </a:ext>
              </a:extLst>
            </p:cNvPr>
            <p:cNvSpPr/>
            <p:nvPr/>
          </p:nvSpPr>
          <p:spPr>
            <a:xfrm>
              <a:off x="1182103" y="6068380"/>
              <a:ext cx="8393990" cy="473675"/>
            </a:xfrm>
            <a:prstGeom prst="round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algn="just" defTabSz="914400" rtl="0" eaLnBrk="1" fontAlgn="base" latinLnBrk="0" hangingPunct="1">
                <a:lnSpc>
                  <a:spcPct val="110000"/>
                </a:lnSpc>
                <a:spcBef>
                  <a:spcPts val="300"/>
                </a:spcBef>
                <a:spcAft>
                  <a:spcPts val="0"/>
                </a:spcAft>
                <a:buClr>
                  <a:srgbClr val="000F78"/>
                </a:buClr>
                <a:buSzTx/>
                <a:tabLst/>
                <a:defRPr/>
              </a:pPr>
              <a:r>
                <a:rPr kumimoji="1" lang="en-US" sz="1000" b="1" i="0" u="none" strike="noStrike" kern="1200" cap="none" spc="0" normalizeH="0" baseline="0" noProof="1">
                  <a:ln>
                    <a:noFill/>
                  </a:ln>
                  <a:solidFill>
                    <a:schemeClr val="tx1"/>
                  </a:solidFill>
                  <a:effectLst/>
                  <a:uLnTx/>
                  <a:uFillTx/>
                  <a:latin typeface="MS PGothic (headings)"/>
                  <a:ea typeface="Yu Gothic UI" panose="020B0500000000000000" pitchFamily="34" charset="-128"/>
                </a:rPr>
                <a:t>データ主体は、個人データの取扱いに対する同意をいつでも撤回することができ、同意は、管理者がサービスまたは利益を提供するための前提条件であってはならない。</a:t>
              </a:r>
            </a:p>
          </p:txBody>
        </p:sp>
        <p:sp>
          <p:nvSpPr>
            <p:cNvPr id="35" name="角丸四角形 56">
              <a:extLst>
                <a:ext uri="{FF2B5EF4-FFF2-40B4-BE49-F238E27FC236}">
                  <a16:creationId xmlns:a16="http://schemas.microsoft.com/office/drawing/2014/main" id="{36D0A511-5581-10EB-31BE-C5BA084347DB}"/>
                </a:ext>
              </a:extLst>
            </p:cNvPr>
            <p:cNvSpPr/>
            <p:nvPr/>
          </p:nvSpPr>
          <p:spPr>
            <a:xfrm>
              <a:off x="210900" y="5987169"/>
              <a:ext cx="9460919" cy="652033"/>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cs typeface="Arial" panose="020B0604020202020204" pitchFamily="34" charset="0"/>
              </a:endParaRPr>
            </a:p>
          </p:txBody>
        </p:sp>
        <p:grpSp>
          <p:nvGrpSpPr>
            <p:cNvPr id="36" name="Group 35">
              <a:extLst>
                <a:ext uri="{FF2B5EF4-FFF2-40B4-BE49-F238E27FC236}">
                  <a16:creationId xmlns:a16="http://schemas.microsoft.com/office/drawing/2014/main" id="{E0A26EB6-4BD7-5CB6-0BBB-9789D16C4A69}"/>
                </a:ext>
              </a:extLst>
            </p:cNvPr>
            <p:cNvGrpSpPr>
              <a:grpSpLocks noChangeAspect="1"/>
            </p:cNvGrpSpPr>
            <p:nvPr/>
          </p:nvGrpSpPr>
          <p:grpSpPr>
            <a:xfrm>
              <a:off x="292243" y="6125044"/>
              <a:ext cx="794733" cy="365760"/>
              <a:chOff x="254466" y="5928708"/>
              <a:chExt cx="695965" cy="298807"/>
            </a:xfrm>
          </p:grpSpPr>
          <p:sp>
            <p:nvSpPr>
              <p:cNvPr id="37" name="AutoShape 208">
                <a:extLst>
                  <a:ext uri="{FF2B5EF4-FFF2-40B4-BE49-F238E27FC236}">
                    <a16:creationId xmlns:a16="http://schemas.microsoft.com/office/drawing/2014/main" id="{F76A2B8C-E8ED-E186-D1A4-EAA3F3E0C0ED}"/>
                  </a:ext>
                </a:extLst>
              </p:cNvPr>
              <p:cNvSpPr>
                <a:spLocks noChangeArrowheads="1"/>
              </p:cNvSpPr>
              <p:nvPr/>
            </p:nvSpPr>
            <p:spPr bwMode="auto">
              <a:xfrm>
                <a:off x="254466" y="5997890"/>
                <a:ext cx="40843" cy="206074"/>
              </a:xfrm>
              <a:prstGeom prst="roundRect">
                <a:avLst>
                  <a:gd name="adj" fmla="val 0"/>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38" name="Freeform 209">
                <a:extLst>
                  <a:ext uri="{FF2B5EF4-FFF2-40B4-BE49-F238E27FC236}">
                    <a16:creationId xmlns:a16="http://schemas.microsoft.com/office/drawing/2014/main" id="{D9E1690F-3617-4648-FF04-83E60DA6C012}"/>
                  </a:ext>
                </a:extLst>
              </p:cNvPr>
              <p:cNvSpPr>
                <a:spLocks/>
              </p:cNvSpPr>
              <p:nvPr/>
            </p:nvSpPr>
            <p:spPr bwMode="auto">
              <a:xfrm>
                <a:off x="337793" y="5928708"/>
                <a:ext cx="612638" cy="288503"/>
              </a:xfrm>
              <a:custGeom>
                <a:avLst/>
                <a:gdLst>
                  <a:gd name="T0" fmla="*/ 0 w 353"/>
                  <a:gd name="T1" fmla="*/ 48 h 201"/>
                  <a:gd name="T2" fmla="*/ 0 w 353"/>
                  <a:gd name="T3" fmla="*/ 176 h 201"/>
                  <a:gd name="T4" fmla="*/ 56 w 353"/>
                  <a:gd name="T5" fmla="*/ 200 h 201"/>
                  <a:gd name="T6" fmla="*/ 216 w 353"/>
                  <a:gd name="T7" fmla="*/ 200 h 201"/>
                  <a:gd name="T8" fmla="*/ 216 w 353"/>
                  <a:gd name="T9" fmla="*/ 72 h 201"/>
                  <a:gd name="T10" fmla="*/ 208 w 353"/>
                  <a:gd name="T11" fmla="*/ 56 h 201"/>
                  <a:gd name="T12" fmla="*/ 344 w 353"/>
                  <a:gd name="T13" fmla="*/ 56 h 201"/>
                  <a:gd name="T14" fmla="*/ 352 w 353"/>
                  <a:gd name="T15" fmla="*/ 48 h 201"/>
                  <a:gd name="T16" fmla="*/ 352 w 353"/>
                  <a:gd name="T17" fmla="*/ 24 h 201"/>
                  <a:gd name="T18" fmla="*/ 344 w 353"/>
                  <a:gd name="T19" fmla="*/ 16 h 201"/>
                  <a:gd name="T20" fmla="*/ 104 w 353"/>
                  <a:gd name="T21" fmla="*/ 0 h 201"/>
                  <a:gd name="T22" fmla="*/ 16 w 353"/>
                  <a:gd name="T23" fmla="*/ 40 h 201"/>
                  <a:gd name="T24" fmla="*/ 0 w 353"/>
                  <a:gd name="T25" fmla="*/ 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39" name="Freeform 210">
                <a:extLst>
                  <a:ext uri="{FF2B5EF4-FFF2-40B4-BE49-F238E27FC236}">
                    <a16:creationId xmlns:a16="http://schemas.microsoft.com/office/drawing/2014/main" id="{A74EC9DA-B84A-9145-C3B7-47AA7255E25C}"/>
                  </a:ext>
                </a:extLst>
              </p:cNvPr>
              <p:cNvSpPr>
                <a:spLocks/>
              </p:cNvSpPr>
              <p:nvPr/>
            </p:nvSpPr>
            <p:spPr bwMode="auto">
              <a:xfrm>
                <a:off x="587742" y="6123006"/>
                <a:ext cx="181341" cy="48575"/>
              </a:xfrm>
              <a:custGeom>
                <a:avLst/>
                <a:gdLst>
                  <a:gd name="T0" fmla="*/ 24 w 105"/>
                  <a:gd name="T1" fmla="*/ 0 h 33"/>
                  <a:gd name="T2" fmla="*/ 96 w 105"/>
                  <a:gd name="T3" fmla="*/ 0 h 33"/>
                  <a:gd name="T4" fmla="*/ 104 w 105"/>
                  <a:gd name="T5" fmla="*/ 8 h 33"/>
                  <a:gd name="T6" fmla="*/ 104 w 105"/>
                  <a:gd name="T7" fmla="*/ 24 h 33"/>
                  <a:gd name="T8" fmla="*/ 96 w 105"/>
                  <a:gd name="T9" fmla="*/ 32 h 33"/>
                  <a:gd name="T10" fmla="*/ 80 w 105"/>
                  <a:gd name="T11" fmla="*/ 32 h 33"/>
                  <a:gd name="T12" fmla="*/ 0 w 105"/>
                  <a:gd name="T13" fmla="*/ 32 h 33"/>
                  <a:gd name="T14" fmla="*/ 0 w 105"/>
                  <a:gd name="T15" fmla="*/ 24 h 33"/>
                  <a:gd name="T16" fmla="*/ 0 w 105"/>
                  <a:gd name="T17" fmla="*/ 8 h 33"/>
                  <a:gd name="T18" fmla="*/ 0 w 105"/>
                  <a:gd name="T19" fmla="*/ 0 h 33"/>
                  <a:gd name="T20" fmla="*/ 24 w 105"/>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40" name="Freeform 211">
                <a:extLst>
                  <a:ext uri="{FF2B5EF4-FFF2-40B4-BE49-F238E27FC236}">
                    <a16:creationId xmlns:a16="http://schemas.microsoft.com/office/drawing/2014/main" id="{C915E9FC-3CD2-DD7F-FC10-D70E2F8AEE6B}"/>
                  </a:ext>
                </a:extLst>
              </p:cNvPr>
              <p:cNvSpPr>
                <a:spLocks/>
              </p:cNvSpPr>
              <p:nvPr/>
            </p:nvSpPr>
            <p:spPr bwMode="auto">
              <a:xfrm>
                <a:off x="587742" y="6170109"/>
                <a:ext cx="153568" cy="57406"/>
              </a:xfrm>
              <a:custGeom>
                <a:avLst/>
                <a:gdLst>
                  <a:gd name="T0" fmla="*/ 80 w 89"/>
                  <a:gd name="T1" fmla="*/ 0 h 41"/>
                  <a:gd name="T2" fmla="*/ 8 w 89"/>
                  <a:gd name="T3" fmla="*/ 0 h 41"/>
                  <a:gd name="T4" fmla="*/ 0 w 89"/>
                  <a:gd name="T5" fmla="*/ 16 h 41"/>
                  <a:gd name="T6" fmla="*/ 0 w 89"/>
                  <a:gd name="T7" fmla="*/ 32 h 41"/>
                  <a:gd name="T8" fmla="*/ 16 w 89"/>
                  <a:gd name="T9" fmla="*/ 40 h 41"/>
                  <a:gd name="T10" fmla="*/ 80 w 89"/>
                  <a:gd name="T11" fmla="*/ 40 h 41"/>
                  <a:gd name="T12" fmla="*/ 88 w 89"/>
                  <a:gd name="T13" fmla="*/ 32 h 41"/>
                  <a:gd name="T14" fmla="*/ 88 w 89"/>
                  <a:gd name="T15" fmla="*/ 16 h 41"/>
                  <a:gd name="T16" fmla="*/ 80 w 89"/>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41" name="Freeform 212">
                <a:extLst>
                  <a:ext uri="{FF2B5EF4-FFF2-40B4-BE49-F238E27FC236}">
                    <a16:creationId xmlns:a16="http://schemas.microsoft.com/office/drawing/2014/main" id="{06B6DA98-E36F-6131-2870-61F884CC2B6E}"/>
                  </a:ext>
                </a:extLst>
              </p:cNvPr>
              <p:cNvSpPr>
                <a:spLocks/>
              </p:cNvSpPr>
              <p:nvPr/>
            </p:nvSpPr>
            <p:spPr bwMode="auto">
              <a:xfrm>
                <a:off x="587742" y="6055296"/>
                <a:ext cx="196045" cy="69182"/>
              </a:xfrm>
              <a:custGeom>
                <a:avLst/>
                <a:gdLst>
                  <a:gd name="T0" fmla="*/ 0 w 113"/>
                  <a:gd name="T1" fmla="*/ 0 h 49"/>
                  <a:gd name="T2" fmla="*/ 96 w 113"/>
                  <a:gd name="T3" fmla="*/ 0 h 49"/>
                  <a:gd name="T4" fmla="*/ 112 w 113"/>
                  <a:gd name="T5" fmla="*/ 8 h 49"/>
                  <a:gd name="T6" fmla="*/ 112 w 113"/>
                  <a:gd name="T7" fmla="*/ 32 h 49"/>
                  <a:gd name="T8" fmla="*/ 96 w 113"/>
                  <a:gd name="T9" fmla="*/ 48 h 49"/>
                  <a:gd name="T10" fmla="*/ 0 w 113"/>
                  <a:gd name="T11" fmla="*/ 48 h 49"/>
                  <a:gd name="T12" fmla="*/ 0 w 113"/>
                  <a:gd name="T13" fmla="*/ 32 h 49"/>
                  <a:gd name="T14" fmla="*/ 0 w 113"/>
                  <a:gd name="T15" fmla="*/ 8 h 49"/>
                  <a:gd name="T16" fmla="*/ 0 w 113"/>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42" name="Freeform 213">
                <a:extLst>
                  <a:ext uri="{FF2B5EF4-FFF2-40B4-BE49-F238E27FC236}">
                    <a16:creationId xmlns:a16="http://schemas.microsoft.com/office/drawing/2014/main" id="{72DCBA95-D5E3-3390-D3F5-614984D51804}"/>
                  </a:ext>
                </a:extLst>
              </p:cNvPr>
              <p:cNvSpPr>
                <a:spLocks/>
              </p:cNvSpPr>
              <p:nvPr/>
            </p:nvSpPr>
            <p:spPr bwMode="auto">
              <a:xfrm>
                <a:off x="287449" y="5928708"/>
                <a:ext cx="418229" cy="173691"/>
              </a:xfrm>
              <a:custGeom>
                <a:avLst/>
                <a:gdLst>
                  <a:gd name="T0" fmla="*/ 96 w 241"/>
                  <a:gd name="T1" fmla="*/ 0 h 121"/>
                  <a:gd name="T2" fmla="*/ 160 w 241"/>
                  <a:gd name="T3" fmla="*/ 0 h 121"/>
                  <a:gd name="T4" fmla="*/ 240 w 241"/>
                  <a:gd name="T5" fmla="*/ 56 h 121"/>
                  <a:gd name="T6" fmla="*/ 224 w 241"/>
                  <a:gd name="T7" fmla="*/ 88 h 121"/>
                  <a:gd name="T8" fmla="*/ 200 w 241"/>
                  <a:gd name="T9" fmla="*/ 88 h 121"/>
                  <a:gd name="T10" fmla="*/ 176 w 241"/>
                  <a:gd name="T11" fmla="*/ 88 h 121"/>
                  <a:gd name="T12" fmla="*/ 160 w 241"/>
                  <a:gd name="T13" fmla="*/ 72 h 121"/>
                  <a:gd name="T14" fmla="*/ 152 w 241"/>
                  <a:gd name="T15" fmla="*/ 64 h 121"/>
                  <a:gd name="T16" fmla="*/ 120 w 241"/>
                  <a:gd name="T17" fmla="*/ 64 h 121"/>
                  <a:gd name="T18" fmla="*/ 104 w 241"/>
                  <a:gd name="T19" fmla="*/ 96 h 121"/>
                  <a:gd name="T20" fmla="*/ 64 w 241"/>
                  <a:gd name="T21" fmla="*/ 120 h 121"/>
                  <a:gd name="T22" fmla="*/ 0 w 241"/>
                  <a:gd name="T23" fmla="*/ 120 h 121"/>
                  <a:gd name="T24" fmla="*/ 0 w 241"/>
                  <a:gd name="T25" fmla="*/ 48 h 121"/>
                  <a:gd name="T26" fmla="*/ 96 w 241"/>
                  <a:gd name="T2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grpSp>
      </p:grpSp>
      <p:sp>
        <p:nvSpPr>
          <p:cNvPr id="43" name="TextBox 42">
            <a:extLst>
              <a:ext uri="{FF2B5EF4-FFF2-40B4-BE49-F238E27FC236}">
                <a16:creationId xmlns:a16="http://schemas.microsoft.com/office/drawing/2014/main" id="{1B279CDE-AD10-345E-FC8C-C5A0EAEEC9B8}"/>
              </a:ext>
            </a:extLst>
          </p:cNvPr>
          <p:cNvSpPr txBox="1"/>
          <p:nvPr/>
        </p:nvSpPr>
        <p:spPr>
          <a:xfrm>
            <a:off x="225240" y="6379889"/>
            <a:ext cx="9469859" cy="226409"/>
          </a:xfrm>
          <a:prstGeom prst="rect">
            <a:avLst/>
          </a:prstGeom>
          <a:noFill/>
        </p:spPr>
        <p:txBody>
          <a:bodyPr wrap="square" rtlCol="0">
            <a:spAutoFit/>
          </a:bodyPr>
          <a:lstStyle/>
          <a:p>
            <a:pPr algn="l">
              <a:lnSpc>
                <a:spcPct val="120000"/>
              </a:lnSpc>
            </a:pPr>
            <a:r>
              <a:rPr kumimoji="1" lang="ja-JP" altLang="en-US" sz="800" noProof="1">
                <a:latin typeface="MS PGothic (headings)"/>
              </a:rPr>
              <a:t>注記</a:t>
            </a:r>
            <a:r>
              <a:rPr kumimoji="1" lang="en-US" sz="800" noProof="1">
                <a:latin typeface="MS PGothic (headings)"/>
              </a:rPr>
              <a:t>:実際の利益とは、個人データの取扱いの目的に直接関連するデータ主体の道徳的または物質的利益を指し、その利益を達成するために取扱いが必要である。</a:t>
            </a:r>
          </a:p>
        </p:txBody>
      </p:sp>
    </p:spTree>
    <p:extLst>
      <p:ext uri="{BB962C8B-B14F-4D97-AF65-F5344CB8AC3E}">
        <p14:creationId xmlns:p14="http://schemas.microsoft.com/office/powerpoint/2010/main" val="622360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pic>
        <p:nvPicPr>
          <p:cNvPr id="38936"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5"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34"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3"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2"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296070"/>
            <a:ext cx="346669" cy="142875"/>
          </a:xfrm>
          <a:prstGeom prst="rect">
            <a:avLst/>
          </a:prstGeom>
          <a:noFill/>
          <a:extLst>
            <a:ext uri="{909E8E84-426E-40DD-AFC4-6F175D3DCCD1}">
              <a14:hiddenFill xmlns:a14="http://schemas.microsoft.com/office/drawing/2010/main">
                <a:solidFill>
                  <a:srgbClr val="FFFFFF"/>
                </a:solidFill>
              </a14:hiddenFill>
            </a:ext>
          </a:extLst>
        </p:spPr>
      </p:pic>
      <p:pic>
        <p:nvPicPr>
          <p:cNvPr id="38931"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0"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9"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8"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7"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6"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5"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296070"/>
            <a:ext cx="346669"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p:cNvGraphicFramePr>
            <a:graphicFrameLocks noGrp="1"/>
          </p:cNvGraphicFramePr>
          <p:nvPr>
            <p:extLst>
              <p:ext uri="{D42A27DB-BD31-4B8C-83A1-F6EECF244321}">
                <p14:modId xmlns:p14="http://schemas.microsoft.com/office/powerpoint/2010/main" val="4128172408"/>
              </p:ext>
            </p:extLst>
          </p:nvPr>
        </p:nvGraphicFramePr>
        <p:xfrm>
          <a:off x="1136651" y="1268760"/>
          <a:ext cx="7632700" cy="4638853"/>
        </p:xfrm>
        <a:graphic>
          <a:graphicData uri="http://schemas.openxmlformats.org/drawingml/2006/table">
            <a:tbl>
              <a:tblPr>
                <a:tableStyleId>{5C22544A-7EE6-4342-B048-85BDC9FD1C3A}</a:tableStyleId>
              </a:tblPr>
              <a:tblGrid>
                <a:gridCol w="1561549">
                  <a:extLst>
                    <a:ext uri="{9D8B030D-6E8A-4147-A177-3AD203B41FA5}">
                      <a16:colId xmlns:a16="http://schemas.microsoft.com/office/drawing/2014/main" val="20000"/>
                    </a:ext>
                  </a:extLst>
                </a:gridCol>
                <a:gridCol w="1723714">
                  <a:extLst>
                    <a:ext uri="{9D8B030D-6E8A-4147-A177-3AD203B41FA5}">
                      <a16:colId xmlns:a16="http://schemas.microsoft.com/office/drawing/2014/main" val="20001"/>
                    </a:ext>
                  </a:extLst>
                </a:gridCol>
                <a:gridCol w="1908175">
                  <a:extLst>
                    <a:ext uri="{9D8B030D-6E8A-4147-A177-3AD203B41FA5}">
                      <a16:colId xmlns:a16="http://schemas.microsoft.com/office/drawing/2014/main" val="20002"/>
                    </a:ext>
                  </a:extLst>
                </a:gridCol>
                <a:gridCol w="2439262">
                  <a:extLst>
                    <a:ext uri="{9D8B030D-6E8A-4147-A177-3AD203B41FA5}">
                      <a16:colId xmlns:a16="http://schemas.microsoft.com/office/drawing/2014/main" val="20003"/>
                    </a:ext>
                  </a:extLst>
                </a:gridCol>
              </a:tblGrid>
              <a:tr h="639117">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目</a:t>
                      </a:r>
                      <a:r>
                        <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質</a:t>
                      </a:r>
                      <a:r>
                        <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成長率（</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一人当たり名目</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137991">
                <a:tc>
                  <a:txBody>
                    <a:bodyPr/>
                    <a:lstStyle/>
                    <a:p>
                      <a:pPr algn="l" fontAlgn="b">
                        <a:buNone/>
                      </a:pPr>
                      <a:r>
                        <a:rPr lang="ja-JP" altLang="en-US" sz="1100" b="0" i="0" u="none" strike="noStrike" dirty="0">
                          <a:solidFill>
                            <a:srgbClr val="000000"/>
                          </a:solidFill>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30615.74</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2.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89598.86</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中華人民共和国</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19398.58</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80</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3806.0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37991">
                <a:tc>
                  <a:txBody>
                    <a:bodyPr/>
                    <a:lstStyle/>
                    <a:p>
                      <a:pPr algn="l" fontAlgn="b">
                        <a:buNone/>
                      </a:pPr>
                      <a:r>
                        <a:rPr lang="ja-JP" altLang="en-US" sz="1100" b="0" i="0" u="none" strike="noStrike" dirty="0">
                          <a:solidFill>
                            <a:srgbClr val="000000"/>
                          </a:solidFill>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5013.57</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19</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59925.3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61457">
                <a:tc>
                  <a:txBody>
                    <a:bodyPr/>
                    <a:lstStyle/>
                    <a:p>
                      <a:pPr algn="l" fontAlgn="b">
                        <a:buNone/>
                      </a:pPr>
                      <a:r>
                        <a:rPr lang="ja-JP" altLang="en-US" sz="1100" b="0" i="0" u="none" strike="noStrike">
                          <a:solidFill>
                            <a:srgbClr val="000000"/>
                          </a:solidFill>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4279.83</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1.08</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34713.2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4125.21</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6.65</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2818.0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61457">
                <a:tc>
                  <a:txBody>
                    <a:bodyPr/>
                    <a:lstStyle/>
                    <a:p>
                      <a:pPr algn="l" fontAlgn="b">
                        <a:buNone/>
                      </a:pPr>
                      <a:r>
                        <a:rPr lang="ja-JP" altLang="en-US" sz="1100" b="0" i="0" u="none" strike="noStrike" dirty="0">
                          <a:solidFill>
                            <a:srgbClr val="000000"/>
                          </a:solidFill>
                          <a:effectLst/>
                          <a:latin typeface="Aptos Narrow" panose="020B0004020202020204" pitchFamily="34" charset="0"/>
                        </a:rPr>
                        <a:t>イギリ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3958.78</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1.31</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56660.8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3361.56</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67</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8981.9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543.68</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55</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3161.2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540.6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6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7445.7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283.6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54934.8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256.9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2.4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0577.8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862.7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9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3966.9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61457">
                <a:tc>
                  <a:txBody>
                    <a:bodyPr/>
                    <a:lstStyle/>
                    <a:p>
                      <a:pPr algn="l" fontAlgn="b">
                        <a:buNone/>
                      </a:pPr>
                      <a:r>
                        <a:rPr lang="ja-JP" altLang="en-US" sz="1100" b="0" i="0" u="none" strike="noStrike">
                          <a:solidFill>
                            <a:srgbClr val="000000"/>
                          </a:solidFill>
                          <a:effectLst/>
                          <a:latin typeface="Aptos Narrow" panose="020B0004020202020204" pitchFamily="34" charset="0"/>
                        </a:rPr>
                        <a:t>大韓民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858.5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9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35962.3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61457">
                <a:tc>
                  <a:txBody>
                    <a:bodyPr/>
                    <a:lstStyle/>
                    <a:p>
                      <a:pPr algn="l" fontAlgn="b">
                        <a:buNone/>
                      </a:pPr>
                      <a:r>
                        <a:rPr lang="ja-JP" altLang="en-US" sz="1100" b="0" i="0" u="none" strike="noStrike">
                          <a:solidFill>
                            <a:srgbClr val="000000"/>
                          </a:solidFill>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829.5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8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65946.0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トルコ共和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565.4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3.4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8197.5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55647">
                <a:tc>
                  <a:txBody>
                    <a:bodyPr/>
                    <a:lstStyle/>
                    <a:p>
                      <a:pPr algn="l" fontAlgn="b">
                        <a:buNone/>
                      </a:pPr>
                      <a:r>
                        <a:rPr lang="ja-JP" altLang="en-US" sz="1100" b="0" i="0" u="none" strike="noStrike" dirty="0">
                          <a:solidFill>
                            <a:srgbClr val="000000"/>
                          </a:solidFill>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443.2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8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5074.0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61457">
                <a:tc>
                  <a:txBody>
                    <a:bodyPr/>
                    <a:lstStyle/>
                    <a:p>
                      <a:pPr algn="l" fontAlgn="b">
                        <a:buNone/>
                      </a:pPr>
                      <a:r>
                        <a:rPr lang="ja-JP" altLang="en-US" sz="1100" b="0" i="0" u="none" strike="noStrike">
                          <a:solidFill>
                            <a:srgbClr val="000000"/>
                          </a:solidFill>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268.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35230.9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61457">
                <a:tc>
                  <a:txBody>
                    <a:bodyPr/>
                    <a:lstStyle/>
                    <a:p>
                      <a:pPr algn="l" fontAlgn="b">
                        <a:buNone/>
                      </a:pPr>
                      <a:r>
                        <a:rPr lang="ja-JP" altLang="en-US" sz="1100" b="0" i="0" u="none" strike="noStrike" dirty="0">
                          <a:solidFill>
                            <a:srgbClr val="000000"/>
                          </a:solidFill>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683.3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4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14358.8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61457">
                <a:tc>
                  <a:txBody>
                    <a:bodyPr/>
                    <a:lstStyle/>
                    <a:p>
                      <a:pPr algn="l" fontAlgn="b">
                        <a:buNone/>
                      </a:pPr>
                      <a:r>
                        <a:rPr lang="ja-JP" altLang="en-US" sz="1100" b="0" i="0" u="none" strike="noStrike" dirty="0">
                          <a:solidFill>
                            <a:srgbClr val="000000"/>
                          </a:solidFill>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426.3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a:solidFill>
                            <a:srgbClr val="000000"/>
                          </a:solidFill>
                          <a:effectLst/>
                          <a:latin typeface="Aptos Narrow" panose="020B0004020202020204" pitchFamily="34" charset="0"/>
                        </a:rPr>
                        <a:t>1.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6666.7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pic>
        <p:nvPicPr>
          <p:cNvPr id="40985"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4"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83"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2"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1"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5325" y="90963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0980"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9"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8"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7"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6"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5"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4"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65325" y="909638"/>
            <a:ext cx="238125" cy="133350"/>
          </a:xfrm>
          <a:prstGeom prst="rect">
            <a:avLst/>
          </a:prstGeom>
          <a:noFill/>
          <a:extLst>
            <a:ext uri="{909E8E84-426E-40DD-AFC4-6F175D3DCCD1}">
              <a14:hiddenFill xmlns:a14="http://schemas.microsoft.com/office/drawing/2010/main">
                <a:solidFill>
                  <a:srgbClr val="FFFFFF"/>
                </a:solidFill>
              </a14:hiddenFill>
            </a:ext>
          </a:extLst>
        </p:spPr>
      </p:pic>
      <p:sp>
        <p:nvSpPr>
          <p:cNvPr id="32" name="テキスト ボックス 31"/>
          <p:cNvSpPr txBox="1"/>
          <p:nvPr/>
        </p:nvSpPr>
        <p:spPr>
          <a:xfrm>
            <a:off x="1136651" y="6105584"/>
            <a:ext cx="828092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名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質</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一人当たり名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33" name="テキスト ボックス 32"/>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国際通貨基金</a:t>
            </a:r>
            <a:r>
              <a:rPr lang="en-US" altLang="ja-JP" sz="800" dirty="0">
                <a:solidFill>
                  <a:srgbClr val="000000"/>
                </a:solidFill>
                <a:cs typeface="Arial" panose="020B0604020202020204" pitchFamily="34" charset="0"/>
              </a:rPr>
              <a:t>(IMF)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Economic Outlook Database</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Tree>
    <p:extLst>
      <p:ext uri="{BB962C8B-B14F-4D97-AF65-F5344CB8AC3E}">
        <p14:creationId xmlns:p14="http://schemas.microsoft.com/office/powerpoint/2010/main" val="15381568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17F648-C7D5-8749-F65A-6D86A435677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B0AF4F-0560-DFAB-5408-DD2F79DAFC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C4B0AF4F-0560-DFAB-5408-DD2F79DAF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E49463-7B54-213A-9B86-890F514E30D7}"/>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945F4D7E-ED2C-DF95-AA74-FC39816D69DC}"/>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A7881080-E950-D741-9A0E-2171ABDF2506}"/>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09751D3F-5C7B-1486-33E0-29D3E6D0CDC5}"/>
              </a:ext>
            </a:extLst>
          </p:cNvPr>
          <p:cNvSpPr txBox="1"/>
          <p:nvPr/>
        </p:nvSpPr>
        <p:spPr>
          <a:xfrm>
            <a:off x="200471" y="1146518"/>
            <a:ext cx="9505056" cy="144430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サウジアラビアデータ・人工知能局 (SDAIA) は、PDPLに対して施行規則を発行し、個人データ保護法の実施に関する詳細な規定を定めてい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施行規則は、健康データの取扱いに関してデータ管理者が満たすべき要件を定めている。これによると、管理者は、不正使用、誤用、違反、または意図された目的を超えた使用を防止し、健康データ所有者のプライバシーを確保するために、適切な組織的、技術的、および管理的措置を講じなければならない。</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れには、次の管理および手順に従う必要があると規定されている。</a:t>
            </a:r>
          </a:p>
        </p:txBody>
      </p:sp>
      <p:sp>
        <p:nvSpPr>
          <p:cNvPr id="21" name="テキスト ボックス 14">
            <a:extLst>
              <a:ext uri="{FF2B5EF4-FFF2-40B4-BE49-F238E27FC236}">
                <a16:creationId xmlns:a16="http://schemas.microsoft.com/office/drawing/2014/main" id="{12CA73E4-DE37-6484-11D3-A2D24D48F317}"/>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アラビアデータおよびAI当局の法律および規則 (SDAI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762AD460-8485-7D08-EF10-2B2685C3B289}"/>
              </a:ext>
            </a:extLst>
          </p:cNvPr>
          <p:cNvGraphicFramePr>
            <a:graphicFrameLocks noGrp="1"/>
          </p:cNvGraphicFramePr>
          <p:nvPr>
            <p:extLst>
              <p:ext uri="{D42A27DB-BD31-4B8C-83A1-F6EECF244321}">
                <p14:modId xmlns:p14="http://schemas.microsoft.com/office/powerpoint/2010/main" val="2035735277"/>
              </p:ext>
            </p:extLst>
          </p:nvPr>
        </p:nvGraphicFramePr>
        <p:xfrm>
          <a:off x="1148866" y="2828622"/>
          <a:ext cx="7836581" cy="3110624"/>
        </p:xfrm>
        <a:graphic>
          <a:graphicData uri="http://schemas.openxmlformats.org/drawingml/2006/table">
            <a:tbl>
              <a:tblPr firstRow="1" bandRow="1">
                <a:tableStyleId>{5C22544A-7EE6-4342-B048-85BDC9FD1C3A}</a:tableStyleId>
              </a:tblPr>
              <a:tblGrid>
                <a:gridCol w="444964">
                  <a:extLst>
                    <a:ext uri="{9D8B030D-6E8A-4147-A177-3AD203B41FA5}">
                      <a16:colId xmlns:a16="http://schemas.microsoft.com/office/drawing/2014/main" val="2392580594"/>
                    </a:ext>
                  </a:extLst>
                </a:gridCol>
                <a:gridCol w="7391617">
                  <a:extLst>
                    <a:ext uri="{9D8B030D-6E8A-4147-A177-3AD203B41FA5}">
                      <a16:colId xmlns:a16="http://schemas.microsoft.com/office/drawing/2014/main" val="2920949029"/>
                    </a:ext>
                  </a:extLst>
                </a:gridCol>
              </a:tblGrid>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①</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保健省、サウジアラビア中央銀行、健康保険評議会、および医療サービスおよび健康保険サービスの規制に関与するその他の関連機関によって発行されたすべての規則および管理を適用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407828">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②</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法およびその規則の規定を管理者の内部ポリシーに採用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重複を避けるために従業員間でタスクを明確に分割し、役割に基づいて異なるアクセスレベルを設定し、データ主体の健康データの最大限のプライバシーを確保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健康データの処理のすべての段階を記録し、各段階の担当者を特定する手段を提供する。</a:t>
                      </a:r>
                      <a:r>
                        <a:rPr lang="en-US" sz="1100" b="0">
                          <a:solidFill>
                            <a:schemeClr val="tx1"/>
                          </a:solidFill>
                          <a:latin typeface="MS PGothic" panose="020B0600070205080204" pitchFamily="34" charset="-128"/>
                          <a:ea typeface="MS PGothic" panose="020B0600070205080204" pitchFamily="34" charset="-128"/>
                        </a:rPr>
                        <a:t> </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51720670"/>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健康データを取り扱う処理者との契約に、データ保護のために定められたすべての手順および措置に従うことを要求する条項が含まれていることを確認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00314570"/>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医療ファイルを含む健康データへのアクセスを、必要な健康サービスを提供するために必要な最小限の従業員に限定する。</a:t>
                      </a:r>
                      <a:r>
                        <a:rPr lang="en-US" sz="1100" b="0" dirty="0">
                          <a:solidFill>
                            <a:schemeClr val="tx1"/>
                          </a:solidFill>
                          <a:latin typeface="MS PGothic" panose="020B0600070205080204" pitchFamily="34" charset="-128"/>
                          <a:ea typeface="MS PGothic" panose="020B0600070205080204" pitchFamily="34" charset="-128"/>
                        </a:rPr>
                        <a:t> </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14432911"/>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健康データの処理を、医療サービスの提供または健康保険プログラムの管理に必要な最小限の従業員数に制限</a:t>
                      </a:r>
                      <a:r>
                        <a:rPr lang="ja-JP" altLang="en-US" sz="1100" b="0" noProof="1">
                          <a:solidFill>
                            <a:schemeClr val="tx1"/>
                          </a:solidFill>
                          <a:latin typeface="MS PGothic" panose="020B0600070205080204" pitchFamily="34" charset="-128"/>
                          <a:ea typeface="MS PGothic" panose="020B0600070205080204" pitchFamily="34" charset="-128"/>
                        </a:rPr>
                        <a:t>する</a:t>
                      </a:r>
                      <a:r>
                        <a:rPr lang="en-US" sz="1100" b="0" noProof="1">
                          <a:solidFill>
                            <a:schemeClr val="tx1"/>
                          </a:solidFill>
                          <a:latin typeface="MS PGothic" panose="020B0600070205080204" pitchFamily="34" charset="-128"/>
                          <a:ea typeface="MS PGothic" panose="020B0600070205080204" pitchFamily="34" charset="-128"/>
                        </a:rPr>
                        <a:t>。</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44513611"/>
                  </a:ext>
                </a:extLst>
              </a:tr>
            </a:tbl>
          </a:graphicData>
        </a:graphic>
      </p:graphicFrame>
    </p:spTree>
    <p:extLst>
      <p:ext uri="{BB962C8B-B14F-4D97-AF65-F5344CB8AC3E}">
        <p14:creationId xmlns:p14="http://schemas.microsoft.com/office/powerpoint/2010/main" val="29707237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11DFF-A8F4-6F98-F9AF-885DB2ECEA0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8960943-19DA-F3C9-FEB0-10409A9DFF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F8960943-19DA-F3C9-FEB0-10409A9DFF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273384-CFA8-5A49-1D16-6EBDE33A6F51}"/>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2B9332E7-166B-4C8A-71E5-82F75BFE2287}"/>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9C875EEE-55AD-C3D9-0A5B-337CAF75FBD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1166D4A6-CB1C-415B-1507-C25FD44D5077}"/>
              </a:ext>
            </a:extLst>
          </p:cNvPr>
          <p:cNvSpPr txBox="1"/>
          <p:nvPr/>
        </p:nvSpPr>
        <p:spPr>
          <a:xfrm>
            <a:off x="200471" y="1146518"/>
            <a:ext cx="9505056" cy="94468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では、管理者が必要最小限のデータのみを収集し、処理中に識別情報を置き換え、すべての法的要件の遵守を確保する場合に限り、同意なしに個人データを科学的および研究目的で使用することが認められて</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い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データ主体の同意なしに個人データを科学的、研究的または統計的目的で使用</a:t>
            </a:r>
            <a:r>
              <a:rPr lang="en-US" altLang="ja-JP" sz="1400" noProof="1">
                <a:solidFill>
                  <a:srgbClr val="000000"/>
                </a:solidFill>
                <a:latin typeface="MS PGothic (headings)"/>
                <a:ea typeface="ＭＳ Ｐゴシック" panose="020B0600070205080204" pitchFamily="50" charset="-128"/>
                <a:cs typeface="Arial" panose="020B0604020202020204" pitchFamily="34" charset="0"/>
              </a:rPr>
              <a:t>でき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場合と、その収集および処理のために従わなければならないすべての必要なコンプライアンス規則を規定し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21" name="テキスト ボックス 14">
            <a:extLst>
              <a:ext uri="{FF2B5EF4-FFF2-40B4-BE49-F238E27FC236}">
                <a16:creationId xmlns:a16="http://schemas.microsoft.com/office/drawing/2014/main" id="{E8A3E7C8-A282-3FA8-BC6C-E366D6E7E26F}"/>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アラビアデータおよびAI当局の法律および規則 (SDAI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aphicFrame>
        <p:nvGraphicFramePr>
          <p:cNvPr id="5" name="Table 4">
            <a:extLst>
              <a:ext uri="{FF2B5EF4-FFF2-40B4-BE49-F238E27FC236}">
                <a16:creationId xmlns:a16="http://schemas.microsoft.com/office/drawing/2014/main" id="{FE9512F9-8675-1FB4-672D-5F02E5627C43}"/>
              </a:ext>
            </a:extLst>
          </p:cNvPr>
          <p:cNvGraphicFramePr>
            <a:graphicFrameLocks noGrp="1"/>
          </p:cNvGraphicFramePr>
          <p:nvPr>
            <p:extLst>
              <p:ext uri="{D42A27DB-BD31-4B8C-83A1-F6EECF244321}">
                <p14:modId xmlns:p14="http://schemas.microsoft.com/office/powerpoint/2010/main" val="1618398525"/>
              </p:ext>
            </p:extLst>
          </p:nvPr>
        </p:nvGraphicFramePr>
        <p:xfrm>
          <a:off x="4520953" y="3399523"/>
          <a:ext cx="5158792" cy="2588153"/>
        </p:xfrm>
        <a:graphic>
          <a:graphicData uri="http://schemas.openxmlformats.org/drawingml/2006/table">
            <a:tbl>
              <a:tblPr firstRow="1" bandRow="1">
                <a:tableStyleId>{5C22544A-7EE6-4342-B048-85BDC9FD1C3A}</a:tableStyleId>
              </a:tblPr>
              <a:tblGrid>
                <a:gridCol w="292918">
                  <a:extLst>
                    <a:ext uri="{9D8B030D-6E8A-4147-A177-3AD203B41FA5}">
                      <a16:colId xmlns:a16="http://schemas.microsoft.com/office/drawing/2014/main" val="2392580594"/>
                    </a:ext>
                  </a:extLst>
                </a:gridCol>
                <a:gridCol w="4865874">
                  <a:extLst>
                    <a:ext uri="{9D8B030D-6E8A-4147-A177-3AD203B41FA5}">
                      <a16:colId xmlns:a16="http://schemas.microsoft.com/office/drawing/2014/main" val="2920949029"/>
                    </a:ext>
                  </a:extLst>
                </a:gridCol>
              </a:tblGrid>
              <a:tr h="624617">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個人データ取扱活動の記録における科学的、研究的または統計的目的を明確かつ正確に特定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565495">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特定された目的を達成するために必要な最小限の個人データのみが収集されることを確保するために必要な措置を講じ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773424">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個人データは、意図された取扱いの目的を達成するために引き続きデータを使用することができる場合には、個人データを仮名化 (識別情報を除去またはマスク) する必要があ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624617">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取扱いがデータ主体の権利および利益に悪影響を及ぼさないことを確保するために必要な措置を講じる。</a:t>
                      </a:r>
                      <a:r>
                        <a:rPr lang="en-US" sz="1100" b="0" dirty="0">
                          <a:solidFill>
                            <a:schemeClr val="tx1"/>
                          </a:solidFill>
                          <a:latin typeface="MS PGothic" panose="020B0600070205080204" pitchFamily="34" charset="-128"/>
                          <a:ea typeface="MS PGothic" panose="020B0600070205080204" pitchFamily="34" charset="-128"/>
                        </a:rPr>
                        <a:t> </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51720670"/>
                  </a:ext>
                </a:extLst>
              </a:tr>
            </a:tbl>
          </a:graphicData>
        </a:graphic>
      </p:graphicFrame>
      <p:graphicFrame>
        <p:nvGraphicFramePr>
          <p:cNvPr id="9" name="Table 8">
            <a:extLst>
              <a:ext uri="{FF2B5EF4-FFF2-40B4-BE49-F238E27FC236}">
                <a16:creationId xmlns:a16="http://schemas.microsoft.com/office/drawing/2014/main" id="{AC60F2AA-E883-F56F-0ACD-47CFBA3A7179}"/>
              </a:ext>
            </a:extLst>
          </p:cNvPr>
          <p:cNvGraphicFramePr>
            <a:graphicFrameLocks noGrp="1"/>
          </p:cNvGraphicFramePr>
          <p:nvPr>
            <p:extLst>
              <p:ext uri="{D42A27DB-BD31-4B8C-83A1-F6EECF244321}">
                <p14:modId xmlns:p14="http://schemas.microsoft.com/office/powerpoint/2010/main" val="1662146787"/>
              </p:ext>
            </p:extLst>
          </p:nvPr>
        </p:nvGraphicFramePr>
        <p:xfrm>
          <a:off x="210901" y="3399523"/>
          <a:ext cx="4022020" cy="2588155"/>
        </p:xfrm>
        <a:graphic>
          <a:graphicData uri="http://schemas.openxmlformats.org/drawingml/2006/table">
            <a:tbl>
              <a:tblPr firstRow="1" bandRow="1">
                <a:tableStyleId>{5C22544A-7EE6-4342-B048-85BDC9FD1C3A}</a:tableStyleId>
              </a:tblPr>
              <a:tblGrid>
                <a:gridCol w="228372">
                  <a:extLst>
                    <a:ext uri="{9D8B030D-6E8A-4147-A177-3AD203B41FA5}">
                      <a16:colId xmlns:a16="http://schemas.microsoft.com/office/drawing/2014/main" val="2392580594"/>
                    </a:ext>
                  </a:extLst>
                </a:gridCol>
                <a:gridCol w="3793648">
                  <a:extLst>
                    <a:ext uri="{9D8B030D-6E8A-4147-A177-3AD203B41FA5}">
                      <a16:colId xmlns:a16="http://schemas.microsoft.com/office/drawing/2014/main" val="2920949029"/>
                    </a:ext>
                  </a:extLst>
                </a:gridCol>
              </a:tblGrid>
              <a:tr h="823314">
                <a:tc>
                  <a:txBody>
                    <a:bodyPr/>
                    <a:lstStyle/>
                    <a:p>
                      <a:pPr algn="r"/>
                      <a:r>
                        <a:rPr lang="en-US" sz="1100" b="0" noProof="1">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データ主体を具体的に特定しない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745384">
                <a:tc>
                  <a:txBody>
                    <a:bodyPr/>
                    <a:lstStyle/>
                    <a:p>
                      <a:pPr algn="r"/>
                      <a:r>
                        <a:rPr lang="en-US" sz="1100" b="0" noProof="1">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機密データでない場合、データ主体の身元の証拠が、取扱い中および当該データが他の事業体に開示される前に破棄される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1019457">
                <a:tc>
                  <a:txBody>
                    <a:bodyPr/>
                    <a:lstStyle/>
                    <a:p>
                      <a:pPr algn="r"/>
                      <a:r>
                        <a:rPr lang="en-US" sz="1100" b="0" noProof="1">
                          <a:solidFill>
                            <a:schemeClr val="tx1"/>
                          </a:solidFill>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これらの目的のために個人データが収集または処理されることが、他の法律またはデータ主体が当事者である以前の契約の実施によって要求される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bl>
          </a:graphicData>
        </a:graphic>
      </p:graphicFrame>
      <p:sp>
        <p:nvSpPr>
          <p:cNvPr id="10" name="TextBox 9">
            <a:extLst>
              <a:ext uri="{FF2B5EF4-FFF2-40B4-BE49-F238E27FC236}">
                <a16:creationId xmlns:a16="http://schemas.microsoft.com/office/drawing/2014/main" id="{62DDDFA7-1204-121A-C3EC-A852005BAB20}"/>
              </a:ext>
            </a:extLst>
          </p:cNvPr>
          <p:cNvSpPr txBox="1"/>
          <p:nvPr/>
        </p:nvSpPr>
        <p:spPr>
          <a:xfrm>
            <a:off x="210900" y="2772229"/>
            <a:ext cx="4022021" cy="514949"/>
          </a:xfrm>
          <a:prstGeom prst="rect">
            <a:avLst/>
          </a:prstGeom>
          <a:noFill/>
        </p:spPr>
        <p:txBody>
          <a:bodyPr wrap="square" rtlCol="0">
            <a:spAutoFit/>
          </a:bodyPr>
          <a:lstStyle/>
          <a:p>
            <a:pPr algn="ctr">
              <a:lnSpc>
                <a:spcPct val="120000"/>
              </a:lnSpc>
            </a:pPr>
            <a:r>
              <a:rPr kumimoji="1" lang="en-US" sz="1200" b="1" u="sng" noProof="1">
                <a:latin typeface="MS PGothic" panose="020B0600070205080204" pitchFamily="34" charset="-128"/>
                <a:ea typeface="MS PGothic" panose="020B0600070205080204" pitchFamily="34" charset="-128"/>
              </a:rPr>
              <a:t>データ主体の同意なしに研究目的で個人データを収集することができる場合</a:t>
            </a:r>
          </a:p>
        </p:txBody>
      </p:sp>
      <p:sp>
        <p:nvSpPr>
          <p:cNvPr id="11" name="TextBox 10">
            <a:extLst>
              <a:ext uri="{FF2B5EF4-FFF2-40B4-BE49-F238E27FC236}">
                <a16:creationId xmlns:a16="http://schemas.microsoft.com/office/drawing/2014/main" id="{3C75C96A-E62D-9097-ED7C-D12E747D600B}"/>
              </a:ext>
            </a:extLst>
          </p:cNvPr>
          <p:cNvSpPr txBox="1"/>
          <p:nvPr/>
        </p:nvSpPr>
        <p:spPr>
          <a:xfrm>
            <a:off x="4518758" y="2772229"/>
            <a:ext cx="5158791" cy="514949"/>
          </a:xfrm>
          <a:prstGeom prst="rect">
            <a:avLst/>
          </a:prstGeom>
          <a:noFill/>
        </p:spPr>
        <p:txBody>
          <a:bodyPr wrap="square" rtlCol="0">
            <a:spAutoFit/>
          </a:bodyPr>
          <a:lstStyle/>
          <a:p>
            <a:pPr algn="ctr">
              <a:lnSpc>
                <a:spcPct val="120000"/>
              </a:lnSpc>
            </a:pPr>
            <a:r>
              <a:rPr kumimoji="1" lang="en-US" sz="1200" b="1" u="sng" noProof="1">
                <a:latin typeface="MS PGothic" panose="020B0600070205080204" pitchFamily="34" charset="-128"/>
                <a:ea typeface="MS PGothic" panose="020B0600070205080204" pitchFamily="34" charset="-128"/>
              </a:rPr>
              <a:t>個人データが研究目的で取り扱われる場合にデータ管理者が満たすべき遵守要件</a:t>
            </a:r>
          </a:p>
        </p:txBody>
      </p:sp>
    </p:spTree>
    <p:extLst>
      <p:ext uri="{BB962C8B-B14F-4D97-AF65-F5344CB8AC3E}">
        <p14:creationId xmlns:p14="http://schemas.microsoft.com/office/powerpoint/2010/main" val="37670509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F657C-185B-C6B1-B8B5-859E06195D4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F31DB12-7875-61E1-819D-2784A224CA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0F31DB12-7875-61E1-819D-2784A224C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ACE258-8390-DB17-4D24-6FBDBB7D1805}"/>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A58D0B6F-AC03-B373-9ED0-6AE8A7572735}"/>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2F47A7E5-A4A2-1075-B77D-6274564E2690}"/>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D8E04187-1BD8-E86A-1738-2589C5AAFB1B}"/>
              </a:ext>
            </a:extLst>
          </p:cNvPr>
          <p:cNvSpPr txBox="1"/>
          <p:nvPr/>
        </p:nvSpPr>
        <p:spPr>
          <a:xfrm>
            <a:off x="200471" y="1146518"/>
            <a:ext cx="9505056" cy="94468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Ministry of Health (MoH) は、適用されるすべての法律、および09/02/1443 H付Royal Decree No. (M/19) により公布された個人データ保護法 (PDPL) およびその</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修正法案</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に沿って、個人の個人データのプライバシーとセキュリティを保護するためのプライバシーポリシーを制定し</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てい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ポリシーは、MoHが個人データを収集、使用、保存、および保護する方法の概要を示して</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い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B285EEE1-55CB-B370-B308-15C95565D1B3}"/>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保健省 </a:t>
            </a:r>
            <a:r>
              <a:rPr kumimoji="1" lang="en-IN" altLang="ja-JP"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Ministry of Health</a:t>
            </a:r>
            <a:r>
              <a:rPr kumimoji="1" lang="en-IN"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44801EA2-CA83-8DB0-2860-AC8C93B62B5B}"/>
              </a:ext>
            </a:extLst>
          </p:cNvPr>
          <p:cNvGraphicFramePr>
            <a:graphicFrameLocks noGrp="1"/>
          </p:cNvGraphicFramePr>
          <p:nvPr>
            <p:extLst>
              <p:ext uri="{D42A27DB-BD31-4B8C-83A1-F6EECF244321}">
                <p14:modId xmlns:p14="http://schemas.microsoft.com/office/powerpoint/2010/main" val="2934783616"/>
              </p:ext>
            </p:extLst>
          </p:nvPr>
        </p:nvGraphicFramePr>
        <p:xfrm>
          <a:off x="218375" y="2456010"/>
          <a:ext cx="9504000" cy="3934949"/>
        </p:xfrm>
        <a:graphic>
          <a:graphicData uri="http://schemas.openxmlformats.org/drawingml/2006/table">
            <a:tbl>
              <a:tblPr firstRow="1" bandRow="1">
                <a:tableStyleId>{5C22544A-7EE6-4342-B048-85BDC9FD1C3A}</a:tableStyleId>
              </a:tblPr>
              <a:tblGrid>
                <a:gridCol w="1926313">
                  <a:extLst>
                    <a:ext uri="{9D8B030D-6E8A-4147-A177-3AD203B41FA5}">
                      <a16:colId xmlns:a16="http://schemas.microsoft.com/office/drawing/2014/main" val="488903310"/>
                    </a:ext>
                  </a:extLst>
                </a:gridCol>
                <a:gridCol w="7577687">
                  <a:extLst>
                    <a:ext uri="{9D8B030D-6E8A-4147-A177-3AD203B41FA5}">
                      <a16:colId xmlns:a16="http://schemas.microsoft.com/office/drawing/2014/main" val="1925734749"/>
                    </a:ext>
                  </a:extLst>
                </a:gridCol>
              </a:tblGrid>
              <a:tr h="338249">
                <a:tc>
                  <a:txBody>
                    <a:bodyPr/>
                    <a:lstStyle/>
                    <a:p>
                      <a:r>
                        <a:rPr lang="en-US" sz="1000" noProof="1">
                          <a:solidFill>
                            <a:schemeClr val="tx1"/>
                          </a:solidFill>
                          <a:latin typeface="MS PGothic (headings)"/>
                        </a:rPr>
                        <a:t>パラメ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0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0709828"/>
                  </a:ext>
                </a:extLst>
              </a:tr>
              <a:tr h="572768">
                <a:tc>
                  <a:txBody>
                    <a:bodyPr/>
                    <a:lstStyle/>
                    <a:p>
                      <a:r>
                        <a:rPr lang="en-US" sz="1000" noProof="1">
                          <a:latin typeface="MS PGothic (headings)"/>
                        </a:rPr>
                        <a:t>データ収集</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データは、サービスに応じてさまざまなチャネルを介して収集され</a:t>
                      </a:r>
                      <a:r>
                        <a:rPr lang="ja-JP" altLang="en-US" sz="1000" noProof="1">
                          <a:latin typeface="MS PGothic (headings)"/>
                        </a:rPr>
                        <a:t>る。</a:t>
                      </a:r>
                      <a:endParaRPr lang="en-US" sz="1000" noProof="1">
                        <a:latin typeface="MS PGothic (headings)"/>
                      </a:endParaRPr>
                    </a:p>
                    <a:p>
                      <a:pPr marL="271463" indent="-93663">
                        <a:buFont typeface="Arial" panose="020B0604020202020204" pitchFamily="34" charset="0"/>
                        <a:buChar char="•"/>
                      </a:pPr>
                      <a:r>
                        <a:rPr lang="en-US" sz="1000" noProof="1">
                          <a:latin typeface="MS PGothic (headings)"/>
                        </a:rPr>
                        <a:t>MoHサービスに登録または対話する際に、フォーム、モバイルアプリケーション、またはデジタルプラットフォームを介して直接</a:t>
                      </a:r>
                      <a:r>
                        <a:rPr lang="ja-JP" altLang="en-US" sz="1000" noProof="1">
                          <a:latin typeface="MS PGothic (headings)"/>
                        </a:rPr>
                        <a:t>的に行われる</a:t>
                      </a:r>
                      <a:r>
                        <a:rPr lang="en-US" sz="1000" noProof="1">
                          <a:latin typeface="MS PGothic (headings)"/>
                        </a:rPr>
                        <a:t>。</a:t>
                      </a:r>
                    </a:p>
                    <a:p>
                      <a:pPr marL="271463" indent="-93663">
                        <a:buFont typeface="Arial" panose="020B0604020202020204" pitchFamily="34" charset="0"/>
                        <a:buChar char="•"/>
                      </a:pPr>
                      <a:r>
                        <a:rPr lang="en-US" sz="1000" noProof="1">
                          <a:latin typeface="MS PGothic (headings)"/>
                        </a:rPr>
                        <a:t>健康関連の目的でデータを共有する他のエンティティを介して間接的に</a:t>
                      </a:r>
                      <a:r>
                        <a:rPr lang="ja-JP" altLang="en-US" sz="1000" noProof="1">
                          <a:latin typeface="MS PGothic (headings)"/>
                        </a:rPr>
                        <a:t>行われる</a:t>
                      </a:r>
                      <a:r>
                        <a:rPr lang="en-US" sz="10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920094878"/>
                  </a:ext>
                </a:extLst>
              </a:tr>
              <a:tr h="1686483">
                <a:tc>
                  <a:txBody>
                    <a:bodyPr/>
                    <a:lstStyle/>
                    <a:p>
                      <a:r>
                        <a:rPr lang="en-US" sz="1000" noProof="1">
                          <a:latin typeface="MS PGothic (headings)"/>
                        </a:rPr>
                        <a:t>データ収集の目的</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同省は次の目的でデータを収集</a:t>
                      </a:r>
                      <a:r>
                        <a:rPr lang="ja-JP" altLang="en-US" sz="1000" noProof="1">
                          <a:latin typeface="MS PGothic (headings)"/>
                        </a:rPr>
                        <a:t>す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医療サービス、相談、処方の提供</a:t>
                      </a:r>
                    </a:p>
                    <a:p>
                      <a:pPr marL="266700" indent="-88900">
                        <a:buFont typeface="Arial" panose="020B0604020202020204" pitchFamily="34" charset="0"/>
                        <a:buChar char="•"/>
                      </a:pPr>
                      <a:r>
                        <a:rPr lang="en-US" sz="1000" noProof="1">
                          <a:latin typeface="MS PGothic (headings)"/>
                        </a:rPr>
                        <a:t>大規模な集まりの管理(例:ハッジ、ウムラ)</a:t>
                      </a:r>
                    </a:p>
                    <a:p>
                      <a:pPr marL="266700" indent="-88900">
                        <a:buFont typeface="Arial" panose="020B0604020202020204" pitchFamily="34" charset="0"/>
                        <a:buChar char="•"/>
                      </a:pPr>
                      <a:r>
                        <a:rPr lang="en-US" sz="1000" noProof="1">
                          <a:latin typeface="MS PGothic (headings)"/>
                        </a:rPr>
                        <a:t>法的および規制上の義務の履行</a:t>
                      </a:r>
                    </a:p>
                    <a:p>
                      <a:pPr marL="266700" indent="-88900">
                        <a:buFont typeface="Arial" panose="020B0604020202020204" pitchFamily="34" charset="0"/>
                        <a:buChar char="•"/>
                      </a:pPr>
                      <a:r>
                        <a:rPr lang="en-US" sz="1000" noProof="1">
                          <a:latin typeface="MS PGothic (headings)"/>
                        </a:rPr>
                        <a:t>公衆衛生の保護と疾病の監視</a:t>
                      </a:r>
                    </a:p>
                    <a:p>
                      <a:pPr marL="266700" indent="-88900">
                        <a:buFont typeface="Arial" panose="020B0604020202020204" pitchFamily="34" charset="0"/>
                        <a:buChar char="•"/>
                      </a:pPr>
                      <a:r>
                        <a:rPr lang="en-US" sz="1000" noProof="1">
                          <a:latin typeface="MS PGothic (headings)"/>
                        </a:rPr>
                        <a:t>支払、保険金請求、および金融サービスの管理</a:t>
                      </a:r>
                    </a:p>
                    <a:p>
                      <a:pPr marL="266700" indent="-88900">
                        <a:buFont typeface="Arial" panose="020B0604020202020204" pitchFamily="34" charset="0"/>
                        <a:buChar char="•"/>
                      </a:pPr>
                      <a:r>
                        <a:rPr lang="en-US" sz="1000" b="0" noProof="1">
                          <a:latin typeface="MS PGothic (headings)"/>
                        </a:rPr>
                        <a:t>医学研究および教育の実施</a:t>
                      </a:r>
                    </a:p>
                    <a:p>
                      <a:pPr marL="266700" indent="-88900">
                        <a:buFont typeface="Arial" panose="020B0604020202020204" pitchFamily="34" charset="0"/>
                        <a:buChar char="•"/>
                      </a:pPr>
                      <a:r>
                        <a:rPr lang="en-US" sz="1000" noProof="1">
                          <a:latin typeface="MS PGothic (headings)"/>
                        </a:rPr>
                        <a:t>医療サービスと病院運営の調整</a:t>
                      </a:r>
                    </a:p>
                    <a:p>
                      <a:pPr marL="266700" indent="-88900">
                        <a:buFont typeface="Arial" panose="020B0604020202020204" pitchFamily="34" charset="0"/>
                        <a:buChar char="•"/>
                      </a:pPr>
                      <a:r>
                        <a:rPr lang="en-US" sz="1000" noProof="1">
                          <a:latin typeface="MS PGothic (headings)"/>
                        </a:rPr>
                        <a:t>予約と治療に関する患者とのコミュニケーション</a:t>
                      </a:r>
                    </a:p>
                    <a:p>
                      <a:pPr marL="266700" indent="-88900">
                        <a:buFont typeface="Arial" panose="020B0604020202020204" pitchFamily="34" charset="0"/>
                        <a:buChar char="•"/>
                      </a:pPr>
                      <a:r>
                        <a:rPr lang="en-US" sz="1000" noProof="1">
                          <a:latin typeface="MS PGothic (headings)"/>
                        </a:rPr>
                        <a:t>医療システムと情報のセキュリティと整合性の確保</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36480491"/>
                  </a:ext>
                </a:extLst>
              </a:tr>
              <a:tr h="1209177">
                <a:tc>
                  <a:txBody>
                    <a:bodyPr/>
                    <a:lstStyle/>
                    <a:p>
                      <a:r>
                        <a:rPr lang="en-US" sz="1000" noProof="1">
                          <a:latin typeface="MS PGothic (headings)"/>
                        </a:rPr>
                        <a:t>データの処理</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MoHは、PDPLに基づく以下の法的根拠に基づいて個人データを処理</a:t>
                      </a:r>
                      <a:r>
                        <a:rPr lang="ja-JP" altLang="en-US" sz="1000" noProof="1">
                          <a:latin typeface="MS PGothic (headings)"/>
                        </a:rPr>
                        <a:t>する。</a:t>
                      </a:r>
                      <a:endParaRPr lang="en-US" sz="1000" noProof="1">
                        <a:latin typeface="MS PGothic (headings)"/>
                      </a:endParaRPr>
                    </a:p>
                    <a:p>
                      <a:pPr marL="269875" indent="-87313">
                        <a:buFont typeface="Arial" panose="020B0604020202020204" pitchFamily="34" charset="0"/>
                        <a:buChar char="•"/>
                      </a:pPr>
                      <a:r>
                        <a:rPr lang="en-US" sz="1000" noProof="1">
                          <a:latin typeface="MS PGothic (headings)"/>
                        </a:rPr>
                        <a:t>契約上の義務:医療サービスを提供するために必要な場合</a:t>
                      </a:r>
                    </a:p>
                    <a:p>
                      <a:pPr marL="269875" indent="-87313">
                        <a:buFont typeface="Arial" panose="020B0604020202020204" pitchFamily="34" charset="0"/>
                        <a:buChar char="•"/>
                      </a:pPr>
                      <a:r>
                        <a:rPr lang="en-US" sz="1000" noProof="1">
                          <a:latin typeface="MS PGothic (headings)"/>
                        </a:rPr>
                        <a:t>法的コンプライアンス:法的または規制上の要件を満たすため</a:t>
                      </a:r>
                    </a:p>
                    <a:p>
                      <a:pPr marL="269875" indent="-87313">
                        <a:buFont typeface="Arial" panose="020B0604020202020204" pitchFamily="34" charset="0"/>
                        <a:buChar char="•"/>
                      </a:pPr>
                      <a:r>
                        <a:rPr lang="en-US" sz="1000" noProof="1">
                          <a:latin typeface="MS PGothic (headings)"/>
                        </a:rPr>
                        <a:t>公共の利益:公衆衛生の保護または伝染病の抑制のために必要な場合</a:t>
                      </a:r>
                    </a:p>
                    <a:p>
                      <a:pPr marL="269875" indent="-87313">
                        <a:buFont typeface="Arial" panose="020B0604020202020204" pitchFamily="34" charset="0"/>
                        <a:buChar char="•"/>
                      </a:pPr>
                      <a:r>
                        <a:rPr lang="en-US" sz="1000" noProof="1">
                          <a:latin typeface="MS PGothic (headings)"/>
                        </a:rPr>
                        <a:t>重要な利益:個人の生命または健康を維持するため</a:t>
                      </a:r>
                    </a:p>
                    <a:p>
                      <a:pPr marL="269875" indent="-87313">
                        <a:buFont typeface="Arial" panose="020B0604020202020204" pitchFamily="34" charset="0"/>
                        <a:buChar char="•"/>
                      </a:pPr>
                      <a:r>
                        <a:rPr lang="en-US" sz="1000" noProof="1">
                          <a:latin typeface="MS PGothic (headings)"/>
                        </a:rPr>
                        <a:t>正当な利益:個人の権利を侵害しない合法的かつ正当な目的のため</a:t>
                      </a:r>
                    </a:p>
                    <a:p>
                      <a:pPr marL="269875" indent="-87313">
                        <a:buFont typeface="Arial" panose="020B0604020202020204" pitchFamily="34" charset="0"/>
                        <a:buChar char="•"/>
                      </a:pPr>
                      <a:r>
                        <a:rPr lang="ja-JP" altLang="en-US" sz="1000" noProof="1">
                          <a:latin typeface="MS PGothic (headings)"/>
                        </a:rPr>
                        <a:t>同意、</a:t>
                      </a:r>
                      <a:r>
                        <a:rPr lang="en-US" sz="1000" noProof="1">
                          <a:latin typeface="MS PGothic (headings)"/>
                        </a:rPr>
                        <a:t>慎重を要する治療または専門的な治療に対する明示的な同意</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235577575"/>
                  </a:ext>
                </a:extLst>
              </a:tr>
            </a:tbl>
          </a:graphicData>
        </a:graphic>
      </p:graphicFrame>
    </p:spTree>
    <p:extLst>
      <p:ext uri="{BB962C8B-B14F-4D97-AF65-F5344CB8AC3E}">
        <p14:creationId xmlns:p14="http://schemas.microsoft.com/office/powerpoint/2010/main" val="29366440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7199C-B922-646D-4CAA-8D4D4CD5BFF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7CFDF3-6298-50A8-62F5-0F94CCABD2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DE7CFDF3-6298-50A8-62F5-0F94CCABD2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FBDF34-12EE-BE19-64CF-6824C579E79A}"/>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BF37CFEB-B51A-C6BA-81A4-496DC02CCF14}"/>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6515F351-92E4-0E83-879D-8E4FF482B362}"/>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Table 3">
            <a:extLst>
              <a:ext uri="{FF2B5EF4-FFF2-40B4-BE49-F238E27FC236}">
                <a16:creationId xmlns:a16="http://schemas.microsoft.com/office/drawing/2014/main" id="{0BEAC01A-B988-DA92-A8AB-8D36C9EECFD3}"/>
              </a:ext>
            </a:extLst>
          </p:cNvPr>
          <p:cNvGraphicFramePr>
            <a:graphicFrameLocks noGrp="1"/>
          </p:cNvGraphicFramePr>
          <p:nvPr>
            <p:extLst>
              <p:ext uri="{D42A27DB-BD31-4B8C-83A1-F6EECF244321}">
                <p14:modId xmlns:p14="http://schemas.microsoft.com/office/powerpoint/2010/main" val="227476949"/>
              </p:ext>
            </p:extLst>
          </p:nvPr>
        </p:nvGraphicFramePr>
        <p:xfrm>
          <a:off x="207680" y="1472465"/>
          <a:ext cx="9504000" cy="3505200"/>
        </p:xfrm>
        <a:graphic>
          <a:graphicData uri="http://schemas.openxmlformats.org/drawingml/2006/table">
            <a:tbl>
              <a:tblPr firstRow="1" bandRow="1">
                <a:tableStyleId>{5C22544A-7EE6-4342-B048-85BDC9FD1C3A}</a:tableStyleId>
              </a:tblPr>
              <a:tblGrid>
                <a:gridCol w="1926313">
                  <a:extLst>
                    <a:ext uri="{9D8B030D-6E8A-4147-A177-3AD203B41FA5}">
                      <a16:colId xmlns:a16="http://schemas.microsoft.com/office/drawing/2014/main" val="488903310"/>
                    </a:ext>
                  </a:extLst>
                </a:gridCol>
                <a:gridCol w="7577687">
                  <a:extLst>
                    <a:ext uri="{9D8B030D-6E8A-4147-A177-3AD203B41FA5}">
                      <a16:colId xmlns:a16="http://schemas.microsoft.com/office/drawing/2014/main" val="1925734749"/>
                    </a:ext>
                  </a:extLst>
                </a:gridCol>
              </a:tblGrid>
              <a:tr h="0">
                <a:tc>
                  <a:txBody>
                    <a:bodyPr/>
                    <a:lstStyle/>
                    <a:p>
                      <a:r>
                        <a:rPr lang="en-US" sz="1000" noProof="1">
                          <a:solidFill>
                            <a:schemeClr val="tx1"/>
                          </a:solidFill>
                          <a:latin typeface="MS PGothic (headings)"/>
                        </a:rPr>
                        <a:t>パラメ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0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0709828"/>
                  </a:ext>
                </a:extLst>
              </a:tr>
              <a:tr h="232947">
                <a:tc>
                  <a:txBody>
                    <a:bodyPr/>
                    <a:lstStyle/>
                    <a:p>
                      <a:r>
                        <a:rPr lang="en-US" sz="1000" noProof="1">
                          <a:latin typeface="MS PGothic (headings)"/>
                        </a:rPr>
                        <a:t>データの共有と開示</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個人データは、特定の条件下で以下と共有される場合があ</a:t>
                      </a:r>
                      <a:r>
                        <a:rPr lang="ja-JP" altLang="en-US" sz="1000" noProof="1">
                          <a:latin typeface="MS PGothic (headings)"/>
                        </a:rPr>
                        <a:t>る。</a:t>
                      </a:r>
                      <a:endParaRPr lang="en-US" sz="1000" noProof="1">
                        <a:latin typeface="MS PGothic (headings)"/>
                      </a:endParaRPr>
                    </a:p>
                    <a:p>
                      <a:pPr marL="269875" indent="-87313">
                        <a:buFont typeface="Arial" panose="020B0604020202020204" pitchFamily="34" charset="0"/>
                        <a:buChar char="•"/>
                      </a:pPr>
                      <a:r>
                        <a:rPr lang="en-US" sz="1000" noProof="1">
                          <a:latin typeface="MS PGothic (headings)"/>
                        </a:rPr>
                        <a:t>医療機関:治療または関連サービスを促進するため</a:t>
                      </a:r>
                    </a:p>
                    <a:p>
                      <a:pPr marL="269875" indent="-87313">
                        <a:buFont typeface="Arial" panose="020B0604020202020204" pitchFamily="34" charset="0"/>
                        <a:buChar char="•"/>
                      </a:pPr>
                      <a:r>
                        <a:rPr lang="en-US" sz="1000" noProof="1">
                          <a:latin typeface="MS PGothic (headings)"/>
                        </a:rPr>
                        <a:t>規制当局:法的報告または公衆衛生機能のため</a:t>
                      </a:r>
                    </a:p>
                    <a:p>
                      <a:pPr marL="269875" indent="-87313">
                        <a:buFont typeface="Arial" panose="020B0604020202020204" pitchFamily="34" charset="0"/>
                        <a:buChar char="•"/>
                      </a:pPr>
                      <a:r>
                        <a:rPr lang="en-US" sz="1000" noProof="1">
                          <a:latin typeface="MS PGothic (headings)"/>
                        </a:rPr>
                        <a:t>サードパーティ契約者:厳格なコンプライアンス保護措置を伴う管理目的のため</a:t>
                      </a:r>
                    </a:p>
                    <a:p>
                      <a:pPr marL="177800" indent="-177800">
                        <a:buFont typeface="Courier New" panose="02070309020205020404" pitchFamily="49" charset="0"/>
                        <a:buChar char="o"/>
                      </a:pPr>
                      <a:r>
                        <a:rPr lang="en-US" sz="1000" noProof="1">
                          <a:latin typeface="MS PGothic (headings)"/>
                        </a:rPr>
                        <a:t>サウジアラビア国外へのデータ転送には、PDPLおよびその行政規則が適用され</a:t>
                      </a:r>
                      <a:r>
                        <a:rPr lang="ja-JP" altLang="en-US" sz="1000" noProof="1">
                          <a:latin typeface="MS PGothic (headings)"/>
                        </a:rPr>
                        <a:t>る。</a:t>
                      </a:r>
                      <a:endParaRPr lang="en-US" sz="1000" noProof="1">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920094878"/>
                  </a:ext>
                </a:extLst>
              </a:tr>
              <a:tr h="460327">
                <a:tc>
                  <a:txBody>
                    <a:bodyPr/>
                    <a:lstStyle/>
                    <a:p>
                      <a:r>
                        <a:rPr lang="en-US" sz="1000" noProof="1">
                          <a:latin typeface="MS PGothic (headings)"/>
                        </a:rPr>
                        <a:t>データ保護責任者 (DPO) の任命</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MoHは、PDPLへのコンプライアンスを確保するためにデータ保護責任者を任命します。DPOは次の機能を実行</a:t>
                      </a:r>
                      <a:r>
                        <a:rPr lang="ja-JP" altLang="en-US" sz="1000" noProof="1">
                          <a:latin typeface="MS PGothic (headings)"/>
                        </a:rPr>
                        <a:t>す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すべての個人データ関連アクティビティに関するアドバイスと監督を提供</a:t>
                      </a:r>
                      <a:r>
                        <a:rPr lang="ja-JP" altLang="en-US" sz="1000" noProof="1">
                          <a:latin typeface="MS PGothic (headings)"/>
                        </a:rPr>
                        <a:t>す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すべての運用が法的要件に沿っていることを確認</a:t>
                      </a:r>
                      <a:r>
                        <a:rPr lang="ja-JP" altLang="en-US" sz="1000" noProof="1">
                          <a:latin typeface="MS PGothic (headings)"/>
                        </a:rPr>
                        <a:t>す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上級管理職に報告し、問題をリーダーシップにエスカレートでき</a:t>
                      </a:r>
                      <a:r>
                        <a:rPr lang="ja-JP" altLang="en-US" sz="1000" noProof="1">
                          <a:latin typeface="MS PGothic (headings)"/>
                        </a:rPr>
                        <a:t>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すべてのデータ処理における説明責任と透明性をサポート</a:t>
                      </a:r>
                      <a:r>
                        <a:rPr lang="ja-JP" altLang="en-US" sz="1000" noProof="1">
                          <a:latin typeface="MS PGothic (headings)"/>
                        </a:rPr>
                        <a:t>する。</a:t>
                      </a:r>
                      <a:endParaRPr lang="en-US" sz="1000" noProof="1">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36480491"/>
                  </a:ext>
                </a:extLst>
              </a:tr>
              <a:tr h="330046">
                <a:tc>
                  <a:txBody>
                    <a:bodyPr/>
                    <a:lstStyle/>
                    <a:p>
                      <a:r>
                        <a:rPr lang="en-US" sz="1000" noProof="1">
                          <a:latin typeface="MS PGothic (headings)"/>
                        </a:rPr>
                        <a:t>データの保持と破棄</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個人データは、MoHまたは承認されたサービスプロバイダーのサーバに安全に保持され</a:t>
                      </a:r>
                      <a:r>
                        <a:rPr lang="ja-JP" altLang="en-US" sz="1000" noProof="1">
                          <a:latin typeface="MS PGothic (headings)"/>
                        </a:rPr>
                        <a:t>る</a:t>
                      </a:r>
                      <a:r>
                        <a:rPr lang="en-US" sz="1000" noProof="1">
                          <a:latin typeface="MS PGothic (headings)"/>
                        </a:rPr>
                        <a:t>。</a:t>
                      </a:r>
                      <a:r>
                        <a:rPr lang="en-US" sz="1000" dirty="0">
                          <a:latin typeface="MS PGothic (headings)"/>
                        </a:rPr>
                        <a:t> </a:t>
                      </a:r>
                      <a:r>
                        <a:rPr lang="en-US" sz="1000" noProof="1">
                          <a:latin typeface="MS PGothic (headings)"/>
                        </a:rPr>
                        <a:t>保持期間は、法的および運用上の要件に準拠してい</a:t>
                      </a:r>
                      <a:r>
                        <a:rPr lang="ja-JP" altLang="en-US" sz="1000" noProof="1">
                          <a:latin typeface="MS PGothic (headings)"/>
                        </a:rPr>
                        <a:t>る</a:t>
                      </a:r>
                      <a:r>
                        <a:rPr lang="en-US" sz="1000" noProof="1">
                          <a:latin typeface="MS PGothic (headings)"/>
                        </a:rPr>
                        <a:t>。</a:t>
                      </a:r>
                      <a:r>
                        <a:rPr lang="en-US" sz="1000" dirty="0">
                          <a:latin typeface="MS PGothic (headings)"/>
                        </a:rPr>
                        <a:t> </a:t>
                      </a:r>
                      <a:r>
                        <a:rPr lang="en-US" sz="1000" noProof="1">
                          <a:latin typeface="MS PGothic (headings)"/>
                        </a:rPr>
                        <a:t>これらの期間が経過すると、データは安全に削除または匿名化され、</a:t>
                      </a:r>
                      <a:r>
                        <a:rPr lang="ja-JP" altLang="en-US" sz="1000" noProof="1">
                          <a:latin typeface="MS PGothic (headings)"/>
                        </a:rPr>
                        <a:t>データ復帰</a:t>
                      </a:r>
                      <a:r>
                        <a:rPr lang="en-US" sz="1000" noProof="1">
                          <a:latin typeface="MS PGothic (headings)"/>
                        </a:rPr>
                        <a:t>が防止され</a:t>
                      </a:r>
                      <a:r>
                        <a:rPr lang="ja-JP" altLang="en-US" sz="1000" noProof="1">
                          <a:latin typeface="MS PGothic (headings)"/>
                        </a:rPr>
                        <a:t>る</a:t>
                      </a:r>
                      <a:r>
                        <a:rPr lang="en-US" sz="10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235577575"/>
                  </a:ext>
                </a:extLst>
              </a:tr>
              <a:tr h="399338">
                <a:tc>
                  <a:txBody>
                    <a:bodyPr/>
                    <a:lstStyle/>
                    <a:p>
                      <a:r>
                        <a:rPr lang="en-US" sz="1000" noProof="1">
                          <a:latin typeface="MS PGothic (headings)"/>
                        </a:rPr>
                        <a:t>データ主体の権利</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PDPLの下で、データ主体には次の権利があ</a:t>
                      </a:r>
                      <a:r>
                        <a:rPr lang="ja-JP" altLang="en-US" sz="1000" noProof="1">
                          <a:latin typeface="MS PGothic (headings)"/>
                        </a:rPr>
                        <a:t>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知る権利:データがどのように使用され、どのような法的根拠に基づいているか</a:t>
                      </a:r>
                    </a:p>
                    <a:p>
                      <a:pPr marL="266700" indent="-88900">
                        <a:buFont typeface="Arial" panose="020B0604020202020204" pitchFamily="34" charset="0"/>
                        <a:buChar char="•"/>
                      </a:pPr>
                      <a:r>
                        <a:rPr lang="en-US" sz="1000" noProof="1">
                          <a:latin typeface="MS PGothic (headings)"/>
                        </a:rPr>
                        <a:t>アクセス権:937に連絡するか、健康ポータルを通じて、個人データの電子コピー (PDFまたは同様の形式) を受け取る</a:t>
                      </a:r>
                    </a:p>
                    <a:p>
                      <a:pPr marL="266700" indent="-88900">
                        <a:buFont typeface="Arial" panose="020B0604020202020204" pitchFamily="34" charset="0"/>
                        <a:buChar char="•"/>
                      </a:pPr>
                      <a:r>
                        <a:rPr lang="en-US" sz="1000" noProof="1">
                          <a:latin typeface="MS PGothic (headings)"/>
                        </a:rPr>
                        <a:t>修正権:不正確または不完全な個人データを修正する</a:t>
                      </a:r>
                    </a:p>
                    <a:p>
                      <a:pPr marL="266700" indent="-88900">
                        <a:buFont typeface="Arial" panose="020B0604020202020204" pitchFamily="34" charset="0"/>
                        <a:buChar char="•"/>
                      </a:pPr>
                      <a:r>
                        <a:rPr lang="en-US" sz="1000" noProof="1">
                          <a:latin typeface="MS PGothic (headings)"/>
                        </a:rPr>
                        <a:t>消去権:不要になった個人データの削除を要求する</a:t>
                      </a:r>
                    </a:p>
                    <a:p>
                      <a:pPr marL="266700" indent="-88900">
                        <a:buFont typeface="Arial" panose="020B0604020202020204" pitchFamily="34" charset="0"/>
                        <a:buChar char="•"/>
                      </a:pPr>
                      <a:r>
                        <a:rPr lang="en-US" sz="1000" noProof="1">
                          <a:latin typeface="MS PGothic (headings)"/>
                        </a:rPr>
                        <a:t>同意を撤回する権利:いつでも同意を取り消す (合法的な理由が残っている場合を除く)</a:t>
                      </a:r>
                    </a:p>
                    <a:p>
                      <a:pPr marL="266700" indent="-88900">
                        <a:buFont typeface="Arial" panose="020B0604020202020204" pitchFamily="34" charset="0"/>
                        <a:buChar char="•"/>
                      </a:pPr>
                      <a:r>
                        <a:rPr lang="en-US" sz="1000" noProof="1">
                          <a:latin typeface="MS PGothic (headings)"/>
                        </a:rPr>
                        <a:t>苦情を申し立てる権利:データの取り扱いに不満がある場合は、サウジデータ人工知能局 (SDAIA) に苦情を提出する</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56272455"/>
                  </a:ext>
                </a:extLst>
              </a:tr>
            </a:tbl>
          </a:graphicData>
        </a:graphic>
      </p:graphicFrame>
      <p:sp>
        <p:nvSpPr>
          <p:cNvPr id="8" name="テキスト ボックス 14">
            <a:extLst>
              <a:ext uri="{FF2B5EF4-FFF2-40B4-BE49-F238E27FC236}">
                <a16:creationId xmlns:a16="http://schemas.microsoft.com/office/drawing/2014/main" id="{6CACB43F-32B2-18BB-94DB-0BADEB97CF0C}"/>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保健省 </a:t>
            </a:r>
            <a:r>
              <a:rPr kumimoji="1" lang="en-IN" altLang="ja-JP"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Ministry of Health</a:t>
            </a:r>
            <a:r>
              <a:rPr kumimoji="1" lang="en-IN"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spTree>
    <p:extLst>
      <p:ext uri="{BB962C8B-B14F-4D97-AF65-F5344CB8AC3E}">
        <p14:creationId xmlns:p14="http://schemas.microsoft.com/office/powerpoint/2010/main" val="9849425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28142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2" y="188640"/>
            <a:ext cx="9505055" cy="360050"/>
          </a:xfrm>
        </p:spPr>
        <p:txBody>
          <a:bodyPr vert="horz"/>
          <a:lstStyle/>
          <a:p>
            <a:r>
              <a:rPr lang="ja-JP" altLang="en-US" dirty="0"/>
              <a:t>サウジアラビ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アラビア語と英語の双方が用いられ、特に私立病院ではアラビア語よりも英語の使用が一般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　サウジアラビア」</a:t>
            </a:r>
          </a:p>
        </p:txBody>
      </p:sp>
    </p:spTree>
    <p:extLst>
      <p:ext uri="{BB962C8B-B14F-4D97-AF65-F5344CB8AC3E}">
        <p14:creationId xmlns:p14="http://schemas.microsoft.com/office/powerpoint/2010/main" val="16442202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705363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3" imgW="360" imgH="360" progId="TCLayout.ActiveDocument.1">
                  <p:embed/>
                </p:oleObj>
              </mc:Choice>
              <mc:Fallback>
                <p:oleObj name="think-cellスライド" r:id="rId53" imgW="360" imgH="360" progId="TCLayout.ActiveDocument.1">
                  <p:embed/>
                  <p:pic>
                    <p:nvPicPr>
                      <p:cNvPr id="11" name="Object 10"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サウジアラビ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solidFill>
                  <a:srgbClr val="000000"/>
                </a:solidFill>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増加傾向にあ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急激に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となっている。</a:t>
            </a:r>
          </a:p>
        </p:txBody>
      </p:sp>
      <p:graphicFrame>
        <p:nvGraphicFramePr>
          <p:cNvPr id="8" name="Chart 7">
            <a:extLst>
              <a:ext uri="{FF2B5EF4-FFF2-40B4-BE49-F238E27FC236}">
                <a16:creationId xmlns:a16="http://schemas.microsoft.com/office/drawing/2014/main" id="{8659E907-BA28-795E-2533-753AFB0A7212}"/>
              </a:ext>
            </a:extLst>
          </p:cNvPr>
          <p:cNvGraphicFramePr/>
          <p:nvPr>
            <p:custDataLst>
              <p:tags r:id="rId3"/>
            </p:custDataLst>
            <p:extLst>
              <p:ext uri="{D42A27DB-BD31-4B8C-83A1-F6EECF244321}">
                <p14:modId xmlns:p14="http://schemas.microsoft.com/office/powerpoint/2010/main" val="1054160040"/>
              </p:ext>
            </p:extLst>
          </p:nvPr>
        </p:nvGraphicFramePr>
        <p:xfrm>
          <a:off x="260350" y="2384425"/>
          <a:ext cx="9096375" cy="3524250"/>
        </p:xfrm>
        <a:graphic>
          <a:graphicData uri="http://schemas.openxmlformats.org/drawingml/2006/chart">
            <c:chart xmlns:c="http://schemas.openxmlformats.org/drawingml/2006/chart" xmlns:r="http://schemas.openxmlformats.org/officeDocument/2006/relationships" r:id="rId55"/>
          </a:graphicData>
        </a:graphic>
      </p:graphicFrame>
      <p:sp>
        <p:nvSpPr>
          <p:cNvPr id="92" name="テキスト プレースホルダ 9">
            <a:extLst>
              <a:ext uri="{FF2B5EF4-FFF2-40B4-BE49-F238E27FC236}">
                <a16:creationId xmlns:a16="http://schemas.microsoft.com/office/drawing/2014/main" id="{AEFE1396-D1D5-D1A1-5D33-B28766ECC1EA}"/>
              </a:ext>
            </a:extLst>
          </p:cNvPr>
          <p:cNvSpPr>
            <a:spLocks noGrp="1"/>
          </p:cNvSpPr>
          <p:nvPr>
            <p:custDataLst>
              <p:tags r:id="rId4"/>
            </p:custDataLst>
          </p:nvPr>
        </p:nvSpPr>
        <p:spPr bwMode="auto">
          <a:xfrm>
            <a:off x="665163"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E85AFD-AFAA-47C1-9D00-FBC241197CD8}" type="datetime'''''''''''2''''''''''''''0''0''''''''''''0'''''''''''">
              <a:rPr lang="ja-JP" altLang="en-US" sz="1000" smtClean="0"/>
              <a:pPr/>
              <a:t>2000</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37DB41E4-AADE-0210-8F19-949B3247D83B}"/>
              </a:ext>
            </a:extLst>
          </p:cNvPr>
          <p:cNvSpPr>
            <a:spLocks noGrp="1"/>
          </p:cNvSpPr>
          <p:nvPr>
            <p:custDataLst>
              <p:tags r:id="rId5"/>
            </p:custDataLst>
          </p:nvPr>
        </p:nvSpPr>
        <p:spPr bwMode="gray">
          <a:xfrm>
            <a:off x="1031875" y="51387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D071DA-EA8D-4C91-8DBA-93ACE1AEC14C}" type="datetime'''''''''''''2''1''''.''''''8'''''''''''''''">
              <a:rPr lang="ja-JP" altLang="en-US" sz="1000" smtClean="0">
                <a:solidFill>
                  <a:schemeClr val="bg1"/>
                </a:solidFill>
                <a:effectLst/>
                <a:sym typeface="+mn-lt"/>
              </a:rPr>
              <a:pPr marL="0" lvl="0" indent="0" algn="ctr">
                <a:spcBef>
                  <a:spcPct val="0"/>
                </a:spcBef>
                <a:buNone/>
              </a:pPr>
              <a:t>21.8</a:t>
            </a:fld>
            <a:endParaRPr kumimoji="1" lang="ja-JP" altLang="en-US" sz="1000" dirty="0">
              <a:solidFill>
                <a:schemeClr val="bg1"/>
              </a:solidFill>
              <a:sym typeface="+mn-lt"/>
            </a:endParaRPr>
          </a:p>
        </p:txBody>
      </p:sp>
      <p:sp>
        <p:nvSpPr>
          <p:cNvPr id="93" name="テキスト プレースホルダ 9">
            <a:extLst>
              <a:ext uri="{FF2B5EF4-FFF2-40B4-BE49-F238E27FC236}">
                <a16:creationId xmlns:a16="http://schemas.microsoft.com/office/drawing/2014/main" id="{2E0F2F83-3F05-47C6-577F-721E6D49102A}"/>
              </a:ext>
            </a:extLst>
          </p:cNvPr>
          <p:cNvSpPr>
            <a:spLocks noGrp="1"/>
          </p:cNvSpPr>
          <p:nvPr>
            <p:custDataLst>
              <p:tags r:id="rId6"/>
            </p:custDataLst>
          </p:nvPr>
        </p:nvSpPr>
        <p:spPr bwMode="auto">
          <a:xfrm>
            <a:off x="1095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09816E-D186-4BEB-8C39-81B79610B230}" type="datetime'''''''0''''''''''''''''''''''''''1'">
              <a:rPr lang="ja-JP" altLang="en-US" sz="1000" smtClean="0"/>
              <a:pPr/>
              <a:t>01</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997436AE-7B82-6221-D0C0-B5961EC8C530}"/>
              </a:ext>
            </a:extLst>
          </p:cNvPr>
          <p:cNvSpPr>
            <a:spLocks noGrp="1"/>
          </p:cNvSpPr>
          <p:nvPr>
            <p:custDataLst>
              <p:tags r:id="rId7"/>
            </p:custDataLst>
          </p:nvPr>
        </p:nvSpPr>
        <p:spPr bwMode="gray">
          <a:xfrm>
            <a:off x="1392238" y="5167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6F092B-29C0-40A9-BFB3-5114655FB19A}" type="datetime'''''''''''''''''''''''2''''''''''''0''.''''''''''6'''''">
              <a:rPr lang="ja-JP" altLang="en-US" sz="1000" smtClean="0">
                <a:solidFill>
                  <a:schemeClr val="bg1"/>
                </a:solidFill>
                <a:effectLst/>
                <a:sym typeface="+mn-lt"/>
              </a:rPr>
              <a:pPr marL="0" lvl="0" indent="0" algn="ctr">
                <a:spcBef>
                  <a:spcPct val="0"/>
                </a:spcBef>
                <a:buNone/>
              </a:pPr>
              <a:t>20.6</a:t>
            </a:fld>
            <a:endParaRPr kumimoji="1" lang="ja-JP" altLang="en-US" sz="1000" dirty="0">
              <a:solidFill>
                <a:schemeClr val="bg1"/>
              </a:solidFill>
              <a:sym typeface="+mn-lt"/>
            </a:endParaRPr>
          </a:p>
        </p:txBody>
      </p:sp>
      <p:sp>
        <p:nvSpPr>
          <p:cNvPr id="94" name="テキスト プレースホルダ 9">
            <a:extLst>
              <a:ext uri="{FF2B5EF4-FFF2-40B4-BE49-F238E27FC236}">
                <a16:creationId xmlns:a16="http://schemas.microsoft.com/office/drawing/2014/main" id="{800F1DD1-25A2-0279-736C-7B15338515C1}"/>
              </a:ext>
            </a:extLst>
          </p:cNvPr>
          <p:cNvSpPr>
            <a:spLocks noGrp="1"/>
          </p:cNvSpPr>
          <p:nvPr>
            <p:custDataLst>
              <p:tags r:id="rId8"/>
            </p:custDataLst>
          </p:nvPr>
        </p:nvSpPr>
        <p:spPr bwMode="auto">
          <a:xfrm>
            <a:off x="145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3BDB64-2F91-4B72-AEA4-D5350A711DED}" type="datetime'''''0''''''2'''''''''''''''''''''''''''''''''''''''''''">
              <a:rPr lang="ja-JP" altLang="en-US" sz="1000" smtClean="0"/>
              <a:pPr/>
              <a:t>0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B4F7CA51-F5B5-792B-C964-13BD666FA07D}"/>
              </a:ext>
            </a:extLst>
          </p:cNvPr>
          <p:cNvSpPr>
            <a:spLocks noGrp="1"/>
          </p:cNvSpPr>
          <p:nvPr>
            <p:custDataLst>
              <p:tags r:id="rId9"/>
            </p:custDataLst>
          </p:nvPr>
        </p:nvSpPr>
        <p:spPr bwMode="gray">
          <a:xfrm>
            <a:off x="1752600" y="51577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53DB73-09B1-41C1-AA4F-D54F47F84777}" type="datetime'''''2''''''''''''1''''''''''''''.''''''0'''''''">
              <a:rPr lang="ja-JP" altLang="en-US" sz="1000" smtClean="0">
                <a:solidFill>
                  <a:schemeClr val="bg1"/>
                </a:solidFill>
                <a:effectLst/>
                <a:sym typeface="+mn-lt"/>
              </a:rPr>
              <a:pPr marL="0" lvl="0" indent="0" algn="ctr">
                <a:spcBef>
                  <a:spcPct val="0"/>
                </a:spcBef>
                <a:buNone/>
              </a:pPr>
              <a:t>21.0</a:t>
            </a:fld>
            <a:endParaRPr kumimoji="1" lang="ja-JP" altLang="en-US" sz="1000" dirty="0">
              <a:solidFill>
                <a:schemeClr val="bg1"/>
              </a:solidFill>
              <a:sym typeface="+mn-lt"/>
            </a:endParaRPr>
          </a:p>
        </p:txBody>
      </p:sp>
      <p:sp>
        <p:nvSpPr>
          <p:cNvPr id="95" name="テキスト プレースホルダ 9">
            <a:extLst>
              <a:ext uri="{FF2B5EF4-FFF2-40B4-BE49-F238E27FC236}">
                <a16:creationId xmlns:a16="http://schemas.microsoft.com/office/drawing/2014/main" id="{D6D3EE8F-9887-E653-4382-CFCDCBFC8E16}"/>
              </a:ext>
            </a:extLst>
          </p:cNvPr>
          <p:cNvSpPr>
            <a:spLocks noGrp="1"/>
          </p:cNvSpPr>
          <p:nvPr>
            <p:custDataLst>
              <p:tags r:id="rId10"/>
            </p:custDataLst>
          </p:nvPr>
        </p:nvSpPr>
        <p:spPr bwMode="auto">
          <a:xfrm>
            <a:off x="1816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8FC7BE-6E70-4B4C-BB06-EE00D0452DFA}" type="datetime'''''''''''''''0''''''''''''3'''''''''''''''''''''''''''''''">
              <a:rPr lang="ja-JP" altLang="en-US" sz="1000" smtClean="0"/>
              <a:pPr/>
              <a:t>03</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5AAC5426-A7B4-204A-89B3-A87334ADB11B}"/>
              </a:ext>
            </a:extLst>
          </p:cNvPr>
          <p:cNvSpPr>
            <a:spLocks noGrp="1"/>
          </p:cNvSpPr>
          <p:nvPr>
            <p:custDataLst>
              <p:tags r:id="rId11"/>
            </p:custDataLst>
          </p:nvPr>
        </p:nvSpPr>
        <p:spPr bwMode="gray">
          <a:xfrm>
            <a:off x="2111375" y="5168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0EC32-AD58-442D-936A-C311C17689F9}" type="datetime'''2''''''''''''0''''''.''''''5'''''''">
              <a:rPr lang="ja-JP" altLang="en-US" sz="1000" smtClean="0">
                <a:solidFill>
                  <a:schemeClr val="bg1"/>
                </a:solidFill>
                <a:effectLst/>
                <a:sym typeface="+mn-lt"/>
              </a:rPr>
              <a:pPr marL="0" lvl="0" indent="0" algn="ctr">
                <a:spcBef>
                  <a:spcPct val="0"/>
                </a:spcBef>
                <a:buNone/>
              </a:pPr>
              <a:t>20.5</a:t>
            </a:fld>
            <a:endParaRPr kumimoji="1" lang="ja-JP" altLang="en-US" sz="1000" dirty="0">
              <a:solidFill>
                <a:schemeClr val="bg1"/>
              </a:solidFill>
              <a:sym typeface="+mn-lt"/>
            </a:endParaRPr>
          </a:p>
        </p:txBody>
      </p:sp>
      <p:sp>
        <p:nvSpPr>
          <p:cNvPr id="96" name="テキスト プレースホルダ 9">
            <a:extLst>
              <a:ext uri="{FF2B5EF4-FFF2-40B4-BE49-F238E27FC236}">
                <a16:creationId xmlns:a16="http://schemas.microsoft.com/office/drawing/2014/main" id="{8C1EF421-058F-DC6B-97E8-EE0BA692AF4C}"/>
              </a:ext>
            </a:extLst>
          </p:cNvPr>
          <p:cNvSpPr>
            <a:spLocks noGrp="1"/>
          </p:cNvSpPr>
          <p:nvPr>
            <p:custDataLst>
              <p:tags r:id="rId12"/>
            </p:custDataLst>
          </p:nvPr>
        </p:nvSpPr>
        <p:spPr bwMode="auto">
          <a:xfrm>
            <a:off x="2174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A201EA-B1C5-4DC2-80AF-23C7E9469A86}" type="datetime'''''0''''''''''''''''''''''''''4'''''''''''''">
              <a:rPr lang="ja-JP" altLang="en-US" sz="1000" smtClean="0"/>
              <a:pPr/>
              <a:t>04</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AB9D4C9B-C497-92A8-05C5-061909CF2658}"/>
              </a:ext>
            </a:extLst>
          </p:cNvPr>
          <p:cNvSpPr>
            <a:spLocks noGrp="1"/>
          </p:cNvSpPr>
          <p:nvPr>
            <p:custDataLst>
              <p:tags r:id="rId13"/>
            </p:custDataLst>
          </p:nvPr>
        </p:nvSpPr>
        <p:spPr bwMode="gray">
          <a:xfrm>
            <a:off x="2471738" y="5164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4F20AD-EA13-487C-A719-4DD554AABD7F}" type="datetime'''''''''''2''''0''.''''''''''''''''''''''''''''7'''''''''''">
              <a:rPr lang="ja-JP" altLang="en-US" sz="1000" smtClean="0">
                <a:solidFill>
                  <a:schemeClr val="bg1"/>
                </a:solidFill>
                <a:effectLst/>
                <a:sym typeface="+mn-lt"/>
              </a:rPr>
              <a:pPr marL="0" lvl="0" indent="0" algn="ctr">
                <a:spcBef>
                  <a:spcPct val="0"/>
                </a:spcBef>
                <a:buNone/>
              </a:pPr>
              <a:t>20.7</a:t>
            </a:fld>
            <a:endParaRPr kumimoji="1" lang="ja-JP" altLang="en-US" sz="1000" dirty="0">
              <a:solidFill>
                <a:schemeClr val="bg1"/>
              </a:solidFill>
              <a:sym typeface="+mn-lt"/>
            </a:endParaRPr>
          </a:p>
        </p:txBody>
      </p:sp>
      <p:sp>
        <p:nvSpPr>
          <p:cNvPr id="97" name="テキスト プレースホルダ 9">
            <a:extLst>
              <a:ext uri="{FF2B5EF4-FFF2-40B4-BE49-F238E27FC236}">
                <a16:creationId xmlns:a16="http://schemas.microsoft.com/office/drawing/2014/main" id="{06426C69-93D3-EF80-9875-38812D871294}"/>
              </a:ext>
            </a:extLst>
          </p:cNvPr>
          <p:cNvSpPr>
            <a:spLocks noGrp="1"/>
          </p:cNvSpPr>
          <p:nvPr>
            <p:custDataLst>
              <p:tags r:id="rId14"/>
            </p:custDataLst>
          </p:nvPr>
        </p:nvSpPr>
        <p:spPr bwMode="auto">
          <a:xfrm>
            <a:off x="25352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0C5E19-994F-46BD-9B02-B589D45B0488}" type="datetime'''''0''''5'''''''''">
              <a:rPr lang="ja-JP" altLang="en-US" sz="1000" smtClean="0"/>
              <a:pPr/>
              <a:t>05</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B41806DF-ED0C-D146-5D1D-43B7D2231320}"/>
              </a:ext>
            </a:extLst>
          </p:cNvPr>
          <p:cNvSpPr>
            <a:spLocks noGrp="1"/>
          </p:cNvSpPr>
          <p:nvPr>
            <p:custDataLst>
              <p:tags r:id="rId15"/>
            </p:custDataLst>
          </p:nvPr>
        </p:nvSpPr>
        <p:spPr bwMode="gray">
          <a:xfrm>
            <a:off x="2832100" y="51149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197872-0F49-4230-945F-FA175BB2AA5D}" type="datetime'''22''''''''.''''''''''''7'''''''''''''''''''''''''">
              <a:rPr lang="ja-JP" altLang="en-US" sz="1000" smtClean="0">
                <a:solidFill>
                  <a:schemeClr val="bg1"/>
                </a:solidFill>
                <a:effectLst/>
                <a:sym typeface="+mn-lt"/>
              </a:rPr>
              <a:pPr marL="0" lvl="0" indent="0" algn="ctr">
                <a:spcBef>
                  <a:spcPct val="0"/>
                </a:spcBef>
                <a:buNone/>
              </a:pPr>
              <a:t>22.7</a:t>
            </a:fld>
            <a:endParaRPr kumimoji="1" lang="ja-JP" altLang="en-US" sz="1000" dirty="0">
              <a:solidFill>
                <a:schemeClr val="bg1"/>
              </a:solidFill>
              <a:sym typeface="+mn-lt"/>
            </a:endParaRPr>
          </a:p>
        </p:txBody>
      </p:sp>
      <p:sp>
        <p:nvSpPr>
          <p:cNvPr id="98" name="テキスト プレースホルダ 9">
            <a:extLst>
              <a:ext uri="{FF2B5EF4-FFF2-40B4-BE49-F238E27FC236}">
                <a16:creationId xmlns:a16="http://schemas.microsoft.com/office/drawing/2014/main" id="{F74610CF-D3F9-62A5-026F-3D16088C38C4}"/>
              </a:ext>
            </a:extLst>
          </p:cNvPr>
          <p:cNvSpPr>
            <a:spLocks noGrp="1"/>
          </p:cNvSpPr>
          <p:nvPr>
            <p:custDataLst>
              <p:tags r:id="rId16"/>
            </p:custDataLst>
          </p:nvPr>
        </p:nvSpPr>
        <p:spPr bwMode="auto">
          <a:xfrm>
            <a:off x="2895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39C2C0-7012-4933-8C09-CFAAC17E6AF3}" type="datetime'0''6'''''''''''''''''''''''''''''''''''''''''">
              <a:rPr lang="ja-JP" altLang="en-US" sz="1000" smtClean="0"/>
              <a:pPr/>
              <a:t>06</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A02AD72B-9E97-A7E7-BA3E-5B47251BB73D}"/>
              </a:ext>
            </a:extLst>
          </p:cNvPr>
          <p:cNvSpPr>
            <a:spLocks noGrp="1"/>
          </p:cNvSpPr>
          <p:nvPr>
            <p:custDataLst>
              <p:tags r:id="rId17"/>
            </p:custDataLst>
          </p:nvPr>
        </p:nvSpPr>
        <p:spPr bwMode="gray">
          <a:xfrm>
            <a:off x="3192463" y="51117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CA291-E711-4211-88F8-C4BB7A0F03BC}" type="datetime'''''''''''''''''''''''''''''22.''''''8'''''''''''''''''">
              <a:rPr lang="ja-JP" altLang="en-US" sz="1000" smtClean="0">
                <a:solidFill>
                  <a:schemeClr val="bg1"/>
                </a:solidFill>
                <a:effectLst/>
                <a:sym typeface="+mn-lt"/>
              </a:rPr>
              <a:pPr marL="0" lvl="0" indent="0" algn="ctr">
                <a:spcBef>
                  <a:spcPct val="0"/>
                </a:spcBef>
                <a:buNone/>
              </a:pPr>
              <a:t>22.8</a:t>
            </a:fld>
            <a:endParaRPr kumimoji="1" lang="ja-JP" altLang="en-US" sz="1000" dirty="0">
              <a:solidFill>
                <a:schemeClr val="bg1"/>
              </a:solidFill>
              <a:sym typeface="+mn-lt"/>
            </a:endParaRPr>
          </a:p>
        </p:txBody>
      </p:sp>
      <p:sp>
        <p:nvSpPr>
          <p:cNvPr id="99" name="テキスト プレースホルダ 9">
            <a:extLst>
              <a:ext uri="{FF2B5EF4-FFF2-40B4-BE49-F238E27FC236}">
                <a16:creationId xmlns:a16="http://schemas.microsoft.com/office/drawing/2014/main" id="{AF8C1B4A-540C-96DF-DF33-22AB199F3A8D}"/>
              </a:ext>
            </a:extLst>
          </p:cNvPr>
          <p:cNvSpPr>
            <a:spLocks noGrp="1"/>
          </p:cNvSpPr>
          <p:nvPr>
            <p:custDataLst>
              <p:tags r:id="rId18"/>
            </p:custDataLst>
          </p:nvPr>
        </p:nvSpPr>
        <p:spPr bwMode="auto">
          <a:xfrm>
            <a:off x="3255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F58E4A-2ADD-4E9D-9A34-BCF85E87C6CF}" type="datetime'0''''''''''''''7'''''''''">
              <a:rPr lang="ja-JP" altLang="en-US" sz="1000" smtClean="0"/>
              <a:pPr/>
              <a:t>07</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AD477C01-A869-C885-6EC6-ED28E6D29FD4}"/>
              </a:ext>
            </a:extLst>
          </p:cNvPr>
          <p:cNvSpPr>
            <a:spLocks noGrp="1"/>
          </p:cNvSpPr>
          <p:nvPr>
            <p:custDataLst>
              <p:tags r:id="rId19"/>
            </p:custDataLst>
          </p:nvPr>
        </p:nvSpPr>
        <p:spPr bwMode="gray">
          <a:xfrm>
            <a:off x="3552825" y="51768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78A270-55B1-47FF-A9E1-16855F25A658}" type="datetime'''''''2''''''''0''''''''''''''.''''''''''''''''''2'''''''">
              <a:rPr lang="ja-JP" altLang="en-US" sz="1000" smtClean="0">
                <a:solidFill>
                  <a:schemeClr val="bg1"/>
                </a:solidFill>
                <a:effectLst/>
                <a:sym typeface="+mn-lt"/>
              </a:rPr>
              <a:pPr marL="0" lvl="0" indent="0" algn="ctr">
                <a:spcBef>
                  <a:spcPct val="0"/>
                </a:spcBef>
                <a:buNone/>
              </a:pPr>
              <a:t>20.2</a:t>
            </a:fld>
            <a:endParaRPr kumimoji="1" lang="ja-JP" altLang="en-US" sz="1000" dirty="0">
              <a:solidFill>
                <a:schemeClr val="bg1"/>
              </a:solidFill>
              <a:sym typeface="+mn-lt"/>
            </a:endParaRPr>
          </a:p>
        </p:txBody>
      </p:sp>
      <p:sp>
        <p:nvSpPr>
          <p:cNvPr id="100" name="テキスト プレースホルダ 9">
            <a:extLst>
              <a:ext uri="{FF2B5EF4-FFF2-40B4-BE49-F238E27FC236}">
                <a16:creationId xmlns:a16="http://schemas.microsoft.com/office/drawing/2014/main" id="{5DD46BCD-FA4D-B59F-C8A1-AD07810C8E25}"/>
              </a:ext>
            </a:extLst>
          </p:cNvPr>
          <p:cNvSpPr>
            <a:spLocks noGrp="1"/>
          </p:cNvSpPr>
          <p:nvPr>
            <p:custDataLst>
              <p:tags r:id="rId20"/>
            </p:custDataLst>
          </p:nvPr>
        </p:nvSpPr>
        <p:spPr bwMode="auto">
          <a:xfrm>
            <a:off x="3616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5404A1-3B10-46BB-813D-02A85DA1CB31}" type="datetime'''''''''''''''''''''0''''''''''8'''''''''''''''''''''''">
              <a:rPr lang="ja-JP" altLang="en-US" sz="1000" smtClean="0"/>
              <a:pPr/>
              <a:t>08</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8583BC1E-9D07-94F2-C1E0-C78146B1F593}"/>
              </a:ext>
            </a:extLst>
          </p:cNvPr>
          <p:cNvSpPr>
            <a:spLocks noGrp="1"/>
          </p:cNvSpPr>
          <p:nvPr>
            <p:custDataLst>
              <p:tags r:id="rId21"/>
            </p:custDataLst>
          </p:nvPr>
        </p:nvSpPr>
        <p:spPr bwMode="gray">
          <a:xfrm>
            <a:off x="3913188" y="4962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AB4401-948C-401C-AA6D-1AE68E13A9EF}" type="datetime'''''''2''''''''''''''''8''''.''''''''''''''9'''">
              <a:rPr lang="ja-JP" altLang="en-US" sz="1000" smtClean="0">
                <a:solidFill>
                  <a:schemeClr val="bg1"/>
                </a:solidFill>
                <a:effectLst/>
                <a:sym typeface="+mn-lt"/>
              </a:rPr>
              <a:pPr marL="0" lvl="0" indent="0" algn="ctr">
                <a:spcBef>
                  <a:spcPct val="0"/>
                </a:spcBef>
                <a:buNone/>
              </a:pPr>
              <a:t>28.9</a:t>
            </a:fld>
            <a:endParaRPr kumimoji="1" lang="ja-JP" altLang="en-US" sz="1000" dirty="0">
              <a:solidFill>
                <a:schemeClr val="bg1"/>
              </a:solidFill>
              <a:sym typeface="+mn-lt"/>
            </a:endParaRPr>
          </a:p>
        </p:txBody>
      </p:sp>
      <p:sp>
        <p:nvSpPr>
          <p:cNvPr id="101" name="テキスト プレースホルダ 9">
            <a:extLst>
              <a:ext uri="{FF2B5EF4-FFF2-40B4-BE49-F238E27FC236}">
                <a16:creationId xmlns:a16="http://schemas.microsoft.com/office/drawing/2014/main" id="{BD2FE68D-1DB5-57FC-E4B5-CA328C4F7ED6}"/>
              </a:ext>
            </a:extLst>
          </p:cNvPr>
          <p:cNvSpPr>
            <a:spLocks noGrp="1"/>
          </p:cNvSpPr>
          <p:nvPr>
            <p:custDataLst>
              <p:tags r:id="rId22"/>
            </p:custDataLst>
          </p:nvPr>
        </p:nvSpPr>
        <p:spPr bwMode="auto">
          <a:xfrm>
            <a:off x="3976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3648EB-F0F3-44C4-8B00-AF3B685F6B91}" type="datetime'''''''''''''''''''''''''''''''''''''''''''''0''''9'''''''''">
              <a:rPr lang="ja-JP" altLang="en-US" sz="1000" smtClean="0"/>
              <a:pPr/>
              <a:t>09</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F29129F7-D63F-05D2-82B1-C8DC18650E26}"/>
              </a:ext>
            </a:extLst>
          </p:cNvPr>
          <p:cNvSpPr>
            <a:spLocks noGrp="1"/>
          </p:cNvSpPr>
          <p:nvPr>
            <p:custDataLst>
              <p:tags r:id="rId23"/>
            </p:custDataLst>
          </p:nvPr>
        </p:nvSpPr>
        <p:spPr bwMode="gray">
          <a:xfrm>
            <a:off x="4271963" y="50387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441772-2B81-44BE-A78E-279DBAF84EF2}" type="datetime'''2''''''''''''''''''''''''''5.''''''''''''''8'">
              <a:rPr lang="ja-JP" altLang="en-US" sz="1000" smtClean="0">
                <a:solidFill>
                  <a:schemeClr val="bg1"/>
                </a:solidFill>
                <a:effectLst/>
                <a:sym typeface="+mn-lt"/>
              </a:rPr>
              <a:pPr marL="0" lvl="0" indent="0" algn="ctr">
                <a:spcBef>
                  <a:spcPct val="0"/>
                </a:spcBef>
                <a:buNone/>
              </a:pPr>
              <a:t>25.8</a:t>
            </a:fld>
            <a:endParaRPr kumimoji="1" lang="ja-JP" altLang="en-US" sz="1000" dirty="0">
              <a:solidFill>
                <a:schemeClr val="bg1"/>
              </a:solidFill>
              <a:sym typeface="+mn-lt"/>
            </a:endParaRPr>
          </a:p>
        </p:txBody>
      </p:sp>
      <p:sp>
        <p:nvSpPr>
          <p:cNvPr id="102" name="テキスト プレースホルダ 9">
            <a:extLst>
              <a:ext uri="{FF2B5EF4-FFF2-40B4-BE49-F238E27FC236}">
                <a16:creationId xmlns:a16="http://schemas.microsoft.com/office/drawing/2014/main" id="{F6EC9763-826C-E04E-E797-112C08D5AE6A}"/>
              </a:ext>
            </a:extLst>
          </p:cNvPr>
          <p:cNvSpPr>
            <a:spLocks noGrp="1"/>
          </p:cNvSpPr>
          <p:nvPr>
            <p:custDataLst>
              <p:tags r:id="rId24"/>
            </p:custDataLst>
          </p:nvPr>
        </p:nvSpPr>
        <p:spPr bwMode="auto">
          <a:xfrm>
            <a:off x="4335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CDDE6E-660D-4346-8CAB-959E9073B8CF}" type="datetime'''''''''''''''''''''''''''''''''''''1''''''''''''''''''''''0'">
              <a:rPr lang="ja-JP" altLang="en-US" sz="1000" smtClean="0"/>
              <a:pPr/>
              <a:t>1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3FDFA578-17BB-FF34-3BA6-FFC6989F60C7}"/>
              </a:ext>
            </a:extLst>
          </p:cNvPr>
          <p:cNvSpPr>
            <a:spLocks noGrp="1"/>
          </p:cNvSpPr>
          <p:nvPr>
            <p:custDataLst>
              <p:tags r:id="rId25"/>
            </p:custDataLst>
          </p:nvPr>
        </p:nvSpPr>
        <p:spPr bwMode="gray">
          <a:xfrm>
            <a:off x="4632325" y="4962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5C57E2-38B0-45E8-A0A7-42FE5DEFE25E}" type="datetime'''2''''''''''''''''''''''''''''''''''''''''8''''.''''9'">
              <a:rPr lang="ja-JP" altLang="en-US" sz="1000" smtClean="0">
                <a:solidFill>
                  <a:schemeClr val="bg1"/>
                </a:solidFill>
                <a:effectLst/>
                <a:sym typeface="+mn-lt"/>
              </a:rPr>
              <a:pPr marL="0" lvl="0" indent="0" algn="ctr">
                <a:spcBef>
                  <a:spcPct val="0"/>
                </a:spcBef>
                <a:buNone/>
              </a:pPr>
              <a:t>28.9</a:t>
            </a:fld>
            <a:endParaRPr kumimoji="1" lang="ja-JP" altLang="en-US" sz="1000" dirty="0">
              <a:solidFill>
                <a:schemeClr val="bg1"/>
              </a:solidFill>
              <a:sym typeface="+mn-lt"/>
            </a:endParaRPr>
          </a:p>
        </p:txBody>
      </p:sp>
      <p:sp>
        <p:nvSpPr>
          <p:cNvPr id="103" name="テキスト プレースホルダ 9">
            <a:extLst>
              <a:ext uri="{FF2B5EF4-FFF2-40B4-BE49-F238E27FC236}">
                <a16:creationId xmlns:a16="http://schemas.microsoft.com/office/drawing/2014/main" id="{67A3D0B0-93ED-D14F-566A-C5E110E41FF4}"/>
              </a:ext>
            </a:extLst>
          </p:cNvPr>
          <p:cNvSpPr>
            <a:spLocks noGrp="1"/>
          </p:cNvSpPr>
          <p:nvPr>
            <p:custDataLst>
              <p:tags r:id="rId26"/>
            </p:custDataLst>
          </p:nvPr>
        </p:nvSpPr>
        <p:spPr bwMode="auto">
          <a:xfrm>
            <a:off x="4695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2761D6-F6DA-421A-845A-8B7FD9C387D3}" type="datetime'''''1''''''''''''''''''''''''''''1'''''''''''''">
              <a:rPr lang="ja-JP" altLang="en-US" sz="1000" smtClean="0"/>
              <a:pPr/>
              <a:t>11</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CC388D5C-FEDA-0200-DBC8-2A1F3579D10E}"/>
              </a:ext>
            </a:extLst>
          </p:cNvPr>
          <p:cNvSpPr>
            <a:spLocks noGrp="1"/>
          </p:cNvSpPr>
          <p:nvPr>
            <p:custDataLst>
              <p:tags r:id="rId27"/>
            </p:custDataLst>
          </p:nvPr>
        </p:nvSpPr>
        <p:spPr bwMode="gray">
          <a:xfrm>
            <a:off x="4992688" y="48609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AB6034-F9FD-4F16-9B52-CFC21512BE1B}" type="datetime'3''''''''''''3''''.''''''''''''''''0'">
              <a:rPr lang="ja-JP" altLang="en-US" sz="1000" smtClean="0">
                <a:solidFill>
                  <a:schemeClr val="bg1"/>
                </a:solidFill>
                <a:effectLst/>
                <a:sym typeface="+mn-lt"/>
              </a:rPr>
              <a:pPr marL="0" lvl="0" indent="0" algn="ctr">
                <a:spcBef>
                  <a:spcPct val="0"/>
                </a:spcBef>
                <a:buNone/>
              </a:pPr>
              <a:t>33.0</a:t>
            </a:fld>
            <a:endParaRPr kumimoji="1" lang="ja-JP" altLang="en-US" sz="1000" dirty="0">
              <a:solidFill>
                <a:schemeClr val="bg1"/>
              </a:solidFill>
              <a:sym typeface="+mn-lt"/>
            </a:endParaRPr>
          </a:p>
        </p:txBody>
      </p:sp>
      <p:sp>
        <p:nvSpPr>
          <p:cNvPr id="104" name="テキスト プレースホルダ 9">
            <a:extLst>
              <a:ext uri="{FF2B5EF4-FFF2-40B4-BE49-F238E27FC236}">
                <a16:creationId xmlns:a16="http://schemas.microsoft.com/office/drawing/2014/main" id="{FBFDBFD3-173A-EF48-0059-92BBB097AD80}"/>
              </a:ext>
            </a:extLst>
          </p:cNvPr>
          <p:cNvSpPr>
            <a:spLocks noGrp="1"/>
          </p:cNvSpPr>
          <p:nvPr>
            <p:custDataLst>
              <p:tags r:id="rId28"/>
            </p:custDataLst>
          </p:nvPr>
        </p:nvSpPr>
        <p:spPr bwMode="auto">
          <a:xfrm>
            <a:off x="5056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7449B-BC1A-4C1B-BC5E-0880C1FE8979}" type="datetime'''''''''''1''''''''2'''''''''''''''''''''''''''''">
              <a:rPr lang="ja-JP" altLang="en-US" sz="1000" smtClean="0"/>
              <a:pPr/>
              <a:t>12</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9A48CDEA-1CF3-F4C5-175A-30633942E5AE}"/>
              </a:ext>
            </a:extLst>
          </p:cNvPr>
          <p:cNvSpPr>
            <a:spLocks noGrp="1"/>
          </p:cNvSpPr>
          <p:nvPr>
            <p:custDataLst>
              <p:tags r:id="rId29"/>
            </p:custDataLst>
          </p:nvPr>
        </p:nvSpPr>
        <p:spPr bwMode="gray">
          <a:xfrm>
            <a:off x="5353050" y="4748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D8CCC0-F33D-4BFB-87D0-19A68A7D9938}" type="datetime'''''37''''.''''''''''''''''''5'''''''''''''''''''''''''">
              <a:rPr lang="ja-JP" altLang="en-US" sz="1000" smtClean="0">
                <a:solidFill>
                  <a:schemeClr val="bg1"/>
                </a:solidFill>
                <a:effectLst/>
                <a:sym typeface="+mn-lt"/>
              </a:rPr>
              <a:pPr marL="0" lvl="0" indent="0" algn="ctr">
                <a:spcBef>
                  <a:spcPct val="0"/>
                </a:spcBef>
                <a:buNone/>
              </a:pPr>
              <a:t>37.5</a:t>
            </a:fld>
            <a:endParaRPr kumimoji="1" lang="ja-JP" altLang="en-US" sz="1000" dirty="0">
              <a:solidFill>
                <a:schemeClr val="bg1"/>
              </a:solidFill>
              <a:sym typeface="+mn-lt"/>
            </a:endParaRPr>
          </a:p>
        </p:txBody>
      </p:sp>
      <p:sp>
        <p:nvSpPr>
          <p:cNvPr id="105" name="テキスト プレースホルダ 9">
            <a:extLst>
              <a:ext uri="{FF2B5EF4-FFF2-40B4-BE49-F238E27FC236}">
                <a16:creationId xmlns:a16="http://schemas.microsoft.com/office/drawing/2014/main" id="{E812C8F0-1E4E-EB38-D1BF-E2F79ABBDB16}"/>
              </a:ext>
            </a:extLst>
          </p:cNvPr>
          <p:cNvSpPr>
            <a:spLocks noGrp="1"/>
          </p:cNvSpPr>
          <p:nvPr>
            <p:custDataLst>
              <p:tags r:id="rId30"/>
            </p:custDataLst>
          </p:nvPr>
        </p:nvSpPr>
        <p:spPr bwMode="auto">
          <a:xfrm>
            <a:off x="5416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88663-AAE2-4499-A22E-72B937505E0A}" type="datetime'''''''''''''''1''''''''''''''''''''3'''''''''''''''">
              <a:rPr lang="ja-JP" altLang="en-US" sz="1000" smtClean="0"/>
              <a:pPr/>
              <a:t>13</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4EDCAB3E-5D2B-A952-5514-6422ED1D20F8}"/>
              </a:ext>
            </a:extLst>
          </p:cNvPr>
          <p:cNvSpPr>
            <a:spLocks noGrp="1"/>
          </p:cNvSpPr>
          <p:nvPr>
            <p:custDataLst>
              <p:tags r:id="rId31"/>
            </p:custDataLst>
          </p:nvPr>
        </p:nvSpPr>
        <p:spPr bwMode="gray">
          <a:xfrm>
            <a:off x="5713413" y="4552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9F41F5-8B27-43A9-9D09-693577326D11}" type="datetime'''45''''''.''''''''''''''''''''''''''''''5'''''''''''''">
              <a:rPr lang="ja-JP" altLang="en-US" sz="1000" smtClean="0">
                <a:solidFill>
                  <a:schemeClr val="bg1"/>
                </a:solidFill>
                <a:effectLst/>
                <a:sym typeface="+mn-lt"/>
              </a:rPr>
              <a:pPr marL="0" lvl="0" indent="0" algn="ctr">
                <a:spcBef>
                  <a:spcPct val="0"/>
                </a:spcBef>
                <a:buNone/>
              </a:pPr>
              <a:t>45.5</a:t>
            </a:fld>
            <a:endParaRPr kumimoji="1" lang="ja-JP" altLang="en-US" sz="1000" dirty="0">
              <a:solidFill>
                <a:schemeClr val="bg1"/>
              </a:solidFill>
              <a:sym typeface="+mn-lt"/>
            </a:endParaRPr>
          </a:p>
        </p:txBody>
      </p:sp>
      <p:sp>
        <p:nvSpPr>
          <p:cNvPr id="106" name="テキスト プレースホルダ 9">
            <a:extLst>
              <a:ext uri="{FF2B5EF4-FFF2-40B4-BE49-F238E27FC236}">
                <a16:creationId xmlns:a16="http://schemas.microsoft.com/office/drawing/2014/main" id="{96EB8757-D17E-34DB-B9EE-91572056F782}"/>
              </a:ext>
            </a:extLst>
          </p:cNvPr>
          <p:cNvSpPr>
            <a:spLocks noGrp="1"/>
          </p:cNvSpPr>
          <p:nvPr>
            <p:custDataLst>
              <p:tags r:id="rId32"/>
            </p:custDataLst>
          </p:nvPr>
        </p:nvSpPr>
        <p:spPr bwMode="auto">
          <a:xfrm>
            <a:off x="5776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ED7362-31AA-4D46-9D52-B2D8FCC2B334}" type="datetime'''''''''''''''''1''''4'''''''''''''">
              <a:rPr lang="ja-JP" altLang="en-US" sz="1000" smtClean="0"/>
              <a:pPr/>
              <a:t>14</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12B0CE4F-FB71-1218-308D-A6D551CEE121}"/>
              </a:ext>
            </a:extLst>
          </p:cNvPr>
          <p:cNvSpPr>
            <a:spLocks noGrp="1"/>
          </p:cNvSpPr>
          <p:nvPr>
            <p:custDataLst>
              <p:tags r:id="rId33"/>
            </p:custDataLst>
          </p:nvPr>
        </p:nvSpPr>
        <p:spPr bwMode="gray">
          <a:xfrm>
            <a:off x="6073775" y="43418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38EAE3-8169-4DBE-8586-10D24BD06D29}" type="datetime'''''5''''''''4''''''''''''''''''''''''''''''''.''''''''0'''">
              <a:rPr lang="ja-JP" altLang="en-US" sz="1000" smtClean="0">
                <a:solidFill>
                  <a:schemeClr val="bg1"/>
                </a:solidFill>
                <a:effectLst/>
                <a:sym typeface="+mn-lt"/>
              </a:rPr>
              <a:pPr marL="0" lvl="0" indent="0" algn="ctr">
                <a:spcBef>
                  <a:spcPct val="0"/>
                </a:spcBef>
                <a:buNone/>
              </a:pPr>
              <a:t>54.0</a:t>
            </a:fld>
            <a:endParaRPr kumimoji="1" lang="ja-JP" altLang="en-US" sz="1000" dirty="0">
              <a:solidFill>
                <a:schemeClr val="bg1"/>
              </a:solidFill>
              <a:sym typeface="+mn-lt"/>
            </a:endParaRPr>
          </a:p>
        </p:txBody>
      </p:sp>
      <p:sp>
        <p:nvSpPr>
          <p:cNvPr id="107" name="テキスト プレースホルダ 9">
            <a:extLst>
              <a:ext uri="{FF2B5EF4-FFF2-40B4-BE49-F238E27FC236}">
                <a16:creationId xmlns:a16="http://schemas.microsoft.com/office/drawing/2014/main" id="{06A99321-DC95-DA6B-3D7C-8681766B43A6}"/>
              </a:ext>
            </a:extLst>
          </p:cNvPr>
          <p:cNvSpPr>
            <a:spLocks noGrp="1"/>
          </p:cNvSpPr>
          <p:nvPr>
            <p:custDataLst>
              <p:tags r:id="rId34"/>
            </p:custDataLst>
          </p:nvPr>
        </p:nvSpPr>
        <p:spPr bwMode="auto">
          <a:xfrm>
            <a:off x="6137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214052-E501-4E03-A6EF-B7B0DB6AAD5B}" type="datetime'''''''''''1''''''''''''''''''''''''''''''5'''''''''''''''">
              <a:rPr lang="ja-JP" altLang="en-US" sz="1000" smtClean="0"/>
              <a:pPr/>
              <a:t>15</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8391B939-DF48-A5DE-A4A8-D27167573A8E}"/>
              </a:ext>
            </a:extLst>
          </p:cNvPr>
          <p:cNvSpPr>
            <a:spLocks noGrp="1"/>
          </p:cNvSpPr>
          <p:nvPr>
            <p:custDataLst>
              <p:tags r:id="rId35"/>
            </p:custDataLst>
          </p:nvPr>
        </p:nvSpPr>
        <p:spPr bwMode="gray">
          <a:xfrm>
            <a:off x="6432550" y="42291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B837A1-27E3-4398-AEF2-C2DA8CDFDEFA}" type="datetime'''''''''''58''''''''''''.''''''''''''''''''''6'">
              <a:rPr lang="ja-JP" altLang="en-US" sz="1000" smtClean="0">
                <a:solidFill>
                  <a:schemeClr val="bg1"/>
                </a:solidFill>
                <a:effectLst/>
                <a:sym typeface="+mn-lt"/>
              </a:rPr>
              <a:pPr marL="0" lvl="0" indent="0" algn="ctr">
                <a:spcBef>
                  <a:spcPct val="0"/>
                </a:spcBef>
                <a:buNone/>
              </a:pPr>
              <a:t>58.6</a:t>
            </a:fld>
            <a:endParaRPr kumimoji="1" lang="ja-JP" altLang="en-US" sz="1000" dirty="0">
              <a:solidFill>
                <a:schemeClr val="bg1"/>
              </a:solidFill>
              <a:sym typeface="+mn-lt"/>
            </a:endParaRPr>
          </a:p>
        </p:txBody>
      </p:sp>
      <p:sp>
        <p:nvSpPr>
          <p:cNvPr id="108" name="テキスト プレースホルダ 9">
            <a:extLst>
              <a:ext uri="{FF2B5EF4-FFF2-40B4-BE49-F238E27FC236}">
                <a16:creationId xmlns:a16="http://schemas.microsoft.com/office/drawing/2014/main" id="{43CF57DE-9A55-EA41-B35B-C92B51238BE8}"/>
              </a:ext>
            </a:extLst>
          </p:cNvPr>
          <p:cNvSpPr>
            <a:spLocks noGrp="1"/>
          </p:cNvSpPr>
          <p:nvPr>
            <p:custDataLst>
              <p:tags r:id="rId36"/>
            </p:custDataLst>
          </p:nvPr>
        </p:nvSpPr>
        <p:spPr bwMode="auto">
          <a:xfrm>
            <a:off x="6496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80442-2B9C-4FCA-A50A-D657658017BC}" type="datetime'''''''1''''''''''''''''''''''''6'''''''">
              <a:rPr lang="ja-JP" altLang="en-US" sz="1000" smtClean="0"/>
              <a:pPr/>
              <a:t>16</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BB615DDC-7B9B-994C-B2C4-F9B961233BE6}"/>
              </a:ext>
            </a:extLst>
          </p:cNvPr>
          <p:cNvSpPr>
            <a:spLocks noGrp="1"/>
          </p:cNvSpPr>
          <p:nvPr>
            <p:custDataLst>
              <p:tags r:id="rId37"/>
            </p:custDataLst>
          </p:nvPr>
        </p:nvSpPr>
        <p:spPr bwMode="gray">
          <a:xfrm>
            <a:off x="6792913" y="42656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760B3C-DA46-45E0-B1ED-C91C44380846}" type="datetime'''''''5''''''''7''''''''''''''''.''1'''''''''">
              <a:rPr lang="ja-JP" altLang="en-US" sz="1000" smtClean="0">
                <a:solidFill>
                  <a:schemeClr val="bg1"/>
                </a:solidFill>
                <a:effectLst/>
                <a:sym typeface="+mn-lt"/>
              </a:rPr>
              <a:pPr marL="0" lvl="0" indent="0" algn="ctr">
                <a:spcBef>
                  <a:spcPct val="0"/>
                </a:spcBef>
                <a:buNone/>
              </a:pPr>
              <a:t>57.1</a:t>
            </a:fld>
            <a:endParaRPr kumimoji="1" lang="ja-JP" altLang="en-US" sz="1000" dirty="0">
              <a:solidFill>
                <a:schemeClr val="bg1"/>
              </a:solidFill>
              <a:sym typeface="+mn-lt"/>
            </a:endParaRPr>
          </a:p>
        </p:txBody>
      </p:sp>
      <p:sp>
        <p:nvSpPr>
          <p:cNvPr id="109" name="テキスト プレースホルダ 9">
            <a:extLst>
              <a:ext uri="{FF2B5EF4-FFF2-40B4-BE49-F238E27FC236}">
                <a16:creationId xmlns:a16="http://schemas.microsoft.com/office/drawing/2014/main" id="{591CAC8E-8FAC-A58C-771B-E25D8D7D36B9}"/>
              </a:ext>
            </a:extLst>
          </p:cNvPr>
          <p:cNvSpPr>
            <a:spLocks noGrp="1"/>
          </p:cNvSpPr>
          <p:nvPr>
            <p:custDataLst>
              <p:tags r:id="rId38"/>
            </p:custDataLst>
          </p:nvPr>
        </p:nvSpPr>
        <p:spPr bwMode="auto">
          <a:xfrm>
            <a:off x="68564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B628FA-6C13-4E80-9CA8-D60D41D306D9}" type="datetime'''''''''''1''''''''''''''''7'''''''''''''''''''''''''">
              <a:rPr lang="ja-JP" altLang="en-US" sz="1000" smtClean="0"/>
              <a:pPr/>
              <a:t>17</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12B840F7-50F8-3B0F-C145-DCB37DEA26F1}"/>
              </a:ext>
            </a:extLst>
          </p:cNvPr>
          <p:cNvSpPr>
            <a:spLocks noGrp="1"/>
          </p:cNvSpPr>
          <p:nvPr>
            <p:custDataLst>
              <p:tags r:id="rId39"/>
            </p:custDataLst>
          </p:nvPr>
        </p:nvSpPr>
        <p:spPr bwMode="gray">
          <a:xfrm>
            <a:off x="671512" y="51704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5297EE-AA52-4BE4-9207-6CDC1EB816B6}" type="datetime'''''''''''''''''''''20''.''''5'''''''''''''''''''">
              <a:rPr lang="ja-JP" altLang="en-US" sz="1000" smtClean="0">
                <a:solidFill>
                  <a:schemeClr val="bg1"/>
                </a:solidFill>
              </a:rPr>
              <a:pPr/>
              <a:t>20.5</a:t>
            </a:fld>
            <a:endParaRPr kumimoji="1" lang="ja-JP" altLang="en-US" sz="1000" dirty="0">
              <a:solidFill>
                <a:schemeClr val="bg1"/>
              </a:solidFill>
              <a:sym typeface="+mn-lt"/>
            </a:endParaRPr>
          </a:p>
        </p:txBody>
      </p:sp>
      <p:sp>
        <p:nvSpPr>
          <p:cNvPr id="110" name="テキスト プレースホルダ 9">
            <a:extLst>
              <a:ext uri="{FF2B5EF4-FFF2-40B4-BE49-F238E27FC236}">
                <a16:creationId xmlns:a16="http://schemas.microsoft.com/office/drawing/2014/main" id="{AE4DA709-E493-3C97-5353-5C85B41E7269}"/>
              </a:ext>
            </a:extLst>
          </p:cNvPr>
          <p:cNvSpPr>
            <a:spLocks noGrp="1"/>
          </p:cNvSpPr>
          <p:nvPr>
            <p:custDataLst>
              <p:tags r:id="rId40"/>
            </p:custDataLst>
          </p:nvPr>
        </p:nvSpPr>
        <p:spPr bwMode="auto">
          <a:xfrm>
            <a:off x="7216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B9841-B5D4-4854-978E-C173B0C44C33}" type="datetime'''''''''''1''''''''''''8'''''''''''">
              <a:rPr lang="ja-JP" altLang="en-US" sz="1000" smtClean="0"/>
              <a:pPr/>
              <a:t>18</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2694F35A-B71C-E029-8F3E-043C1D07F57C}"/>
              </a:ext>
            </a:extLst>
          </p:cNvPr>
          <p:cNvSpPr>
            <a:spLocks noGrp="1"/>
          </p:cNvSpPr>
          <p:nvPr>
            <p:custDataLst>
              <p:tags r:id="rId41"/>
            </p:custDataLst>
          </p:nvPr>
        </p:nvSpPr>
        <p:spPr bwMode="gray">
          <a:xfrm>
            <a:off x="7513638" y="43418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0FB40-B918-4712-8C09-D147816B14B8}" type="datetime'''''''54''''.''''0'''''''''''''''''''''''''''''''''''''''''">
              <a:rPr lang="ja-JP" altLang="en-US" sz="1000" smtClean="0">
                <a:solidFill>
                  <a:schemeClr val="bg1"/>
                </a:solidFill>
                <a:effectLst/>
                <a:sym typeface="+mn-lt"/>
              </a:rPr>
              <a:pPr marL="0" lvl="0" indent="0" algn="ctr">
                <a:spcBef>
                  <a:spcPct val="0"/>
                </a:spcBef>
                <a:buNone/>
              </a:pPr>
              <a:t>54.0</a:t>
            </a:fld>
            <a:endParaRPr kumimoji="1" lang="ja-JP" altLang="en-US" sz="1000" dirty="0">
              <a:solidFill>
                <a:schemeClr val="bg1"/>
              </a:solidFill>
              <a:sym typeface="+mn-lt"/>
            </a:endParaRPr>
          </a:p>
        </p:txBody>
      </p:sp>
      <p:sp>
        <p:nvSpPr>
          <p:cNvPr id="111" name="テキスト プレースホルダ 9">
            <a:extLst>
              <a:ext uri="{FF2B5EF4-FFF2-40B4-BE49-F238E27FC236}">
                <a16:creationId xmlns:a16="http://schemas.microsoft.com/office/drawing/2014/main" id="{98A50E1D-54C5-5B74-B9DF-DC7DC42C805F}"/>
              </a:ext>
            </a:extLst>
          </p:cNvPr>
          <p:cNvSpPr>
            <a:spLocks noGrp="1"/>
          </p:cNvSpPr>
          <p:nvPr>
            <p:custDataLst>
              <p:tags r:id="rId42"/>
            </p:custDataLst>
          </p:nvPr>
        </p:nvSpPr>
        <p:spPr bwMode="auto">
          <a:xfrm>
            <a:off x="7577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246FE7-483A-4C6C-8BF6-51A3E7E27FA2}" type="datetime'''''''''''''''''''''''''''1''''''''''''9'''''''''''''''">
              <a:rPr lang="ja-JP" altLang="en-US" sz="1000" smtClean="0"/>
              <a:pPr/>
              <a:t>19</a:t>
            </a:fld>
            <a:endParaRPr kumimoji="1" lang="ja-JP" altLang="en-US" sz="1000" dirty="0">
              <a:sym typeface="+mn-lt"/>
            </a:endParaRPr>
          </a:p>
        </p:txBody>
      </p:sp>
      <p:sp>
        <p:nvSpPr>
          <p:cNvPr id="140" name="テキスト プレースホルダ 9">
            <a:extLst>
              <a:ext uri="{FF2B5EF4-FFF2-40B4-BE49-F238E27FC236}">
                <a16:creationId xmlns:a16="http://schemas.microsoft.com/office/drawing/2014/main" id="{46FA9B97-A15B-0ED2-18BD-A2357D67EF9B}"/>
              </a:ext>
            </a:extLst>
          </p:cNvPr>
          <p:cNvSpPr>
            <a:spLocks noGrp="1"/>
          </p:cNvSpPr>
          <p:nvPr>
            <p:custDataLst>
              <p:tags r:id="rId43"/>
            </p:custDataLst>
          </p:nvPr>
        </p:nvSpPr>
        <p:spPr bwMode="gray">
          <a:xfrm>
            <a:off x="7874000" y="4111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D34D27-D789-4E02-BCF0-18D99EA5CCB8}" type="datetime'''''''''''''''6''''''''''''''''''''3''''''''.''''''3'''''''''">
              <a:rPr lang="ja-JP" altLang="en-US" sz="1000" smtClean="0">
                <a:solidFill>
                  <a:schemeClr val="bg1"/>
                </a:solidFill>
                <a:effectLst/>
                <a:sym typeface="+mn-lt"/>
              </a:rPr>
              <a:pPr marL="0" lvl="0" indent="0" algn="ctr">
                <a:spcBef>
                  <a:spcPct val="0"/>
                </a:spcBef>
                <a:buNone/>
              </a:pPr>
              <a:t>63.3</a:t>
            </a:fld>
            <a:endParaRPr kumimoji="1" lang="ja-JP" altLang="en-US" sz="1000" dirty="0">
              <a:solidFill>
                <a:schemeClr val="bg1"/>
              </a:solidFill>
              <a:sym typeface="+mn-lt"/>
            </a:endParaRPr>
          </a:p>
        </p:txBody>
      </p:sp>
      <p:sp>
        <p:nvSpPr>
          <p:cNvPr id="112" name="テキスト プレースホルダ 9">
            <a:extLst>
              <a:ext uri="{FF2B5EF4-FFF2-40B4-BE49-F238E27FC236}">
                <a16:creationId xmlns:a16="http://schemas.microsoft.com/office/drawing/2014/main" id="{FF98D320-DC22-4DC6-C4C4-E27D09BECB29}"/>
              </a:ext>
            </a:extLst>
          </p:cNvPr>
          <p:cNvSpPr>
            <a:spLocks noGrp="1"/>
          </p:cNvSpPr>
          <p:nvPr>
            <p:custDataLst>
              <p:tags r:id="rId44"/>
            </p:custDataLst>
          </p:nvPr>
        </p:nvSpPr>
        <p:spPr bwMode="auto">
          <a:xfrm>
            <a:off x="7937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A7FEE-CCD2-427B-A021-6DD013A6DC11}" type="datetime'''''''''''''''''''''''''''''2''0'''''''''">
              <a:rPr lang="ja-JP" altLang="en-US" sz="1000" smtClean="0"/>
              <a:pPr/>
              <a:t>20</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EB17B688-D080-5250-250D-59E8D8778A5D}"/>
              </a:ext>
            </a:extLst>
          </p:cNvPr>
          <p:cNvSpPr>
            <a:spLocks noGrp="1"/>
          </p:cNvSpPr>
          <p:nvPr>
            <p:custDataLst>
              <p:tags r:id="rId45"/>
            </p:custDataLst>
          </p:nvPr>
        </p:nvSpPr>
        <p:spPr bwMode="gray">
          <a:xfrm>
            <a:off x="7153275" y="4386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F8F8B3-CD1F-4101-A783-F07C4811A701}" type="datetime'''''''''5''''''''''''''''2.''''''2'''''''">
              <a:rPr lang="ja-JP" altLang="en-US" sz="1000" smtClean="0">
                <a:solidFill>
                  <a:schemeClr val="bg1"/>
                </a:solidFill>
                <a:effectLst/>
                <a:sym typeface="+mn-lt"/>
              </a:rPr>
              <a:pPr marL="0" lvl="0" indent="0" algn="ctr">
                <a:spcBef>
                  <a:spcPct val="0"/>
                </a:spcBef>
                <a:buNone/>
              </a:pPr>
              <a:t>52.2</a:t>
            </a:fld>
            <a:endParaRPr kumimoji="1" lang="ja-JP" altLang="en-US" sz="1000" dirty="0">
              <a:solidFill>
                <a:schemeClr val="bg1"/>
              </a:solidFill>
              <a:sym typeface="+mn-lt"/>
            </a:endParaRPr>
          </a:p>
        </p:txBody>
      </p:sp>
      <p:sp>
        <p:nvSpPr>
          <p:cNvPr id="113" name="テキスト プレースホルダ 9">
            <a:extLst>
              <a:ext uri="{FF2B5EF4-FFF2-40B4-BE49-F238E27FC236}">
                <a16:creationId xmlns:a16="http://schemas.microsoft.com/office/drawing/2014/main" id="{90651105-7448-9C1C-988E-ED6B8AA36709}"/>
              </a:ext>
            </a:extLst>
          </p:cNvPr>
          <p:cNvSpPr>
            <a:spLocks noGrp="1"/>
          </p:cNvSpPr>
          <p:nvPr>
            <p:custDataLst>
              <p:tags r:id="rId46"/>
            </p:custDataLst>
          </p:nvPr>
        </p:nvSpPr>
        <p:spPr bwMode="auto">
          <a:xfrm>
            <a:off x="8297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2BB5BF-A17D-4AFA-AC8B-3A38FFD2BF2F}" type="datetime'''''''''''''''''''''''''''''''''''''''''2''''1'''''''''''''''">
              <a:rPr lang="ja-JP" altLang="en-US" sz="1000" smtClean="0"/>
              <a:pPr/>
              <a:t>21</a:t>
            </a:fld>
            <a:endParaRPr kumimoji="1" lang="ja-JP" altLang="en-US" sz="1000" dirty="0">
              <a:sym typeface="+mn-lt"/>
            </a:endParaRPr>
          </a:p>
        </p:txBody>
      </p:sp>
      <p:sp>
        <p:nvSpPr>
          <p:cNvPr id="142" name="テキスト プレースホルダ 9">
            <a:extLst>
              <a:ext uri="{FF2B5EF4-FFF2-40B4-BE49-F238E27FC236}">
                <a16:creationId xmlns:a16="http://schemas.microsoft.com/office/drawing/2014/main" id="{6DB38E23-FB5F-95AF-9BEF-55CC999C7160}"/>
              </a:ext>
            </a:extLst>
          </p:cNvPr>
          <p:cNvSpPr>
            <a:spLocks noGrp="1"/>
          </p:cNvSpPr>
          <p:nvPr>
            <p:custDataLst>
              <p:tags r:id="rId47"/>
            </p:custDataLst>
          </p:nvPr>
        </p:nvSpPr>
        <p:spPr bwMode="gray">
          <a:xfrm>
            <a:off x="8593138" y="4264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8F26C3-D8B5-45D5-981B-3653B2128E02}" type="datetime'''''''''5''''''''''''''7''.2'''''''''''''''''">
              <a:rPr lang="ja-JP" altLang="en-US" sz="1000" smtClean="0">
                <a:solidFill>
                  <a:schemeClr val="bg1"/>
                </a:solidFill>
                <a:effectLst/>
                <a:sym typeface="+mn-lt"/>
              </a:rPr>
              <a:pPr marL="0" lvl="0" indent="0" algn="ctr">
                <a:spcBef>
                  <a:spcPct val="0"/>
                </a:spcBef>
                <a:buNone/>
              </a:pPr>
              <a:t>57.2</a:t>
            </a:fld>
            <a:endParaRPr kumimoji="1" lang="ja-JP" altLang="en-US" sz="1000" dirty="0">
              <a:solidFill>
                <a:schemeClr val="bg1"/>
              </a:solidFill>
              <a:sym typeface="+mn-lt"/>
            </a:endParaRPr>
          </a:p>
        </p:txBody>
      </p:sp>
      <p:sp>
        <p:nvSpPr>
          <p:cNvPr id="114" name="テキスト プレースホルダ 9">
            <a:extLst>
              <a:ext uri="{FF2B5EF4-FFF2-40B4-BE49-F238E27FC236}">
                <a16:creationId xmlns:a16="http://schemas.microsoft.com/office/drawing/2014/main" id="{3A64E678-960C-EA75-22A3-CFB6A41D9B37}"/>
              </a:ext>
            </a:extLst>
          </p:cNvPr>
          <p:cNvSpPr>
            <a:spLocks noGrp="1"/>
          </p:cNvSpPr>
          <p:nvPr>
            <p:custDataLst>
              <p:tags r:id="rId48"/>
            </p:custDataLst>
          </p:nvPr>
        </p:nvSpPr>
        <p:spPr bwMode="auto">
          <a:xfrm>
            <a:off x="865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1A4B58-1F48-4A57-A757-B82BE7B54512}" type="datetime'''''''''''''''''''''2''''''''''''''''''''''''''''''2'''''''''">
              <a:rPr lang="ja-JP" altLang="en-US" sz="1000" smtClean="0"/>
              <a:pPr/>
              <a:t>22</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8433AE28-3695-46B8-C1BB-720B07BF446F}"/>
              </a:ext>
            </a:extLst>
          </p:cNvPr>
          <p:cNvSpPr>
            <a:spLocks noGrp="1"/>
          </p:cNvSpPr>
          <p:nvPr>
            <p:custDataLst>
              <p:tags r:id="rId49"/>
            </p:custDataLst>
          </p:nvPr>
        </p:nvSpPr>
        <p:spPr bwMode="gray">
          <a:xfrm>
            <a:off x="8953500" y="4175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C7D510-0B5E-42DB-BD59-071D6F771356}" type="datetime'''''''''''''''''''''''''''60''''''''''''''.''7'''''''''''">
              <a:rPr lang="ja-JP" altLang="en-US" sz="1000" smtClean="0">
                <a:solidFill>
                  <a:schemeClr val="bg1"/>
                </a:solidFill>
                <a:effectLst/>
                <a:sym typeface="+mn-lt"/>
              </a:rPr>
              <a:pPr marL="0" lvl="0" indent="0" algn="ctr">
                <a:spcBef>
                  <a:spcPct val="0"/>
                </a:spcBef>
                <a:buNone/>
              </a:pPr>
              <a:t>60.7</a:t>
            </a:fld>
            <a:endParaRPr kumimoji="1" lang="ja-JP" altLang="en-US" sz="1000" dirty="0">
              <a:solidFill>
                <a:schemeClr val="bg1"/>
              </a:solidFill>
              <a:sym typeface="+mn-lt"/>
            </a:endParaRPr>
          </a:p>
        </p:txBody>
      </p:sp>
      <p:sp>
        <p:nvSpPr>
          <p:cNvPr id="115" name="テキスト プレースホルダ 9">
            <a:extLst>
              <a:ext uri="{FF2B5EF4-FFF2-40B4-BE49-F238E27FC236}">
                <a16:creationId xmlns:a16="http://schemas.microsoft.com/office/drawing/2014/main" id="{7238E0DF-22CA-4B95-3AED-3182A4FC5DA8}"/>
              </a:ext>
            </a:extLst>
          </p:cNvPr>
          <p:cNvSpPr>
            <a:spLocks noGrp="1"/>
          </p:cNvSpPr>
          <p:nvPr>
            <p:custDataLst>
              <p:tags r:id="rId50"/>
            </p:custDataLst>
          </p:nvPr>
        </p:nvSpPr>
        <p:spPr bwMode="auto">
          <a:xfrm>
            <a:off x="90170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3299C0-3BE0-44D7-9695-A01EF22746F0}" type="datetime'''''''''2''''''''''''''''''''''''''''''''''''''''''''3'">
              <a:rPr lang="ja-JP" altLang="en-US" sz="1000" smtClean="0"/>
              <a:pPr/>
              <a:t>23</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1A7F5743-3947-23A7-D3A9-26D9ECD2B290}"/>
              </a:ext>
            </a:extLst>
          </p:cNvPr>
          <p:cNvSpPr>
            <a:spLocks noGrp="1"/>
          </p:cNvSpPr>
          <p:nvPr>
            <p:custDataLst>
              <p:tags r:id="rId51"/>
            </p:custDataLst>
          </p:nvPr>
        </p:nvSpPr>
        <p:spPr bwMode="gray">
          <a:xfrm>
            <a:off x="8234363" y="42100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76B969-C911-424F-B268-0EF924868822}" type="datetime'''''''''''''''5''''''9''''''''.''4'''''''''''''''''''''''''">
              <a:rPr lang="ja-JP" altLang="en-US" sz="1000" smtClean="0">
                <a:solidFill>
                  <a:schemeClr val="bg1"/>
                </a:solidFill>
                <a:effectLst/>
                <a:sym typeface="+mn-lt"/>
              </a:rPr>
              <a:pPr marL="0" lvl="0" indent="0" algn="ctr">
                <a:spcBef>
                  <a:spcPct val="0"/>
                </a:spcBef>
                <a:buNone/>
              </a:pPr>
              <a:t>59.4</a:t>
            </a:fld>
            <a:endParaRPr kumimoji="1" lang="ja-JP" altLang="en-US" sz="1000" dirty="0">
              <a:solidFill>
                <a:schemeClr val="bg1"/>
              </a:solidFill>
              <a:sym typeface="+mn-lt"/>
            </a:endParaRPr>
          </a:p>
        </p:txBody>
      </p:sp>
    </p:spTree>
    <p:extLst>
      <p:ext uri="{BB962C8B-B14F-4D97-AF65-F5344CB8AC3E}">
        <p14:creationId xmlns:p14="http://schemas.microsoft.com/office/powerpoint/2010/main" val="40376342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サービス</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企業（日本企業以外）</a:t>
            </a:r>
          </a:p>
        </p:txBody>
      </p:sp>
      <p:sp>
        <p:nvSpPr>
          <p:cNvPr id="9" name="テキスト ボックス 8"/>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において、外国人または外国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資で医療機関を所有することが可能</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こと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際に、外国資本を医療機関に投資する際には、サウジアラビア総合投資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GIA:Saudi</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rabia General Investment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承認が必要であり、外国資本による医療機関は、それほど多くはない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hns Hopkins Medicine 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RAB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8" name="表 7"/>
          <p:cNvGraphicFramePr>
            <a:graphicFrameLocks noGrp="1"/>
          </p:cNvGraphicFramePr>
          <p:nvPr>
            <p:extLst>
              <p:ext uri="{D42A27DB-BD31-4B8C-83A1-F6EECF244321}">
                <p14:modId xmlns:p14="http://schemas.microsoft.com/office/powerpoint/2010/main" val="2113222668"/>
              </p:ext>
            </p:extLst>
          </p:nvPr>
        </p:nvGraphicFramePr>
        <p:xfrm>
          <a:off x="1208584" y="3212976"/>
          <a:ext cx="7560840" cy="2448271"/>
        </p:xfrm>
        <a:graphic>
          <a:graphicData uri="http://schemas.openxmlformats.org/drawingml/2006/table">
            <a:tbl>
              <a:tblPr firstRow="1" bandRow="1">
                <a:tableStyleId>{5C22544A-7EE6-4342-B048-85BDC9FD1C3A}</a:tableStyleId>
              </a:tblPr>
              <a:tblGrid>
                <a:gridCol w="1656184">
                  <a:extLst>
                    <a:ext uri="{9D8B030D-6E8A-4147-A177-3AD203B41FA5}">
                      <a16:colId xmlns:a16="http://schemas.microsoft.com/office/drawing/2014/main" val="20000"/>
                    </a:ext>
                  </a:extLst>
                </a:gridCol>
                <a:gridCol w="5904656">
                  <a:extLst>
                    <a:ext uri="{9D8B030D-6E8A-4147-A177-3AD203B41FA5}">
                      <a16:colId xmlns:a16="http://schemas.microsoft.com/office/drawing/2014/main" val="20001"/>
                    </a:ext>
                  </a:extLst>
                </a:gridCol>
              </a:tblGrid>
              <a:tr h="228516">
                <a:tc>
                  <a:txBody>
                    <a:bodyPr/>
                    <a:lstStyle/>
                    <a:p>
                      <a:pPr algn="ctr" fontAlgn="ctr">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5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42580">
                <a:tc>
                  <a:txBody>
                    <a:bodyPr/>
                    <a:lstStyle/>
                    <a:p>
                      <a:r>
                        <a:rPr lang="en-US" altLang="ja-JP" sz="1050" b="1" dirty="0"/>
                        <a:t>Johns Hopkins Aramco Healthcare</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月開院。サウジアラムコの従業員向けに、ジョンズ・ホプキンス大学病院と、国営石油会社サウジアラムコの合弁により設立された医療機関。サウジアラムコの従業員数は、</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人程度である。サウジアラムコは、</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3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より、自社病院を運営し、従業員に対して医療サービスを提供してきた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ジョンズ・ホプキンス大学病院と提携し、臨床プログラム開発や、トレーニング、安全・品質管理などについて協力を得てい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85547">
                <a:tc>
                  <a:txBody>
                    <a:bodyPr/>
                    <a:lstStyle/>
                    <a:p>
                      <a:r>
                        <a:rPr lang="en-US" altLang="ja-JP" sz="1050" b="1" dirty="0" err="1"/>
                        <a:t>Sanad</a:t>
                      </a:r>
                      <a:r>
                        <a:rPr lang="en-US" altLang="ja-JP" sz="1050" b="1" dirty="0"/>
                        <a:t> Hospital </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にある民間医療機関。</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分の出資を行っていたインドの</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zad </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open</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a:t>
                      </a:r>
                      <a:r>
                        <a:rPr kumimoji="1" lang="en-US" altLang="ja-JP" sz="1050" kern="100" baseline="300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出資比率</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7%</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に追加投資を行い、実質的に</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zad </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open</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が所有する医療機関となっ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91628">
                <a:tc>
                  <a:txBody>
                    <a:bodyPr/>
                    <a:lstStyle/>
                    <a:p>
                      <a:r>
                        <a:rPr lang="en-US" altLang="ja-JP" sz="1050" b="1" dirty="0"/>
                        <a:t>As </a:t>
                      </a:r>
                      <a:r>
                        <a:rPr lang="en-US" altLang="ja-JP" sz="1050" b="1" dirty="0" err="1"/>
                        <a:t>Salama</a:t>
                      </a:r>
                      <a:r>
                        <a:rPr lang="en-US" altLang="ja-JP" sz="1050" b="1" dirty="0"/>
                        <a:t> Hospital </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ルコバールにある民間医療機関。アラブ首長国連邦の</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MC Health</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月に、</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80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投資し同院の株式の</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取得し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13" name="グループ化 12"/>
          <p:cNvGrpSpPr/>
          <p:nvPr/>
        </p:nvGrpSpPr>
        <p:grpSpPr>
          <a:xfrm>
            <a:off x="1280847" y="2852936"/>
            <a:ext cx="7315200" cy="288032"/>
            <a:chOff x="2358644" y="1988840"/>
            <a:chExt cx="4785412" cy="288032"/>
          </a:xfrm>
        </p:grpSpPr>
        <p:cxnSp>
          <p:nvCxnSpPr>
            <p:cNvPr id="14" name="直線コネクタ 13"/>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における外国資本の医療機関（例）</a:t>
              </a:r>
              <a:endParaRPr lang="en-US" altLang="ja-JP" sz="1400" dirty="0">
                <a:solidFill>
                  <a:srgbClr val="000000"/>
                </a:solidFill>
                <a:latin typeface="Arial Black" pitchFamily="34" charset="0"/>
                <a:ea typeface="HGP創英角ｺﾞｼｯｸUB" pitchFamily="50" charset="-128"/>
              </a:endParaRPr>
            </a:p>
          </p:txBody>
        </p:sp>
      </p:grpSp>
      <p:sp>
        <p:nvSpPr>
          <p:cNvPr id="16" name="テキスト ボックス 15"/>
          <p:cNvSpPr txBox="1"/>
          <p:nvPr/>
        </p:nvSpPr>
        <p:spPr>
          <a:xfrm>
            <a:off x="1208584" y="6012424"/>
            <a:ext cx="7560766" cy="369332"/>
          </a:xfrm>
          <a:prstGeom prst="rect">
            <a:avLst/>
          </a:prstGeom>
          <a:noFill/>
        </p:spPr>
        <p:txBody>
          <a:bodyPr wrap="square" lIns="0" tIns="0" rIns="0" b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 Services CPC 93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establishment, management and operation of Hospit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サウジアラビア総合投資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GIA:Saud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rabia General Investment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承認が必要ではあるものの、外国資本の投資が可能となっ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インドのヘルスケア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ter DM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earth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会長で、医師でもある。同社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AE</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タール、オマーン、サウジアラビア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病院を設立し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0676797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362799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4"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80" name="Chart 79">
            <a:extLst>
              <a:ext uri="{FF2B5EF4-FFF2-40B4-BE49-F238E27FC236}">
                <a16:creationId xmlns:a16="http://schemas.microsoft.com/office/drawing/2014/main" id="{9CD5CEA2-492C-84E7-96AF-61BBE7FEB9DB}"/>
              </a:ext>
            </a:extLst>
          </p:cNvPr>
          <p:cNvGraphicFramePr/>
          <p:nvPr>
            <p:custDataLst>
              <p:tags r:id="rId3"/>
            </p:custDataLst>
            <p:extLst>
              <p:ext uri="{D42A27DB-BD31-4B8C-83A1-F6EECF244321}">
                <p14:modId xmlns:p14="http://schemas.microsoft.com/office/powerpoint/2010/main" val="1691066686"/>
              </p:ext>
            </p:extLst>
          </p:nvPr>
        </p:nvGraphicFramePr>
        <p:xfrm>
          <a:off x="111125" y="2638425"/>
          <a:ext cx="6148388" cy="3584575"/>
        </p:xfrm>
        <a:graphic>
          <a:graphicData uri="http://schemas.openxmlformats.org/drawingml/2006/chart">
            <c:chart xmlns:c="http://schemas.openxmlformats.org/drawingml/2006/chart" xmlns:r="http://schemas.openxmlformats.org/officeDocument/2006/relationships" r:id="rId26"/>
          </a:graphicData>
        </a:graphic>
      </p:graphicFrame>
      <p:sp>
        <p:nvSpPr>
          <p:cNvPr id="24" name="テキスト プレースホルダ 9"/>
          <p:cNvSpPr>
            <a:spLocks noGrp="1"/>
          </p:cNvSpPr>
          <p:nvPr>
            <p:custDataLst>
              <p:tags r:id="rId4"/>
            </p:custDataLst>
          </p:nvPr>
        </p:nvSpPr>
        <p:spPr bwMode="auto">
          <a:xfrm>
            <a:off x="725488" y="608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B05A62-B892-4E4E-A102-C75AFD962937}"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5"/>
            </p:custDataLst>
          </p:nvPr>
        </p:nvSpPr>
        <p:spPr bwMode="auto">
          <a:xfrm>
            <a:off x="150177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0A344F-9289-4C81-BBFC-847AE784D42C}"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6"/>
            </p:custDataLst>
          </p:nvPr>
        </p:nvSpPr>
        <p:spPr bwMode="auto">
          <a:xfrm>
            <a:off x="2209800"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41E80D-82DF-4275-9195-D2BCC2D368E8}"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7"/>
            </p:custDataLst>
          </p:nvPr>
        </p:nvSpPr>
        <p:spPr bwMode="auto">
          <a:xfrm>
            <a:off x="291782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BD821-3176-42EB-863B-3B06523E3E51}"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8"/>
            </p:custDataLst>
          </p:nvPr>
        </p:nvSpPr>
        <p:spPr bwMode="auto">
          <a:xfrm>
            <a:off x="3624263"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2C20C4-B382-4546-AABB-B646AAD2E95E}" type="datetime'''''''2''''''''''''''''1'''''''''">
              <a:rPr lang="en-US" altLang="en-US" sz="1000" smtClean="0"/>
              <a:pPr/>
              <a:t>21</a:t>
            </a:fld>
            <a:endParaRPr kumimoji="0" lang="ja-JP" altLang="en-US" sz="1000" dirty="0">
              <a:sym typeface="+mn-lt"/>
            </a:endParaRPr>
          </a:p>
        </p:txBody>
      </p:sp>
      <p:sp>
        <p:nvSpPr>
          <p:cNvPr id="9" name="テキスト プレースホルダ 9">
            <a:extLst>
              <a:ext uri="{FF2B5EF4-FFF2-40B4-BE49-F238E27FC236}">
                <a16:creationId xmlns:a16="http://schemas.microsoft.com/office/drawing/2014/main" id="{CB22F587-7E63-840F-3984-3FD75440372A}"/>
              </a:ext>
            </a:extLst>
          </p:cNvPr>
          <p:cNvSpPr>
            <a:spLocks noGrp="1"/>
          </p:cNvSpPr>
          <p:nvPr>
            <p:custDataLst>
              <p:tags r:id="rId9"/>
            </p:custDataLst>
          </p:nvPr>
        </p:nvSpPr>
        <p:spPr bwMode="auto">
          <a:xfrm>
            <a:off x="4332288"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6963BE-F4B1-4B0D-804A-1E3B262F50AF}" type="datetime'''''''''''''''''''''2''''''2'''''''''''''''''">
              <a:rPr kumimoji="0" lang="en-IN" altLang="en-US" sz="1000" smtClean="0"/>
              <a:pPr/>
              <a:t>22</a:t>
            </a:fld>
            <a:endParaRPr kumimoji="0" lang="ja-JP" altLang="en-US" sz="1000" dirty="0">
              <a:sym typeface="+mn-lt"/>
            </a:endParaRPr>
          </a:p>
        </p:txBody>
      </p:sp>
      <p:sp>
        <p:nvSpPr>
          <p:cNvPr id="11" name="テキスト プレースホルダ 9">
            <a:extLst>
              <a:ext uri="{FF2B5EF4-FFF2-40B4-BE49-F238E27FC236}">
                <a16:creationId xmlns:a16="http://schemas.microsoft.com/office/drawing/2014/main" id="{9033C9EE-B511-7785-1BC2-4863C6AE24C0}"/>
              </a:ext>
            </a:extLst>
          </p:cNvPr>
          <p:cNvSpPr>
            <a:spLocks noGrp="1"/>
          </p:cNvSpPr>
          <p:nvPr>
            <p:custDataLst>
              <p:tags r:id="rId10"/>
            </p:custDataLst>
          </p:nvPr>
        </p:nvSpPr>
        <p:spPr bwMode="auto">
          <a:xfrm>
            <a:off x="503872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547A16-898D-48DB-9EDB-E4D82FBAD782}" type="datetime'''''''''''''''''''2''''''''''''''''3'''''''''''''''''''''''''">
              <a:rPr kumimoji="0" lang="en-IN" altLang="en-US" sz="1000" smtClean="0"/>
              <a:pPr/>
              <a:t>23</a:t>
            </a:fld>
            <a:endParaRPr kumimoji="0" lang="ja-JP" altLang="en-US" sz="1000" dirty="0">
              <a:sym typeface="+mn-lt"/>
            </a:endParaRPr>
          </a:p>
        </p:txBody>
      </p:sp>
      <p:sp>
        <p:nvSpPr>
          <p:cNvPr id="12" name="テキスト プレースホルダ 9">
            <a:extLst>
              <a:ext uri="{FF2B5EF4-FFF2-40B4-BE49-F238E27FC236}">
                <a16:creationId xmlns:a16="http://schemas.microsoft.com/office/drawing/2014/main" id="{403819EC-A73C-00B3-FEB0-9FBD94817107}"/>
              </a:ext>
            </a:extLst>
          </p:cNvPr>
          <p:cNvSpPr>
            <a:spLocks noGrp="1"/>
          </p:cNvSpPr>
          <p:nvPr>
            <p:custDataLst>
              <p:tags r:id="rId11"/>
            </p:custDataLst>
          </p:nvPr>
        </p:nvSpPr>
        <p:spPr bwMode="auto">
          <a:xfrm>
            <a:off x="5746750"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B66C41-628D-482F-B285-D2ED910F1BFA}" type="datetime'''''''''''''''''''''''''''''''''''2''''''''''''''''4'''">
              <a:rPr kumimoji="0" lang="en-IN" altLang="en-US" sz="1000" smtClean="0"/>
              <a:pPr/>
              <a:t>24</a:t>
            </a:fld>
            <a:endParaRPr kumimoji="0"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66017" y="2591013"/>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30912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0" name="Chart 3">
            <a:extLst>
              <a:ext uri="{FF2B5EF4-FFF2-40B4-BE49-F238E27FC236}">
                <a16:creationId xmlns:a16="http://schemas.microsoft.com/office/drawing/2014/main" id="{993ED14B-5E4E-B78C-26DC-029DDF4A2D56}"/>
              </a:ext>
            </a:extLst>
          </p:cNvPr>
          <p:cNvGraphicFramePr/>
          <p:nvPr>
            <p:custDataLst>
              <p:tags r:id="rId12"/>
            </p:custDataLst>
            <p:extLst>
              <p:ext uri="{D42A27DB-BD31-4B8C-83A1-F6EECF244321}">
                <p14:modId xmlns:p14="http://schemas.microsoft.com/office/powerpoint/2010/main" val="3739418370"/>
              </p:ext>
            </p:extLst>
          </p:nvPr>
        </p:nvGraphicFramePr>
        <p:xfrm>
          <a:off x="6846888" y="3073400"/>
          <a:ext cx="2498725" cy="2949575"/>
        </p:xfrm>
        <a:graphic>
          <a:graphicData uri="http://schemas.openxmlformats.org/drawingml/2006/chart">
            <c:chart xmlns:c="http://schemas.openxmlformats.org/drawingml/2006/chart" xmlns:r="http://schemas.openxmlformats.org/officeDocument/2006/relationships" r:id="rId27"/>
          </a:graphicData>
        </a:graphic>
      </p:graphicFrame>
      <p:sp>
        <p:nvSpPr>
          <p:cNvPr id="33" name="テキスト プレースホルダ 9"/>
          <p:cNvSpPr>
            <a:spLocks noGrp="1"/>
          </p:cNvSpPr>
          <p:nvPr>
            <p:custDataLst>
              <p:tags r:id="rId13"/>
            </p:custDataLst>
          </p:nvPr>
        </p:nvSpPr>
        <p:spPr bwMode="auto">
          <a:xfrm>
            <a:off x="9032875" y="3643313"/>
            <a:ext cx="787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アメリカ合衆国</a:t>
            </a:r>
          </a:p>
        </p:txBody>
      </p:sp>
      <p:sp>
        <p:nvSpPr>
          <p:cNvPr id="34" name="テキスト プレースホルダ 9"/>
          <p:cNvSpPr>
            <a:spLocks noGrp="1"/>
          </p:cNvSpPr>
          <p:nvPr>
            <p:custDataLst>
              <p:tags r:id="rId14"/>
            </p:custDataLst>
          </p:nvPr>
        </p:nvSpPr>
        <p:spPr bwMode="auto">
          <a:xfrm>
            <a:off x="9163050" y="51196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ドイツ</a:t>
            </a:r>
          </a:p>
        </p:txBody>
      </p:sp>
      <p:sp>
        <p:nvSpPr>
          <p:cNvPr id="35" name="テキスト プレースホルダ 9"/>
          <p:cNvSpPr>
            <a:spLocks noGrp="1"/>
          </p:cNvSpPr>
          <p:nvPr>
            <p:custDataLst>
              <p:tags r:id="rId15"/>
            </p:custDataLst>
          </p:nvPr>
        </p:nvSpPr>
        <p:spPr bwMode="auto">
          <a:xfrm>
            <a:off x="8582024" y="5641975"/>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689019A-CCF5-4766-8A2D-FFB2C0BCDE7F}" type="datetime'''''''''''ア''''イ''''''''''''ル''''''ラ''''ン''ド'">
              <a:rPr lang="ja-JP" altLang="en-US" sz="1000" smtClean="0"/>
              <a:pPr/>
              <a:t>アイルランド</a:t>
            </a:fld>
            <a:endParaRPr kumimoji="0" lang="ja-JP" altLang="en-US" sz="1000" dirty="0">
              <a:sym typeface="+mn-lt"/>
            </a:endParaRPr>
          </a:p>
        </p:txBody>
      </p:sp>
      <p:sp>
        <p:nvSpPr>
          <p:cNvPr id="37" name="テキスト プレースホルダ 9"/>
          <p:cNvSpPr>
            <a:spLocks noGrp="1"/>
          </p:cNvSpPr>
          <p:nvPr>
            <p:custDataLst>
              <p:tags r:id="rId16"/>
            </p:custDataLst>
          </p:nvPr>
        </p:nvSpPr>
        <p:spPr bwMode="auto">
          <a:xfrm>
            <a:off x="7620000" y="5743575"/>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5E3A173-0552-41CA-976E-00F38B2ADD9E}" type="datetime'''''''''''''''''''''''''''''メ''キシ''''''''''コ'''''''''''''">
              <a:rPr lang="ja-JP" altLang="en-US" sz="1000" smtClean="0"/>
              <a:pPr/>
              <a:t>メキシコ</a:t>
            </a:fld>
            <a:endParaRPr kumimoji="0" lang="ja-JP" altLang="en-US" sz="1000" dirty="0">
              <a:sym typeface="+mn-lt"/>
            </a:endParaRPr>
          </a:p>
        </p:txBody>
      </p:sp>
      <p:sp>
        <p:nvSpPr>
          <p:cNvPr id="39" name="テキスト プレースホルダ 9"/>
          <p:cNvSpPr>
            <a:spLocks noGrp="1"/>
          </p:cNvSpPr>
          <p:nvPr>
            <p:custDataLst>
              <p:tags r:id="rId17"/>
            </p:custDataLst>
          </p:nvPr>
        </p:nvSpPr>
        <p:spPr bwMode="auto">
          <a:xfrm>
            <a:off x="7167563" y="55372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中国</a:t>
            </a:r>
          </a:p>
        </p:txBody>
      </p:sp>
      <p:sp>
        <p:nvSpPr>
          <p:cNvPr id="38" name="テキスト プレースホルダ 9">
            <a:extLst>
              <a:ext uri="{FF2B5EF4-FFF2-40B4-BE49-F238E27FC236}">
                <a16:creationId xmlns:a16="http://schemas.microsoft.com/office/drawing/2014/main" id="{C900AFEA-49F3-B5DD-7D0A-5264CDCF2F36}"/>
              </a:ext>
            </a:extLst>
          </p:cNvPr>
          <p:cNvSpPr>
            <a:spLocks noGrp="1"/>
          </p:cNvSpPr>
          <p:nvPr>
            <p:custDataLst>
              <p:tags r:id="rId18"/>
            </p:custDataLst>
          </p:nvPr>
        </p:nvSpPr>
        <p:spPr bwMode="auto">
          <a:xfrm>
            <a:off x="6605588" y="39306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その他</a:t>
            </a:r>
          </a:p>
        </p:txBody>
      </p:sp>
      <p:sp>
        <p:nvSpPr>
          <p:cNvPr id="19" name="Rectangle 18"/>
          <p:cNvSpPr/>
          <p:nvPr>
            <p:custDataLst>
              <p:tags r:id="rId19"/>
            </p:custDataLst>
          </p:nvPr>
        </p:nvSpPr>
        <p:spPr bwMode="gray">
          <a:xfrm>
            <a:off x="492125" y="632618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20"/>
            </p:custDataLst>
          </p:nvPr>
        </p:nvSpPr>
        <p:spPr bwMode="gray">
          <a:xfrm>
            <a:off x="1077913" y="6326188"/>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21"/>
            </p:custDataLst>
          </p:nvPr>
        </p:nvSpPr>
        <p:spPr bwMode="auto">
          <a:xfrm>
            <a:off x="722313" y="632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0C6863-B40B-461E-97C9-C90ABD806572}" type="datetime'''''''輸''''''''''''出'''''''''''''">
              <a:rPr kumimoji="0" lang="ja-JP" altLang="en-US" sz="1000" smtClean="0"/>
              <a:pPr/>
              <a:t>輸出</a:t>
            </a:fld>
            <a:endParaRPr kumimoji="0" lang="ja-JP" altLang="en-US" sz="1000" dirty="0">
              <a:sym typeface="+mn-lt"/>
            </a:endParaRPr>
          </a:p>
        </p:txBody>
      </p:sp>
      <p:sp>
        <p:nvSpPr>
          <p:cNvPr id="62" name="テキスト プレースホルダ 9"/>
          <p:cNvSpPr>
            <a:spLocks noGrp="1"/>
          </p:cNvSpPr>
          <p:nvPr>
            <p:custDataLst>
              <p:tags r:id="rId22"/>
            </p:custDataLst>
          </p:nvPr>
        </p:nvSpPr>
        <p:spPr bwMode="auto">
          <a:xfrm>
            <a:off x="1308100" y="632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3555B0-E099-4A46-A085-3B933A3FD307}" type="datetime'''''''''''''''''''''''輸''入'''''''''''''''''''''''''">
              <a:rPr kumimoji="0" lang="ja-JP" altLang="en-US" sz="1000" smtClean="0"/>
              <a:pPr/>
              <a:t>輸入</a:t>
            </a:fld>
            <a:endParaRPr kumimoji="0" lang="ja-JP" altLang="en-US" sz="1000" dirty="0">
              <a:sym typeface="+mn-lt"/>
            </a:endParaRPr>
          </a:p>
        </p:txBody>
      </p:sp>
      <p:sp>
        <p:nvSpPr>
          <p:cNvPr id="47" name="テキスト ボックス 44"/>
          <p:cNvSpPr txBox="1"/>
          <p:nvPr/>
        </p:nvSpPr>
        <p:spPr>
          <a:xfrm>
            <a:off x="200472" y="1052736"/>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合衆国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次いでドイツ、メキシコ、中国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医療機器市場は推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毎年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率で拡大している。サウジアラビアは、包帯、手袋、注射器などの低付加価値商品の製造から、高付加価値製品の製造への移行を目指し、現地生産を促進するための財政的インセンティブを提供している。</a:t>
            </a:r>
          </a:p>
        </p:txBody>
      </p:sp>
      <p:sp>
        <p:nvSpPr>
          <p:cNvPr id="76" name="テキスト ボックス 21">
            <a:extLst>
              <a:ext uri="{FF2B5EF4-FFF2-40B4-BE49-F238E27FC236}">
                <a16:creationId xmlns:a16="http://schemas.microsoft.com/office/drawing/2014/main" id="{602DF1E7-DF6F-4CB6-8344-45B6FCFD5BB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IN" altLang="ja-JP" dirty="0"/>
              <a:t>Trade map </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dirty="0">
                <a:solidFill>
                  <a:srgbClr val="000000"/>
                </a:solidFill>
                <a:cs typeface="Arial" panose="020B0604020202020204" pitchFamily="34" charset="0"/>
              </a:rPr>
              <a:t> </a:t>
            </a:r>
            <a:endParaRPr lang="ja-JP" altLang="en-US" dirty="0"/>
          </a:p>
        </p:txBody>
      </p:sp>
    </p:spTree>
    <p:extLst>
      <p:ext uri="{BB962C8B-B14F-4D97-AF65-F5344CB8AC3E}">
        <p14:creationId xmlns:p14="http://schemas.microsoft.com/office/powerpoint/2010/main" val="16835855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9" name="テキスト ボックス 8"/>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は、ほぼ輸入に依存している状況で、その中で大きな存在感を示しているのが、シーメン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ップス等の欧米系メーカー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企業は、サウジアラビア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盟国において、医師向けのセミナー等を通じて、ブランド名の浸透を高める活動を数多く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経産業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7" name="表 6"/>
          <p:cNvGraphicFramePr>
            <a:graphicFrameLocks noGrp="1"/>
          </p:cNvGraphicFramePr>
          <p:nvPr>
            <p:extLst>
              <p:ext uri="{D42A27DB-BD31-4B8C-83A1-F6EECF244321}">
                <p14:modId xmlns:p14="http://schemas.microsoft.com/office/powerpoint/2010/main" val="2402639324"/>
              </p:ext>
            </p:extLst>
          </p:nvPr>
        </p:nvGraphicFramePr>
        <p:xfrm>
          <a:off x="1309953" y="2710088"/>
          <a:ext cx="7286094" cy="3307207"/>
        </p:xfrm>
        <a:graphic>
          <a:graphicData uri="http://schemas.openxmlformats.org/drawingml/2006/table">
            <a:tbl>
              <a:tblPr firstRow="1" bandRow="1">
                <a:tableStyleId>{2D5ABB26-0587-4C30-8999-92F81FD0307C}</a:tableStyleId>
              </a:tblPr>
              <a:tblGrid>
                <a:gridCol w="1770839">
                  <a:extLst>
                    <a:ext uri="{9D8B030D-6E8A-4147-A177-3AD203B41FA5}">
                      <a16:colId xmlns:a16="http://schemas.microsoft.com/office/drawing/2014/main" val="20000"/>
                    </a:ext>
                  </a:extLst>
                </a:gridCol>
                <a:gridCol w="5515255">
                  <a:extLst>
                    <a:ext uri="{9D8B030D-6E8A-4147-A177-3AD203B41FA5}">
                      <a16:colId xmlns:a16="http://schemas.microsoft.com/office/drawing/2014/main" val="20001"/>
                    </a:ext>
                  </a:extLst>
                </a:gridCol>
              </a:tblGrid>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シーメンス</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サウジアラビアにおいては、</a:t>
                      </a:r>
                      <a:r>
                        <a:rPr kumimoji="1" lang="en-US" altLang="ja-JP" sz="1200" kern="1200" dirty="0">
                          <a:solidFill>
                            <a:schemeClr val="tx1"/>
                          </a:solidFill>
                          <a:latin typeface="+mn-lt"/>
                          <a:ea typeface="+mn-ea"/>
                          <a:cs typeface="+mn-cs"/>
                        </a:rPr>
                        <a:t>75</a:t>
                      </a:r>
                      <a:r>
                        <a:rPr kumimoji="1" lang="ja-JP" altLang="en-US" sz="1200" kern="1200" dirty="0">
                          <a:solidFill>
                            <a:schemeClr val="tx1"/>
                          </a:solidFill>
                          <a:latin typeface="+mn-lt"/>
                          <a:ea typeface="+mn-ea"/>
                          <a:cs typeface="+mn-cs"/>
                        </a:rPr>
                        <a:t>年以上のビジネスの実績を有しており、</a:t>
                      </a:r>
                      <a:r>
                        <a:rPr kumimoji="1" lang="en-US" altLang="ja-JP" sz="1200" kern="1200" dirty="0">
                          <a:solidFill>
                            <a:schemeClr val="tx1"/>
                          </a:solidFill>
                          <a:latin typeface="+mn-lt"/>
                          <a:ea typeface="+mn-ea"/>
                          <a:cs typeface="+mn-cs"/>
                        </a:rPr>
                        <a:t>2011</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月に、国営石油会社サウジアラムコと戦略的調達契約に署名する等、関係構築に成功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療分野では、</a:t>
                      </a:r>
                      <a:r>
                        <a:rPr lang="en-US" altLang="ja-JP" sz="1200" dirty="0"/>
                        <a:t>King Faisal Specialist Hospital &amp; Research Center</a:t>
                      </a:r>
                      <a:r>
                        <a:rPr lang="ja-JP" altLang="en-US" sz="1200" dirty="0"/>
                        <a:t>（</a:t>
                      </a:r>
                      <a:r>
                        <a:rPr kumimoji="1" lang="ja-JP" altLang="en-US" sz="1200" kern="1200" dirty="0">
                          <a:solidFill>
                            <a:schemeClr val="tx1"/>
                          </a:solidFill>
                          <a:latin typeface="+mn-lt"/>
                          <a:ea typeface="+mn-ea"/>
                          <a:cs typeface="+mn-cs"/>
                        </a:rPr>
                        <a:t>ジッダ）のプロジェクトに参画し、放射線科の機器の入れ替えやシステム改修の実績を有す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ゼネラル・エレクトリック</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83</a:t>
                      </a:r>
                      <a:r>
                        <a:rPr kumimoji="1" lang="ja-JP" altLang="en-US" sz="1200" dirty="0"/>
                        <a:t>年からサウジアラビアでビジネスを開始し、医療分野では、</a:t>
                      </a:r>
                      <a:r>
                        <a:rPr kumimoji="1" lang="en-US" altLang="ja-JP" sz="1200" dirty="0"/>
                        <a:t>1</a:t>
                      </a:r>
                      <a:r>
                        <a:rPr kumimoji="1" lang="ja-JP" altLang="en-US" sz="1200" dirty="0"/>
                        <a:t>万種類以上の医療技術を、サウジアラビアの</a:t>
                      </a:r>
                      <a:r>
                        <a:rPr kumimoji="1" lang="en-US" altLang="ja-JP" sz="1200" dirty="0"/>
                        <a:t>90%</a:t>
                      </a:r>
                      <a:r>
                        <a:rPr kumimoji="1" lang="ja-JP" altLang="en-US" sz="1200" dirty="0"/>
                        <a:t>近くの病院に供給した実績を持つ。</a:t>
                      </a:r>
                      <a:endParaRPr kumimoji="1" lang="en-US" altLang="ja-JP" sz="1200" dirty="0"/>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010</a:t>
                      </a:r>
                      <a:r>
                        <a:rPr kumimoji="1" lang="ja-JP" altLang="en-US" sz="1200" dirty="0"/>
                        <a:t>年時点で、保健省（</a:t>
                      </a:r>
                      <a:r>
                        <a:rPr kumimoji="1" lang="en-US" altLang="ja-JP" sz="1200" dirty="0"/>
                        <a:t>MOH</a:t>
                      </a:r>
                      <a:r>
                        <a:rPr kumimoji="1" lang="ja-JP" altLang="en-US" sz="1200" dirty="0"/>
                        <a:t>）の要請で</a:t>
                      </a:r>
                      <a:r>
                        <a:rPr kumimoji="1" lang="en-US" altLang="ja-JP" sz="1200" dirty="0"/>
                        <a:t>1,300</a:t>
                      </a:r>
                      <a:r>
                        <a:rPr kumimoji="1" lang="ja-JP" altLang="en-US" sz="1200" dirty="0"/>
                        <a:t>人以上の技術者に対して研修を実施している。</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56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フィリップ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8</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6</a:t>
                      </a:r>
                      <a:r>
                        <a:rPr kumimoji="1" lang="ja-JP" altLang="en-US" sz="1200" kern="1200" dirty="0">
                          <a:solidFill>
                            <a:schemeClr val="tx1"/>
                          </a:solidFill>
                          <a:latin typeface="+mn-lt"/>
                          <a:ea typeface="+mn-ea"/>
                          <a:cs typeface="+mn-cs"/>
                        </a:rPr>
                        <a:t>月に、医学訓練専門学校と人材育成に関わる協力を発表した。</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月には、</a:t>
                      </a:r>
                      <a:r>
                        <a:rPr kumimoji="1" lang="en-US" altLang="ja-JP" sz="1200" kern="1200" dirty="0">
                          <a:solidFill>
                            <a:schemeClr val="tx1"/>
                          </a:solidFill>
                          <a:latin typeface="+mn-lt"/>
                          <a:ea typeface="+mn-ea"/>
                          <a:cs typeface="+mn-cs"/>
                        </a:rPr>
                        <a:t>40</a:t>
                      </a:r>
                      <a:r>
                        <a:rPr kumimoji="1" lang="ja-JP" altLang="en-US" sz="1200" kern="1200" dirty="0">
                          <a:solidFill>
                            <a:schemeClr val="tx1"/>
                          </a:solidFill>
                          <a:latin typeface="+mn-lt"/>
                          <a:ea typeface="+mn-ea"/>
                          <a:cs typeface="+mn-cs"/>
                        </a:rPr>
                        <a:t>年以上に渡り取引実績のあったサウジアラビア医療機器販売大手のアルファイサリア・メディカル・システムズ（</a:t>
                      </a:r>
                      <a:r>
                        <a:rPr kumimoji="1" lang="en-US" altLang="ja-JP" sz="1200" kern="1200" dirty="0">
                          <a:solidFill>
                            <a:schemeClr val="tx1"/>
                          </a:solidFill>
                          <a:latin typeface="+mn-lt"/>
                          <a:ea typeface="+mn-ea"/>
                          <a:cs typeface="+mn-cs"/>
                        </a:rPr>
                        <a:t>FMS</a:t>
                      </a:r>
                      <a:r>
                        <a:rPr kumimoji="1" lang="ja-JP" altLang="en-US" sz="1200" kern="1200" dirty="0">
                          <a:solidFill>
                            <a:schemeClr val="tx1"/>
                          </a:solidFill>
                          <a:latin typeface="+mn-lt"/>
                          <a:ea typeface="+mn-ea"/>
                          <a:cs typeface="+mn-cs"/>
                        </a:rPr>
                        <a:t>）</a:t>
                      </a:r>
                      <a:r>
                        <a:rPr kumimoji="1" lang="en-US" altLang="ja-JP" sz="1200" kern="1200" baseline="300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との合弁会社（折半出資）を設立することに合意し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8" name="グループ化 7"/>
          <p:cNvGrpSpPr/>
          <p:nvPr/>
        </p:nvGrpSpPr>
        <p:grpSpPr>
          <a:xfrm>
            <a:off x="1280847" y="2348880"/>
            <a:ext cx="7315200" cy="288032"/>
            <a:chOff x="2358644" y="1988840"/>
            <a:chExt cx="4785412" cy="288032"/>
          </a:xfrm>
        </p:grpSpPr>
        <p:cxnSp>
          <p:nvCxnSpPr>
            <p:cNvPr id="12" name="直線コネクタ 11"/>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欧米系の主要な医療機器メーカーのサウジアラビアにおける動向</a:t>
              </a:r>
            </a:p>
          </p:txBody>
        </p:sp>
      </p:grpSp>
      <p:sp>
        <p:nvSpPr>
          <p:cNvPr id="14" name="テキスト ボックス 13"/>
          <p:cNvSpPr txBox="1"/>
          <p:nvPr/>
        </p:nvSpPr>
        <p:spPr>
          <a:xfrm>
            <a:off x="1309953" y="6237312"/>
            <a:ext cx="7387463" cy="144016"/>
          </a:xfrm>
          <a:prstGeom prst="rect">
            <a:avLst/>
          </a:prstGeom>
          <a:noFill/>
        </p:spPr>
        <p:txBody>
          <a:bodyPr wrap="square" lIns="0" tIns="0" rIns="0" bIns="0" rtlCol="0">
            <a:no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アルファイサリア・メディカル・システムズ</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M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代ファイサル国王の長男で、内務大臣等を歴任したアルファイサル氏が創業し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isalia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中核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isalia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医療機器以外にも、食品・飲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や家電、医薬品等の分野で事業展開するコングロマリット企業。</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206031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確認できなかった。</a:t>
            </a:r>
          </a:p>
        </p:txBody>
      </p:sp>
    </p:spTree>
    <p:extLst>
      <p:ext uri="{BB962C8B-B14F-4D97-AF65-F5344CB8AC3E}">
        <p14:creationId xmlns:p14="http://schemas.microsoft.com/office/powerpoint/2010/main" val="1443952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健康水準・医療水準を示す主な指標</a:t>
            </a:r>
          </a:p>
        </p:txBody>
      </p:sp>
      <p:pic>
        <p:nvPicPr>
          <p:cNvPr id="38936"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5"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34"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3"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2"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296070"/>
            <a:ext cx="346669" cy="142875"/>
          </a:xfrm>
          <a:prstGeom prst="rect">
            <a:avLst/>
          </a:prstGeom>
          <a:noFill/>
          <a:extLst>
            <a:ext uri="{909E8E84-426E-40DD-AFC4-6F175D3DCCD1}">
              <a14:hiddenFill xmlns:a14="http://schemas.microsoft.com/office/drawing/2010/main">
                <a:solidFill>
                  <a:srgbClr val="FFFFFF"/>
                </a:solidFill>
              </a14:hiddenFill>
            </a:ext>
          </a:extLst>
        </p:spPr>
      </p:pic>
      <p:pic>
        <p:nvPicPr>
          <p:cNvPr id="38931"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0"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9"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8"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7"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6"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5"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296070"/>
            <a:ext cx="346669" cy="133350"/>
          </a:xfrm>
          <a:prstGeom prst="rect">
            <a:avLst/>
          </a:prstGeom>
          <a:noFill/>
          <a:extLst>
            <a:ext uri="{909E8E84-426E-40DD-AFC4-6F175D3DCCD1}">
              <a14:hiddenFill xmlns:a14="http://schemas.microsoft.com/office/drawing/2010/main">
                <a:solidFill>
                  <a:srgbClr val="FFFFFF"/>
                </a:solidFill>
              </a14:hiddenFill>
            </a:ext>
          </a:extLst>
        </p:spPr>
      </p:pic>
      <p:pic>
        <p:nvPicPr>
          <p:cNvPr id="40985"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4"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83"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2"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1"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5325" y="90963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0980"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9"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8"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7"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6"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5"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4"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65325" y="90963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表 4"/>
          <p:cNvGraphicFramePr>
            <a:graphicFrameLocks noGrp="1"/>
          </p:cNvGraphicFramePr>
          <p:nvPr>
            <p:extLst>
              <p:ext uri="{D42A27DB-BD31-4B8C-83A1-F6EECF244321}">
                <p14:modId xmlns:p14="http://schemas.microsoft.com/office/powerpoint/2010/main" val="2717478525"/>
              </p:ext>
            </p:extLst>
          </p:nvPr>
        </p:nvGraphicFramePr>
        <p:xfrm>
          <a:off x="200026" y="1124743"/>
          <a:ext cx="9501317" cy="5043225"/>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379219">
                  <a:extLst>
                    <a:ext uri="{9D8B030D-6E8A-4147-A177-3AD203B41FA5}">
                      <a16:colId xmlns:a16="http://schemas.microsoft.com/office/drawing/2014/main" val="20001"/>
                    </a:ext>
                  </a:extLst>
                </a:gridCol>
                <a:gridCol w="379219">
                  <a:extLst>
                    <a:ext uri="{9D8B030D-6E8A-4147-A177-3AD203B41FA5}">
                      <a16:colId xmlns:a16="http://schemas.microsoft.com/office/drawing/2014/main" val="20002"/>
                    </a:ext>
                  </a:extLst>
                </a:gridCol>
                <a:gridCol w="379219">
                  <a:extLst>
                    <a:ext uri="{9D8B030D-6E8A-4147-A177-3AD203B41FA5}">
                      <a16:colId xmlns:a16="http://schemas.microsoft.com/office/drawing/2014/main" val="20003"/>
                    </a:ext>
                  </a:extLst>
                </a:gridCol>
                <a:gridCol w="379219">
                  <a:extLst>
                    <a:ext uri="{9D8B030D-6E8A-4147-A177-3AD203B41FA5}">
                      <a16:colId xmlns:a16="http://schemas.microsoft.com/office/drawing/2014/main" val="20004"/>
                    </a:ext>
                  </a:extLst>
                </a:gridCol>
                <a:gridCol w="379219">
                  <a:extLst>
                    <a:ext uri="{9D8B030D-6E8A-4147-A177-3AD203B41FA5}">
                      <a16:colId xmlns:a16="http://schemas.microsoft.com/office/drawing/2014/main" val="20005"/>
                    </a:ext>
                  </a:extLst>
                </a:gridCol>
                <a:gridCol w="379219">
                  <a:extLst>
                    <a:ext uri="{9D8B030D-6E8A-4147-A177-3AD203B41FA5}">
                      <a16:colId xmlns:a16="http://schemas.microsoft.com/office/drawing/2014/main" val="20006"/>
                    </a:ext>
                  </a:extLst>
                </a:gridCol>
                <a:gridCol w="915355">
                  <a:extLst>
                    <a:ext uri="{9D8B030D-6E8A-4147-A177-3AD203B41FA5}">
                      <a16:colId xmlns:a16="http://schemas.microsoft.com/office/drawing/2014/main" val="20007"/>
                    </a:ext>
                  </a:extLst>
                </a:gridCol>
                <a:gridCol w="960187">
                  <a:extLst>
                    <a:ext uri="{9D8B030D-6E8A-4147-A177-3AD203B41FA5}">
                      <a16:colId xmlns:a16="http://schemas.microsoft.com/office/drawing/2014/main" val="20008"/>
                    </a:ext>
                  </a:extLst>
                </a:gridCol>
                <a:gridCol w="596919">
                  <a:extLst>
                    <a:ext uri="{9D8B030D-6E8A-4147-A177-3AD203B41FA5}">
                      <a16:colId xmlns:a16="http://schemas.microsoft.com/office/drawing/2014/main" val="20009"/>
                    </a:ext>
                  </a:extLst>
                </a:gridCol>
                <a:gridCol w="596919">
                  <a:extLst>
                    <a:ext uri="{9D8B030D-6E8A-4147-A177-3AD203B41FA5}">
                      <a16:colId xmlns:a16="http://schemas.microsoft.com/office/drawing/2014/main" val="20010"/>
                    </a:ext>
                  </a:extLst>
                </a:gridCol>
                <a:gridCol w="500359">
                  <a:extLst>
                    <a:ext uri="{9D8B030D-6E8A-4147-A177-3AD203B41FA5}">
                      <a16:colId xmlns:a16="http://schemas.microsoft.com/office/drawing/2014/main" val="20011"/>
                    </a:ext>
                  </a:extLst>
                </a:gridCol>
                <a:gridCol w="500359">
                  <a:extLst>
                    <a:ext uri="{9D8B030D-6E8A-4147-A177-3AD203B41FA5}">
                      <a16:colId xmlns:a16="http://schemas.microsoft.com/office/drawing/2014/main" val="20012"/>
                    </a:ext>
                  </a:extLst>
                </a:gridCol>
                <a:gridCol w="500359">
                  <a:extLst>
                    <a:ext uri="{9D8B030D-6E8A-4147-A177-3AD203B41FA5}">
                      <a16:colId xmlns:a16="http://schemas.microsoft.com/office/drawing/2014/main" val="20013"/>
                    </a:ext>
                  </a:extLst>
                </a:gridCol>
                <a:gridCol w="477536">
                  <a:extLst>
                    <a:ext uri="{9D8B030D-6E8A-4147-A177-3AD203B41FA5}">
                      <a16:colId xmlns:a16="http://schemas.microsoft.com/office/drawing/2014/main" val="20014"/>
                    </a:ext>
                  </a:extLst>
                </a:gridCol>
                <a:gridCol w="477536">
                  <a:extLst>
                    <a:ext uri="{9D8B030D-6E8A-4147-A177-3AD203B41FA5}">
                      <a16:colId xmlns:a16="http://schemas.microsoft.com/office/drawing/2014/main" val="20015"/>
                    </a:ext>
                  </a:extLst>
                </a:gridCol>
                <a:gridCol w="477536">
                  <a:extLst>
                    <a:ext uri="{9D8B030D-6E8A-4147-A177-3AD203B41FA5}">
                      <a16:colId xmlns:a16="http://schemas.microsoft.com/office/drawing/2014/main" val="20016"/>
                    </a:ext>
                  </a:extLst>
                </a:gridCol>
              </a:tblGrid>
              <a:tr h="587813">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平均寿命（歳）</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健康寿命（歳） </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下の乳幼児死亡率（千人当たり、人）</a:t>
                      </a:r>
                    </a:p>
                  </a:txBody>
                  <a:tcPr marL="36000" marR="36000" marT="0" marB="0" anchor="ctr">
                    <a:solidFill>
                      <a:srgbClr val="3D6AA7"/>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妊産婦</a:t>
                      </a:r>
                      <a:endParaRPr kumimoji="1" lang="en-US" altLang="zh-TW"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死亡率 </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0</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当たり、人）</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8</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高血圧患者の割合 （</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8</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肥満の人の割合 （</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喫煙者の割合（</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64238">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extLst>
                  <a:ext uri="{0D108BD9-81ED-4DB2-BD59-A6C34878D82A}">
                    <a16:rowId xmlns:a16="http://schemas.microsoft.com/office/drawing/2014/main" val="10001"/>
                  </a:ext>
                </a:extLst>
              </a:tr>
              <a:tr h="195938">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200" b="0" i="0" u="none" strike="noStrike" dirty="0">
                          <a:effectLst/>
                          <a:latin typeface="+mn-lt"/>
                        </a:rPr>
                        <a:t>74.6</a:t>
                      </a:r>
                    </a:p>
                  </a:txBody>
                  <a:tcPr marL="36000" marR="3600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7.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3.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6.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8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3.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3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2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2.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7.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8.1</a:t>
                      </a:r>
                    </a:p>
                  </a:txBody>
                  <a:tcPr marL="36000" marR="3600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95938">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3.1</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81.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4.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7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3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2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2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9.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8</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95938">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2.4</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5.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1.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0.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3.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5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6.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7.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2.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3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6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1.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1</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95938">
                <a:tc>
                  <a:txBody>
                    <a:bodyPr/>
                    <a:lstStyle/>
                    <a:p>
                      <a:pPr algn="l" fontAlgn="b">
                        <a:buNone/>
                      </a:pPr>
                      <a:r>
                        <a:rPr lang="ja-JP" altLang="en-US" sz="1100" b="0" i="0" u="none" strike="noStrike">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1.6</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9.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3.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70.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0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1.7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9.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7.5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0.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5</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95938">
                <a:tc>
                  <a:txBody>
                    <a:bodyPr/>
                    <a:lstStyle/>
                    <a:p>
                      <a:pPr algn="l" fontAlgn="b">
                        <a:buNone/>
                      </a:pPr>
                      <a:r>
                        <a:rPr lang="ja-JP" altLang="en-US" sz="1100" b="0" i="0" u="none" strike="noStrike">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7.6</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0.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7.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6.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6.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6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14596">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1.9</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4.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7.3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7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6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95938">
                <a:tc>
                  <a:txBody>
                    <a:bodyPr/>
                    <a:lstStyle/>
                    <a:p>
                      <a:pPr algn="l" fontAlgn="b">
                        <a:buNone/>
                      </a:pPr>
                      <a:r>
                        <a:rPr lang="ja-JP" altLang="en-US" sz="1100" b="0" i="0" u="none" strike="noStrike" dirty="0">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0.5</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0.4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2.3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8.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9.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8</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95938">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67.3</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9.0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0.4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7.2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2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4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95938">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68.3</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6.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0.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9.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1.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0.5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4.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1.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6.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16.1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8.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95938">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2.2</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7.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7.3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17.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22.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9.1</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95938">
                <a:tc>
                  <a:txBody>
                    <a:bodyPr/>
                    <a:lstStyle/>
                    <a:p>
                      <a:pPr algn="l" fontAlgn="b">
                        <a:buNone/>
                      </a:pPr>
                      <a:r>
                        <a:rPr lang="ja-JP" altLang="en-US" sz="1100" b="0" i="0" u="none" strike="noStrike" dirty="0">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4.5</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1.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7.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3.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0.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5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7.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9.1</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95938">
                <a:tc>
                  <a:txBody>
                    <a:bodyPr/>
                    <a:lstStyle/>
                    <a:p>
                      <a:pPr algn="l" fontAlgn="b">
                        <a:buNone/>
                      </a:pPr>
                      <a:r>
                        <a:rPr lang="ja-JP" altLang="en-US" sz="1100" b="0" i="0" u="none" strike="noStrike" dirty="0">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0.8</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7.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9.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3.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2.8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2.1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0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4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0.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6.3</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95938">
                <a:tc>
                  <a:txBody>
                    <a:bodyPr/>
                    <a:lstStyle/>
                    <a:p>
                      <a:pPr algn="l" fontAlgn="b">
                        <a:buNone/>
                      </a:pPr>
                      <a:r>
                        <a:rPr lang="ja-JP" altLang="en-US" sz="1100" b="0" i="0" u="none" strike="noStrike">
                          <a:effectLst/>
                          <a:latin typeface="Aptos Narrow" panose="020B0004020202020204" pitchFamily="34" charset="0"/>
                        </a:rPr>
                        <a:t>大韓民国</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3.8</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0.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6.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7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3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6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8.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5.7</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95938">
                <a:tc>
                  <a:txBody>
                    <a:bodyPr/>
                    <a:lstStyle/>
                    <a:p>
                      <a:pPr algn="l" fontAlgn="b">
                        <a:buNone/>
                      </a:pPr>
                      <a:r>
                        <a:rPr lang="ja-JP" altLang="en-US" sz="1100" b="0" i="0" u="none" strike="noStrike">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0</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0.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7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4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7.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1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3.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0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9.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18.2</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95938">
                <a:tc>
                  <a:txBody>
                    <a:bodyPr/>
                    <a:lstStyle/>
                    <a:p>
                      <a:pPr algn="l" fontAlgn="b">
                        <a:buNone/>
                      </a:pPr>
                      <a:r>
                        <a:rPr lang="ja-JP" altLang="en-US" sz="1100" b="0" i="0" u="none" strike="noStrike" dirty="0">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6.4</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5.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7.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0.6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7.3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6.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2</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195938">
                <a:tc>
                  <a:txBody>
                    <a:bodyPr/>
                    <a:lstStyle/>
                    <a:p>
                      <a:pPr algn="l" fontAlgn="b">
                        <a:buNone/>
                      </a:pPr>
                      <a:r>
                        <a:rPr lang="ja-JP" altLang="en-US" sz="1100" b="0" i="0" u="none" strike="noStrike">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61.5</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1.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3.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3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17.5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3.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3.9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5.7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0.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95938">
                <a:tc>
                  <a:txBody>
                    <a:bodyPr/>
                    <a:lstStyle/>
                    <a:p>
                      <a:pPr algn="l" fontAlgn="b">
                        <a:buNone/>
                      </a:pPr>
                      <a:r>
                        <a:rPr lang="ja-JP" altLang="en-US" sz="1100" b="0" i="0" u="none" strike="noStrike" dirty="0">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5.3</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6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3.3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5.2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0.8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9.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0.6</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545632">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0.1</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8.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1.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4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3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9.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0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7.6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10.7</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95938">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6.4</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73.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7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63.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6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65.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6.4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16.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3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41.9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40.8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43.1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2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29.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dirty="0">
                          <a:effectLst/>
                          <a:latin typeface="+mn-lt"/>
                        </a:rPr>
                        <a:t>17.9</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pic>
        <p:nvPicPr>
          <p:cNvPr id="42009"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8"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2007"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6"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5"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649413"/>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2004"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3"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2002"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1"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0"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1999"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1998"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649413"/>
            <a:ext cx="238125" cy="133350"/>
          </a:xfrm>
          <a:prstGeom prst="rect">
            <a:avLst/>
          </a:prstGeom>
          <a:noFill/>
          <a:extLst>
            <a:ext uri="{909E8E84-426E-40DD-AFC4-6F175D3DCCD1}">
              <a14:hiddenFill xmlns:a14="http://schemas.microsoft.com/office/drawing/2010/main">
                <a:solidFill>
                  <a:srgbClr val="FFFFFF"/>
                </a:solidFill>
              </a14:hiddenFill>
            </a:ext>
          </a:extLst>
        </p:spPr>
      </p:pic>
      <p:sp>
        <p:nvSpPr>
          <p:cNvPr id="42" name="テキスト ボックス 41"/>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世界保健機関「</a:t>
            </a:r>
            <a:r>
              <a:rPr lang="en-US" altLang="ja-JP" sz="800" dirty="0">
                <a:solidFill>
                  <a:srgbClr val="000000"/>
                </a:solidFill>
                <a:cs typeface="Arial" panose="020B0604020202020204" pitchFamily="34" charset="0"/>
              </a:rPr>
              <a:t>Global Health Observatory (GHO) dat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
        <p:nvSpPr>
          <p:cNvPr id="43" name="テキスト ボックス 42"/>
          <p:cNvSpPr txBox="1"/>
          <p:nvPr/>
        </p:nvSpPr>
        <p:spPr>
          <a:xfrm>
            <a:off x="200472" y="6330806"/>
            <a:ext cx="9505054" cy="33855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平均寿命」と「健康寿命」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未満児死亡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妊産婦死亡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おける高血圧の有病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おける肥満の有病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おける喫煙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す</a:t>
            </a:r>
          </a:p>
        </p:txBody>
      </p:sp>
    </p:spTree>
    <p:extLst>
      <p:ext uri="{BB962C8B-B14F-4D97-AF65-F5344CB8AC3E}">
        <p14:creationId xmlns:p14="http://schemas.microsoft.com/office/powerpoint/2010/main" val="21085500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製造者が、サウジアラビア国外にある場合には、サウジアラビア国内に代理店を指名しなければならず、代理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発行の法人ライセンスを取得してい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公的医療機関による医療機器購入額が主であり、公共調達の入札に参加できるのは、現地の企業・機関に限られるため、代理店が重要な役割を果た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みずほ情報総研「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9" name="グループ化 7"/>
          <p:cNvGrpSpPr/>
          <p:nvPr/>
        </p:nvGrpSpPr>
        <p:grpSpPr>
          <a:xfrm>
            <a:off x="1425088" y="2636912"/>
            <a:ext cx="7055824" cy="288032"/>
            <a:chOff x="4944173" y="2113806"/>
            <a:chExt cx="5861371" cy="288032"/>
          </a:xfrm>
        </p:grpSpPr>
        <p:cxnSp>
          <p:nvCxnSpPr>
            <p:cNvPr id="20" name="直線コネクタ 1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における医療機器の調達</a:t>
              </a:r>
            </a:p>
          </p:txBody>
        </p:sp>
      </p:grpSp>
      <p:graphicFrame>
        <p:nvGraphicFramePr>
          <p:cNvPr id="22" name="表 21"/>
          <p:cNvGraphicFramePr>
            <a:graphicFrameLocks noGrp="1"/>
          </p:cNvGraphicFramePr>
          <p:nvPr>
            <p:extLst>
              <p:ext uri="{D42A27DB-BD31-4B8C-83A1-F6EECF244321}">
                <p14:modId xmlns:p14="http://schemas.microsoft.com/office/powerpoint/2010/main" val="3884346668"/>
              </p:ext>
            </p:extLst>
          </p:nvPr>
        </p:nvGraphicFramePr>
        <p:xfrm>
          <a:off x="1388604" y="2996952"/>
          <a:ext cx="7128792" cy="1685544"/>
        </p:xfrm>
        <a:graphic>
          <a:graphicData uri="http://schemas.openxmlformats.org/drawingml/2006/table">
            <a:tbl>
              <a:tblPr firstRow="1" bandRow="1">
                <a:tableStyleId>{5C22544A-7EE6-4342-B048-85BDC9FD1C3A}</a:tableStyleId>
              </a:tblPr>
              <a:tblGrid>
                <a:gridCol w="7128792">
                  <a:extLst>
                    <a:ext uri="{9D8B030D-6E8A-4147-A177-3AD203B41FA5}">
                      <a16:colId xmlns:a16="http://schemas.microsoft.com/office/drawing/2014/main" val="20000"/>
                    </a:ext>
                  </a:extLst>
                </a:gridCol>
              </a:tblGrid>
              <a:tr h="0">
                <a:tc>
                  <a:txBody>
                    <a:bodyPr/>
                    <a:lstStyle/>
                    <a:p>
                      <a:pPr algn="ct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公的医療機関（</a:t>
                      </a:r>
                      <a: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t>MOH</a:t>
                      </a: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病院、その他政府機関病院）</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87966">
                <a:tc>
                  <a:txBody>
                    <a:bodyPr/>
                    <a:lstStyle/>
                    <a:p>
                      <a:pPr algn="ctr"/>
                      <a:r>
                        <a:rPr lang="ja-JP" altLang="en-US" sz="1400" dirty="0"/>
                        <a:t>全体市場規模（購入額）の</a:t>
                      </a:r>
                      <a:r>
                        <a:rPr lang="ja-JP" altLang="en-US" sz="2400" dirty="0">
                          <a:latin typeface="Arial Black" panose="020B0A04020102020204" pitchFamily="34" charset="0"/>
                          <a:ea typeface="HGP創英角ｺﾞｼｯｸUB" panose="020B0900000000000000" pitchFamily="50" charset="-128"/>
                        </a:rPr>
                        <a:t>約</a:t>
                      </a:r>
                      <a:r>
                        <a:rPr lang="en-US" altLang="ja-JP" sz="2400" dirty="0">
                          <a:latin typeface="Arial Black" panose="020B0A04020102020204" pitchFamily="34" charset="0"/>
                          <a:ea typeface="HGP創英角ｺﾞｼｯｸUB" panose="020B0900000000000000" pitchFamily="50" charset="-128"/>
                        </a:rPr>
                        <a:t>75%</a:t>
                      </a:r>
                    </a:p>
                    <a:p>
                      <a:pPr algn="ctr"/>
                      <a:endParaRPr kumimoji="1" lang="en-US" altLang="ja-JP" sz="1400" dirty="0">
                        <a:latin typeface="Arial Black" panose="020B0A04020102020204" pitchFamily="34" charset="0"/>
                        <a:ea typeface="HGP創英角ｺﾞｼｯｸUB" panose="020B0900000000000000" pitchFamily="50" charset="-128"/>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保健省や大学、国防省、国営企業等が、それぞれの予算で医療機器を購入している</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保健省や内務省は、購買を集中させる組織を有しているが、軍事病院は病院が個別に購買している</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入札開始の発表はかなり時期が迫ってからとなることも多い</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mpd="sng">
                      <a:noFill/>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EDACA"/>
                    </a:solidFill>
                  </a:tcPr>
                </a:tc>
                <a:extLst>
                  <a:ext uri="{0D108BD9-81ED-4DB2-BD59-A6C34878D82A}">
                    <a16:rowId xmlns:a16="http://schemas.microsoft.com/office/drawing/2014/main" val="10001"/>
                  </a:ext>
                </a:extLst>
              </a:tr>
            </a:tbl>
          </a:graphicData>
        </a:graphic>
      </p:graphicFrame>
      <p:sp>
        <p:nvSpPr>
          <p:cNvPr id="28" name="角丸四角形 27"/>
          <p:cNvSpPr/>
          <p:nvPr/>
        </p:nvSpPr>
        <p:spPr>
          <a:xfrm>
            <a:off x="1713120" y="5085185"/>
            <a:ext cx="6479760" cy="1296143"/>
          </a:xfrm>
          <a:prstGeom prst="roundRect">
            <a:avLst>
              <a:gd name="adj" fmla="val 4912"/>
            </a:avLst>
          </a:prstGeom>
          <a:solidFill>
            <a:srgbClr val="AFE6F7"/>
          </a:solidFill>
        </p:spPr>
        <p:txBody>
          <a:bodyPr wrap="square" lIns="108000" tIns="0" rIns="144000" anchor="ctr" anchorCtr="0">
            <a:noAutofit/>
          </a:bodyPr>
          <a:lstStyle/>
          <a:p>
            <a:pPr algn="just" fontAlgn="ctr">
              <a:lnSpc>
                <a:spcPct val="114000"/>
              </a:lnSpc>
              <a:spcAft>
                <a:spcPts val="500"/>
              </a:spcAft>
              <a:buClr>
                <a:srgbClr val="5F8AC3"/>
              </a:buClr>
              <a:buSzPct val="90000"/>
            </a:pPr>
            <a:r>
              <a:rPr lang="ja-JP" altLang="en-US" sz="1600" b="1" dirty="0"/>
              <a:t>以下の観点で、現地代理店や販売事業者を厳選することが必要。</a:t>
            </a:r>
            <a:endParaRPr lang="en-US" altLang="ja-JP" sz="1600"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現地での強固なネットワークにより、早めに情報を入手できるかどうか</a:t>
            </a:r>
            <a:endParaRPr lang="en-US" altLang="ja-JP" sz="1600"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現地で強い地盤を持っているかどうか</a:t>
            </a:r>
            <a:endParaRPr lang="en-US" altLang="ja-JP" sz="1600" b="1" dirty="0"/>
          </a:p>
        </p:txBody>
      </p:sp>
      <p:sp>
        <p:nvSpPr>
          <p:cNvPr id="29" name="二等辺三角形 28"/>
          <p:cNvSpPr/>
          <p:nvPr/>
        </p:nvSpPr>
        <p:spPr>
          <a:xfrm rot="10800000">
            <a:off x="4088905" y="4797152"/>
            <a:ext cx="1728192"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595935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3983320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4"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83" name="Chart 82">
            <a:extLst>
              <a:ext uri="{FF2B5EF4-FFF2-40B4-BE49-F238E27FC236}">
                <a16:creationId xmlns:a16="http://schemas.microsoft.com/office/drawing/2014/main" id="{3CA0F44F-7A4A-A9D5-6F59-F503A2E06278}"/>
              </a:ext>
            </a:extLst>
          </p:cNvPr>
          <p:cNvGraphicFramePr/>
          <p:nvPr>
            <p:custDataLst>
              <p:tags r:id="rId3"/>
            </p:custDataLst>
            <p:extLst>
              <p:ext uri="{D42A27DB-BD31-4B8C-83A1-F6EECF244321}">
                <p14:modId xmlns:p14="http://schemas.microsoft.com/office/powerpoint/2010/main" val="1895419470"/>
              </p:ext>
            </p:extLst>
          </p:nvPr>
        </p:nvGraphicFramePr>
        <p:xfrm>
          <a:off x="149225" y="2339975"/>
          <a:ext cx="6181725" cy="3843338"/>
        </p:xfrm>
        <a:graphic>
          <a:graphicData uri="http://schemas.openxmlformats.org/drawingml/2006/chart">
            <c:chart xmlns:c="http://schemas.openxmlformats.org/drawingml/2006/chart" xmlns:r="http://schemas.openxmlformats.org/officeDocument/2006/relationships" r:id="rId26"/>
          </a:graphicData>
        </a:graphic>
      </p:graphicFrame>
      <p:sp>
        <p:nvSpPr>
          <p:cNvPr id="24" name="テキスト プレースホルダ 9"/>
          <p:cNvSpPr>
            <a:spLocks/>
          </p:cNvSpPr>
          <p:nvPr>
            <p:custDataLst>
              <p:tags r:id="rId4"/>
            </p:custDataLst>
          </p:nvPr>
        </p:nvSpPr>
        <p:spPr bwMode="auto">
          <a:xfrm>
            <a:off x="731838"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223A23-CEFB-4585-995F-91ED961A17B6}" type="datetime'''''''''''''''''''''''''''''''''2''''''01''7'''''">
              <a:rPr lang="en-US" altLang="en-US" sz="1000" smtClean="0"/>
              <a:pPr/>
              <a:t>2017</a:t>
            </a:fld>
            <a:endParaRPr kumimoji="0" lang="ja-JP" altLang="en-US" sz="1000" dirty="0">
              <a:sym typeface="+mn-lt"/>
            </a:endParaRPr>
          </a:p>
        </p:txBody>
      </p:sp>
      <p:sp>
        <p:nvSpPr>
          <p:cNvPr id="23" name="テキスト プレースホルダ 9"/>
          <p:cNvSpPr>
            <a:spLocks/>
          </p:cNvSpPr>
          <p:nvPr>
            <p:custDataLst>
              <p:tags r:id="rId5"/>
            </p:custDataLst>
          </p:nvPr>
        </p:nvSpPr>
        <p:spPr bwMode="auto">
          <a:xfrm>
            <a:off x="15176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0D6B4F-1383-4A99-A3AA-3CA4F2907B5E}" type="datetime'''''''''''''''1''''''''8'''''''''''''''''''''''''''''''''''''">
              <a:rPr lang="en-US" altLang="en-US" sz="1000" smtClean="0"/>
              <a:pPr/>
              <a:t>18</a:t>
            </a:fld>
            <a:endParaRPr kumimoji="0" lang="ja-JP" altLang="en-US" sz="1000" dirty="0">
              <a:sym typeface="+mn-lt"/>
            </a:endParaRPr>
          </a:p>
        </p:txBody>
      </p:sp>
      <p:sp>
        <p:nvSpPr>
          <p:cNvPr id="22" name="テキスト プレースホルダ 9"/>
          <p:cNvSpPr>
            <a:spLocks/>
          </p:cNvSpPr>
          <p:nvPr>
            <p:custDataLst>
              <p:tags r:id="rId6"/>
            </p:custDataLst>
          </p:nvPr>
        </p:nvSpPr>
        <p:spPr bwMode="auto">
          <a:xfrm>
            <a:off x="22336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FEBAE1-A78E-46D4-B9A3-DC3CA893C27F}" type="datetime'1''''''''''''''''9'''''''">
              <a:rPr lang="en-US" altLang="en-US" sz="1000" smtClean="0"/>
              <a:pPr/>
              <a:t>19</a:t>
            </a:fld>
            <a:endParaRPr kumimoji="0" lang="ja-JP" altLang="en-US" sz="1000" dirty="0">
              <a:sym typeface="+mn-lt"/>
            </a:endParaRPr>
          </a:p>
        </p:txBody>
      </p:sp>
      <p:sp>
        <p:nvSpPr>
          <p:cNvPr id="21" name="テキスト プレースホルダ 9"/>
          <p:cNvSpPr>
            <a:spLocks/>
          </p:cNvSpPr>
          <p:nvPr>
            <p:custDataLst>
              <p:tags r:id="rId7"/>
            </p:custDataLst>
          </p:nvPr>
        </p:nvSpPr>
        <p:spPr bwMode="auto">
          <a:xfrm>
            <a:off x="29495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1A44EB-7FD9-4112-B785-2B19C3BD53AE}" type="datetime'''2''''''''''''''''''0'''''''''''''''''''''''''''''">
              <a:rPr lang="en-US" altLang="en-US" sz="1000" smtClean="0"/>
              <a:pPr/>
              <a:t>20</a:t>
            </a:fld>
            <a:endParaRPr kumimoji="0" lang="ja-JP" altLang="en-US" sz="1000" dirty="0">
              <a:sym typeface="+mn-lt"/>
            </a:endParaRPr>
          </a:p>
        </p:txBody>
      </p:sp>
      <p:sp>
        <p:nvSpPr>
          <p:cNvPr id="20" name="テキスト プレースホルダ 9"/>
          <p:cNvSpPr>
            <a:spLocks/>
          </p:cNvSpPr>
          <p:nvPr>
            <p:custDataLst>
              <p:tags r:id="rId8"/>
            </p:custDataLst>
          </p:nvPr>
        </p:nvSpPr>
        <p:spPr bwMode="auto">
          <a:xfrm>
            <a:off x="36655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F76919-9F0F-4A20-9EBB-22EEB05F8876}" type="datetime'''''''''''''''''''''''''''''''''''''''''2''''''''''''''1'''''">
              <a:rPr lang="en-US" altLang="en-US" sz="1000" smtClean="0"/>
              <a:pPr/>
              <a:t>21</a:t>
            </a:fld>
            <a:endParaRPr kumimoji="0" lang="ja-JP" altLang="en-US" sz="1000" dirty="0">
              <a:sym typeface="+mn-lt"/>
            </a:endParaRPr>
          </a:p>
        </p:txBody>
      </p:sp>
      <p:sp>
        <p:nvSpPr>
          <p:cNvPr id="2" name="テキスト プレースホルダ 9">
            <a:extLst>
              <a:ext uri="{FF2B5EF4-FFF2-40B4-BE49-F238E27FC236}">
                <a16:creationId xmlns:a16="http://schemas.microsoft.com/office/drawing/2014/main" id="{22FA1494-3A5C-ACAF-5AAB-CB39DB656A99}"/>
              </a:ext>
            </a:extLst>
          </p:cNvPr>
          <p:cNvSpPr>
            <a:spLocks/>
          </p:cNvSpPr>
          <p:nvPr>
            <p:custDataLst>
              <p:tags r:id="rId9"/>
            </p:custDataLst>
          </p:nvPr>
        </p:nvSpPr>
        <p:spPr bwMode="auto">
          <a:xfrm>
            <a:off x="43815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67BF00-62F5-43A8-96B0-FC2CB95B2C93}" type="datetime'''''''''''''''''''''''''''''''''''2''''''''2'">
              <a:rPr kumimoji="0" lang="en-IN" altLang="en-US" sz="1000" smtClean="0"/>
              <a:pPr/>
              <a:t>22</a:t>
            </a:fld>
            <a:endParaRPr kumimoji="0" lang="ja-JP" altLang="en-US" sz="1000" dirty="0">
              <a:sym typeface="+mn-lt"/>
            </a:endParaRPr>
          </a:p>
        </p:txBody>
      </p:sp>
      <p:sp>
        <p:nvSpPr>
          <p:cNvPr id="7" name="テキスト プレースホルダ 9">
            <a:extLst>
              <a:ext uri="{FF2B5EF4-FFF2-40B4-BE49-F238E27FC236}">
                <a16:creationId xmlns:a16="http://schemas.microsoft.com/office/drawing/2014/main" id="{261E81E2-24B5-85A3-E856-8E948FDA2005}"/>
              </a:ext>
            </a:extLst>
          </p:cNvPr>
          <p:cNvSpPr>
            <a:spLocks/>
          </p:cNvSpPr>
          <p:nvPr>
            <p:custDataLst>
              <p:tags r:id="rId10"/>
            </p:custDataLst>
          </p:nvPr>
        </p:nvSpPr>
        <p:spPr bwMode="auto">
          <a:xfrm>
            <a:off x="50974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6E177E-3295-4796-BBFE-5CB1DFA43736}" type="datetime'''''''''''''''''2''''''''''''3'''''''''''''''''''''''">
              <a:rPr kumimoji="0" lang="en-IN" altLang="en-US" sz="1000" smtClean="0"/>
              <a:pPr/>
              <a:t>23</a:t>
            </a:fld>
            <a:endParaRPr kumimoji="0" lang="ja-JP" altLang="en-US" sz="1000" dirty="0">
              <a:sym typeface="+mn-lt"/>
            </a:endParaRPr>
          </a:p>
        </p:txBody>
      </p:sp>
      <p:sp>
        <p:nvSpPr>
          <p:cNvPr id="12" name="テキスト プレースホルダ 9">
            <a:extLst>
              <a:ext uri="{FF2B5EF4-FFF2-40B4-BE49-F238E27FC236}">
                <a16:creationId xmlns:a16="http://schemas.microsoft.com/office/drawing/2014/main" id="{CEA6343C-81E6-70CD-72B1-FE3DFB65BE5D}"/>
              </a:ext>
            </a:extLst>
          </p:cNvPr>
          <p:cNvSpPr>
            <a:spLocks/>
          </p:cNvSpPr>
          <p:nvPr>
            <p:custDataLst>
              <p:tags r:id="rId11"/>
            </p:custDataLst>
          </p:nvPr>
        </p:nvSpPr>
        <p:spPr bwMode="auto">
          <a:xfrm>
            <a:off x="58134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DFB779-AAEE-4BEE-9DDC-1C07BE9F71B5}" type="datetime'''''''''''''2''''4'''''''''''''''''''''''''''''''''''''''''">
              <a:rPr kumimoji="0" lang="en-IN" altLang="en-US" sz="1000" smtClean="0"/>
              <a:pPr/>
              <a:t>24</a:t>
            </a:fld>
            <a:endParaRPr kumimoji="0"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12"/>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13"/>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p:cNvSpPr>
          <p:nvPr>
            <p:custDataLst>
              <p:tags r:id="rId14"/>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660209-1561-477C-A940-F7B557FE7DB0}" type="datetime'''''''''輸''''''''''''''''''''''''出'''''''">
              <a:rPr kumimoji="0" lang="ja-JP" altLang="en-US" sz="1000" smtClean="0"/>
              <a:pPr/>
              <a:t>輸出</a:t>
            </a:fld>
            <a:endParaRPr kumimoji="0" lang="ja-JP" altLang="en-US" sz="1000" dirty="0">
              <a:sym typeface="+mn-lt"/>
            </a:endParaRPr>
          </a:p>
        </p:txBody>
      </p:sp>
      <p:sp>
        <p:nvSpPr>
          <p:cNvPr id="43" name="テキスト プレースホルダ 9"/>
          <p:cNvSpPr>
            <a:spLocks/>
          </p:cNvSpPr>
          <p:nvPr>
            <p:custDataLst>
              <p:tags r:id="rId15"/>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3DA913F-A33C-4D89-AD1E-6B9523710C3B}" type="datetime'''''''輸''''''''''''''''''''''''入'''''''">
              <a:rPr kumimoji="0" lang="ja-JP" altLang="en-US" sz="1000" smtClean="0"/>
              <a:pPr/>
              <a:t>輸入</a:t>
            </a:fld>
            <a:endParaRPr kumimoji="0" lang="ja-JP" altLang="en-US" sz="1000" dirty="0">
              <a:sym typeface="+mn-lt"/>
            </a:endParaRPr>
          </a:p>
        </p:txBody>
      </p:sp>
      <p:graphicFrame>
        <p:nvGraphicFramePr>
          <p:cNvPr id="46" name="Chart 45">
            <a:extLst>
              <a:ext uri="{FF2B5EF4-FFF2-40B4-BE49-F238E27FC236}">
                <a16:creationId xmlns:a16="http://schemas.microsoft.com/office/drawing/2014/main" id="{9B2F4132-C1BE-B5B4-FD33-FD87EAE1865A}"/>
              </a:ext>
            </a:extLst>
          </p:cNvPr>
          <p:cNvGraphicFramePr/>
          <p:nvPr>
            <p:custDataLst>
              <p:tags r:id="rId16"/>
            </p:custDataLst>
            <p:extLst>
              <p:ext uri="{D42A27DB-BD31-4B8C-83A1-F6EECF244321}">
                <p14:modId xmlns:p14="http://schemas.microsoft.com/office/powerpoint/2010/main" val="2033622291"/>
              </p:ext>
            </p:extLst>
          </p:nvPr>
        </p:nvGraphicFramePr>
        <p:xfrm>
          <a:off x="7005638" y="3100388"/>
          <a:ext cx="2514600" cy="2949575"/>
        </p:xfrm>
        <a:graphic>
          <a:graphicData uri="http://schemas.openxmlformats.org/drawingml/2006/chart">
            <c:chart xmlns:c="http://schemas.openxmlformats.org/drawingml/2006/chart" xmlns:r="http://schemas.openxmlformats.org/officeDocument/2006/relationships" r:id="rId27"/>
          </a:graphicData>
        </a:graphic>
      </p:graphicFrame>
      <p:sp>
        <p:nvSpPr>
          <p:cNvPr id="25" name="テキスト プレースホルダ 9">
            <a:extLst>
              <a:ext uri="{FF2B5EF4-FFF2-40B4-BE49-F238E27FC236}">
                <a16:creationId xmlns:a16="http://schemas.microsoft.com/office/drawing/2014/main" id="{745D5C20-5F28-E9AF-5931-A7EDBD2AD883}"/>
              </a:ext>
            </a:extLst>
          </p:cNvPr>
          <p:cNvSpPr>
            <a:spLocks/>
          </p:cNvSpPr>
          <p:nvPr>
            <p:custDataLst>
              <p:tags r:id="rId17"/>
            </p:custDataLst>
          </p:nvPr>
        </p:nvSpPr>
        <p:spPr bwMode="auto">
          <a:xfrm>
            <a:off x="8805863" y="33575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ドイツ</a:t>
            </a:r>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3F7B0C33-7147-1E8E-3809-B73C573EDCC3}"/>
              </a:ext>
            </a:extLst>
          </p:cNvPr>
          <p:cNvSpPr>
            <a:spLocks/>
          </p:cNvSpPr>
          <p:nvPr>
            <p:custDataLst>
              <p:tags r:id="rId18"/>
            </p:custDataLst>
          </p:nvPr>
        </p:nvSpPr>
        <p:spPr bwMode="auto">
          <a:xfrm>
            <a:off x="9363928" y="3942309"/>
            <a:ext cx="889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アメリカ</a:t>
            </a:r>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0DA7B397-ED6F-1BBC-FCCD-2AC7B965B454}"/>
              </a:ext>
            </a:extLst>
          </p:cNvPr>
          <p:cNvSpPr>
            <a:spLocks/>
          </p:cNvSpPr>
          <p:nvPr>
            <p:custDataLst>
              <p:tags r:id="rId19"/>
            </p:custDataLst>
          </p:nvPr>
        </p:nvSpPr>
        <p:spPr bwMode="auto">
          <a:xfrm>
            <a:off x="8666163" y="5700713"/>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5F5E1BF-E36E-4370-B179-AD43D281B922}" type="datetime'''''アイ''ル''''''''''''''''ラ''''''''ン''''''''''''''''ド'''''''''">
              <a:rPr lang="ja-JP" altLang="en-US" sz="1000" smtClean="0">
                <a:effectLst/>
                <a:sym typeface="+mn-lt"/>
              </a:rPr>
              <a:pPr marL="0" lvl="0" indent="0">
                <a:spcBef>
                  <a:spcPct val="0"/>
                </a:spcBef>
                <a:buNone/>
              </a:pPr>
              <a:t>アイルランド</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430EC107-9827-BD8C-15BD-90B23ECF4D90}"/>
              </a:ext>
            </a:extLst>
          </p:cNvPr>
          <p:cNvSpPr>
            <a:spLocks/>
          </p:cNvSpPr>
          <p:nvPr>
            <p:custDataLst>
              <p:tags r:id="rId20"/>
            </p:custDataLst>
          </p:nvPr>
        </p:nvSpPr>
        <p:spPr bwMode="auto">
          <a:xfrm>
            <a:off x="7951788" y="57705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フランス</a:t>
            </a:r>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B27B9314-98E9-7692-6652-170897642395}"/>
              </a:ext>
            </a:extLst>
          </p:cNvPr>
          <p:cNvSpPr>
            <a:spLocks/>
          </p:cNvSpPr>
          <p:nvPr>
            <p:custDataLst>
              <p:tags r:id="rId21"/>
            </p:custDataLst>
          </p:nvPr>
        </p:nvSpPr>
        <p:spPr bwMode="auto">
          <a:xfrm>
            <a:off x="6796088" y="42894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lang="ja-JP" altLang="en-US" sz="1000" dirty="0">
                <a:effectLst/>
                <a:sym typeface="+mn-lt"/>
              </a:rPr>
              <a:t>その他</a:t>
            </a:r>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D52A3ADB-5A0D-B4B3-302E-F860F31EBBEE}"/>
              </a:ext>
            </a:extLst>
          </p:cNvPr>
          <p:cNvSpPr>
            <a:spLocks/>
          </p:cNvSpPr>
          <p:nvPr>
            <p:custDataLst>
              <p:tags r:id="rId22"/>
            </p:custDataLst>
          </p:nvPr>
        </p:nvSpPr>
        <p:spPr bwMode="auto">
          <a:xfrm>
            <a:off x="9236076" y="5273675"/>
            <a:ext cx="231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イタリア</a:t>
            </a:r>
            <a:endParaRPr kumimoji="1" lang="en-US" altLang="ja-JP" sz="1000" dirty="0">
              <a:sym typeface="+mn-lt"/>
            </a:endParaRPr>
          </a:p>
        </p:txBody>
      </p:sp>
      <p:sp>
        <p:nvSpPr>
          <p:cNvPr id="56" name="テキスト ボックス 18"/>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は年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が見込ま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想されている。糖尿病、心臓血管、抗生物質、癌治療用の医薬品が有望視されている。</a:t>
            </a:r>
          </a:p>
        </p:txBody>
      </p:sp>
      <p:sp>
        <p:nvSpPr>
          <p:cNvPr id="84" name="テキスト ボックス 21">
            <a:extLst>
              <a:ext uri="{FF2B5EF4-FFF2-40B4-BE49-F238E27FC236}">
                <a16:creationId xmlns:a16="http://schemas.microsoft.com/office/drawing/2014/main" id="{689E149F-B6AD-2407-36DF-CEE87AEAE1AE}"/>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IN" altLang="ja-JP" dirty="0"/>
              <a:t>Trade map </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dirty="0">
                <a:solidFill>
                  <a:srgbClr val="000000"/>
                </a:solidFill>
                <a:cs typeface="Arial" panose="020B0604020202020204" pitchFamily="34" charset="0"/>
              </a:rPr>
              <a:t> </a:t>
            </a:r>
            <a:endParaRPr lang="ja-JP" altLang="en-US" dirty="0"/>
          </a:p>
        </p:txBody>
      </p:sp>
    </p:spTree>
    <p:extLst>
      <p:ext uri="{BB962C8B-B14F-4D97-AF65-F5344CB8AC3E}">
        <p14:creationId xmlns:p14="http://schemas.microsoft.com/office/powerpoint/2010/main" val="24720453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a:t>
            </a:r>
            <a:r>
              <a:rPr lang="ja-JP" altLang="en-US" dirty="0"/>
              <a:t>主要メーカー（日本企業以外）</a:t>
            </a:r>
          </a:p>
        </p:txBody>
      </p:sp>
      <p:sp>
        <p:nvSpPr>
          <p:cNvPr id="12" name="テキスト ボックス 11"/>
          <p:cNvSpPr txBox="1"/>
          <p:nvPr/>
        </p:nvSpPr>
        <p:spPr>
          <a:xfrm>
            <a:off x="200472" y="1124744"/>
            <a:ext cx="9505056" cy="149887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製薬企業は、</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PIMACO</a:t>
            </a:r>
            <a:r>
              <a:rPr lang="ja-JP" altLang="en-US"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buk</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harmaceuticals</a:t>
            </a:r>
            <a:r>
              <a:rPr lang="ja-JP" altLang="en-US"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Jamjoom</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国内製薬企業は、医薬品の輸入または卸から成り立ち、その後、製薬まで行うようになった企業が多い。</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ほとんどの国内製薬企業は、後発医薬品あるいは、ファイザー、グランソ・スミスクライン、ジョンソン・エンド・ジョンソン等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大手企業とのライセンス契約による製造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大手企業は、サウジアラビア当局による医薬品の価格統制や国内製薬企業の保護政策の影響もあり、国内企業との合弁会社の設立やライセンス契約により、市場参入している。</a:t>
            </a:r>
          </a:p>
        </p:txBody>
      </p:sp>
      <p:sp>
        <p:nvSpPr>
          <p:cNvPr id="14" name="テキスト ボックス 13"/>
          <p:cNvSpPr txBox="1"/>
          <p:nvPr/>
        </p:nvSpPr>
        <p:spPr>
          <a:xfrm>
            <a:off x="200472" y="6525344"/>
            <a:ext cx="6912768"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oland Berg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n pharmaceutic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p:cNvGraphicFramePr>
            <a:graphicFrameLocks noGrp="1"/>
          </p:cNvGraphicFramePr>
          <p:nvPr>
            <p:extLst>
              <p:ext uri="{D42A27DB-BD31-4B8C-83A1-F6EECF244321}">
                <p14:modId xmlns:p14="http://schemas.microsoft.com/office/powerpoint/2010/main" val="2923931452"/>
              </p:ext>
            </p:extLst>
          </p:nvPr>
        </p:nvGraphicFramePr>
        <p:xfrm>
          <a:off x="1103007" y="3735323"/>
          <a:ext cx="7798411" cy="2285965"/>
        </p:xfrm>
        <a:graphic>
          <a:graphicData uri="http://schemas.openxmlformats.org/drawingml/2006/table">
            <a:tbl>
              <a:tblPr firstRow="1" bandRow="1">
                <a:tableStyleId>{5C22544A-7EE6-4342-B048-85BDC9FD1C3A}</a:tableStyleId>
              </a:tblPr>
              <a:tblGrid>
                <a:gridCol w="368862">
                  <a:extLst>
                    <a:ext uri="{9D8B030D-6E8A-4147-A177-3AD203B41FA5}">
                      <a16:colId xmlns:a16="http://schemas.microsoft.com/office/drawing/2014/main" val="20000"/>
                    </a:ext>
                  </a:extLst>
                </a:gridCol>
                <a:gridCol w="2256995">
                  <a:extLst>
                    <a:ext uri="{9D8B030D-6E8A-4147-A177-3AD203B41FA5}">
                      <a16:colId xmlns:a16="http://schemas.microsoft.com/office/drawing/2014/main" val="20001"/>
                    </a:ext>
                  </a:extLst>
                </a:gridCol>
                <a:gridCol w="3581244">
                  <a:extLst>
                    <a:ext uri="{9D8B030D-6E8A-4147-A177-3AD203B41FA5}">
                      <a16:colId xmlns:a16="http://schemas.microsoft.com/office/drawing/2014/main" val="20002"/>
                    </a:ext>
                  </a:extLst>
                </a:gridCol>
                <a:gridCol w="830580">
                  <a:extLst>
                    <a:ext uri="{9D8B030D-6E8A-4147-A177-3AD203B41FA5}">
                      <a16:colId xmlns:a16="http://schemas.microsoft.com/office/drawing/2014/main" val="20003"/>
                    </a:ext>
                  </a:extLst>
                </a:gridCol>
                <a:gridCol w="760730">
                  <a:extLst>
                    <a:ext uri="{9D8B030D-6E8A-4147-A177-3AD203B41FA5}">
                      <a16:colId xmlns:a16="http://schemas.microsoft.com/office/drawing/2014/main" val="20004"/>
                    </a:ext>
                  </a:extLst>
                </a:gridCol>
              </a:tblGrid>
              <a:tr h="12572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順位</a:t>
                      </a: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売上</a:t>
                      </a: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億リヤル）</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udi Pharmaceutical Industries &amp; Medical Appliances Corporation (SPIMACO)</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の製造・販売をコア事業とする製薬企業。</a:t>
                      </a:r>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17.1</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N/A</a:t>
                      </a: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buk</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harmaceuticals</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ングロマリット企業体であ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tra Industrial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製薬企業。非上場。</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後発医薬品とライセンス契約での製造・販売を行う。</a:t>
                      </a:r>
                      <a:endParaRPr lang="en-US" altLang="ja-JP" sz="1100" dirty="0"/>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8.0</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2,000</a:t>
                      </a: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上の歴史を持つ</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製薬企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代後半から、医薬品の製造・販売を開始した。</a:t>
                      </a:r>
                      <a:endParaRPr kumimoji="1" lang="en-US" altLang="ja-JP" sz="1100" b="0" i="0" u="none" strike="noStrike" kern="1200" cap="none" spc="0" normalizeH="0" baseline="0" noProof="0" dirty="0">
                        <a:ln>
                          <a:noFill/>
                        </a:ln>
                        <a:solidFill>
                          <a:schemeClr val="dk1"/>
                        </a:solidFill>
                        <a:effectLst/>
                        <a:uLnTx/>
                        <a:uFillTx/>
                        <a:latin typeface="+mn-lt"/>
                        <a:ea typeface="+mn-ea"/>
                        <a:cs typeface="+mn-cs"/>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医薬品の他にも、自動車や不動産等も手掛けるコングロマリット企業体。非上場。</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dirty="0"/>
                        <a:t>N/A</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1,000</a:t>
                      </a:r>
                      <a:r>
                        <a:rPr kumimoji="1" lang="ja-JP" altLang="en-US" sz="1100" kern="1200" dirty="0">
                          <a:solidFill>
                            <a:schemeClr val="dk1"/>
                          </a:solidFill>
                          <a:latin typeface="+mn-lt"/>
                          <a:ea typeface="+mn-ea"/>
                          <a:cs typeface="+mn-cs"/>
                        </a:rPr>
                        <a:t>以上</a:t>
                      </a:r>
                      <a:endParaRPr kumimoji="1" lang="en-US" altLang="ja-JP" sz="1100" kern="1200" dirty="0">
                        <a:solidFill>
                          <a:schemeClr val="dk1"/>
                        </a:solidFill>
                        <a:latin typeface="+mn-lt"/>
                        <a:ea typeface="+mn-ea"/>
                        <a:cs typeface="+mn-cs"/>
                      </a:endParaRP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grpSp>
        <p:nvGrpSpPr>
          <p:cNvPr id="10" name="グループ化 7"/>
          <p:cNvGrpSpPr/>
          <p:nvPr/>
        </p:nvGrpSpPr>
        <p:grpSpPr>
          <a:xfrm>
            <a:off x="1136650" y="3356992"/>
            <a:ext cx="7764767"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手国内製薬企業の概要</a:t>
              </a:r>
            </a:p>
          </p:txBody>
        </p:sp>
      </p:grpSp>
      <p:sp>
        <p:nvSpPr>
          <p:cNvPr id="13" name="正方形/長方形 12"/>
          <p:cNvSpPr/>
          <p:nvPr/>
        </p:nvSpPr>
        <p:spPr>
          <a:xfrm>
            <a:off x="7401719" y="652534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09 </a:t>
            </a:r>
            <a:r>
              <a:rPr lang="ja-JP" altLang="en-US" sz="800" dirty="0"/>
              <a:t>円　（</a:t>
            </a:r>
            <a:r>
              <a:rPr lang="en-US" altLang="ja-JP" sz="800" dirty="0"/>
              <a:t>2016</a:t>
            </a:r>
            <a:r>
              <a:rPr lang="ja-JP" altLang="en-US" sz="800" dirty="0"/>
              <a:t>年</a:t>
            </a:r>
            <a:r>
              <a:rPr lang="en-US" altLang="ja-JP" sz="800" dirty="0"/>
              <a:t>11</a:t>
            </a:r>
            <a:r>
              <a:rPr lang="ja-JP" altLang="en-US" sz="800" dirty="0"/>
              <a:t>月</a:t>
            </a:r>
            <a:r>
              <a:rPr lang="en-US" altLang="ja-JP" sz="800" dirty="0"/>
              <a:t>16</a:t>
            </a:r>
            <a:r>
              <a:rPr lang="ja-JP" altLang="en-US" sz="800" dirty="0"/>
              <a:t>日時点）</a:t>
            </a:r>
          </a:p>
        </p:txBody>
      </p:sp>
    </p:spTree>
    <p:extLst>
      <p:ext uri="{BB962C8B-B14F-4D97-AF65-F5344CB8AC3E}">
        <p14:creationId xmlns:p14="http://schemas.microsoft.com/office/powerpoint/2010/main" val="3528412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確認できなかった。</a:t>
            </a:r>
          </a:p>
        </p:txBody>
      </p:sp>
    </p:spTree>
    <p:extLst>
      <p:ext uri="{BB962C8B-B14F-4D97-AF65-F5344CB8AC3E}">
        <p14:creationId xmlns:p14="http://schemas.microsoft.com/office/powerpoint/2010/main" val="15391723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37" name="テキスト ボックス 3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みずほ情報総研「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46" name="テキスト ボックス 4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公的病院が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占めており、公的部門の調達では、「国内競争入札」、「国際競争入札」及び「直接購買」により製品が購買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札の際には、製品の品質を保証するためのプロセス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グループ化 7"/>
          <p:cNvGrpSpPr/>
          <p:nvPr/>
        </p:nvGrpSpPr>
        <p:grpSpPr>
          <a:xfrm>
            <a:off x="1568624" y="2852936"/>
            <a:ext cx="7200800" cy="288032"/>
            <a:chOff x="4944173" y="2113806"/>
            <a:chExt cx="5861371" cy="288032"/>
          </a:xfrm>
        </p:grpSpPr>
        <p:cxnSp>
          <p:nvCxnSpPr>
            <p:cNvPr id="48" name="直線コネクタ 4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における「国内競争入札」、「国際競争入札」の品質保証プロセス</a:t>
              </a:r>
            </a:p>
          </p:txBody>
        </p:sp>
      </p:grpSp>
      <p:grpSp>
        <p:nvGrpSpPr>
          <p:cNvPr id="5" name="グループ化 4"/>
          <p:cNvGrpSpPr/>
          <p:nvPr/>
        </p:nvGrpSpPr>
        <p:grpSpPr>
          <a:xfrm>
            <a:off x="1712640" y="3356992"/>
            <a:ext cx="5509389" cy="1115586"/>
            <a:chOff x="1891883" y="3356992"/>
            <a:chExt cx="5509389" cy="1115586"/>
          </a:xfrm>
        </p:grpSpPr>
        <p:sp>
          <p:nvSpPr>
            <p:cNvPr id="50" name="正方形/長方形 49"/>
            <p:cNvSpPr/>
            <p:nvPr/>
          </p:nvSpPr>
          <p:spPr>
            <a:xfrm>
              <a:off x="1891883" y="3649246"/>
              <a:ext cx="1620957" cy="823332"/>
            </a:xfrm>
            <a:prstGeom prst="rect">
              <a:avLst/>
            </a:prstGeom>
          </p:spPr>
          <p:txBody>
            <a:bodyPr wrap="none" anchor="ctr" anchorCtr="0">
              <a:noAutofit/>
            </a:bodyPr>
            <a:lstStyle/>
            <a:p>
              <a:r>
                <a:rPr lang="ja-JP" altLang="en-US" dirty="0">
                  <a:latin typeface="HGP創英角ｺﾞｼｯｸUB" panose="020B0900000000000000" pitchFamily="50" charset="-128"/>
                  <a:ea typeface="HGP創英角ｺﾞｼｯｸUB" panose="020B0900000000000000" pitchFamily="50" charset="-128"/>
                </a:rPr>
                <a:t>事前に</a:t>
              </a:r>
              <a:endParaRPr lang="en-US" altLang="ja-JP" sz="1600" dirty="0">
                <a:latin typeface="ＭＳ Ｐゴシック" panose="020B0600070205080204" pitchFamily="50" charset="-128"/>
                <a:ea typeface="ＭＳ Ｐゴシック" panose="020B0600070205080204" pitchFamily="50" charset="-128"/>
              </a:endParaRPr>
            </a:p>
            <a:p>
              <a:r>
                <a:rPr lang="ja-JP" altLang="en-US" dirty="0">
                  <a:latin typeface="HGP創英角ｺﾞｼｯｸUB" panose="020B0900000000000000" pitchFamily="50" charset="-128"/>
                  <a:ea typeface="HGP創英角ｺﾞｼｯｸUB" panose="020B0900000000000000" pitchFamily="50" charset="-128"/>
                </a:rPr>
                <a:t>製品及び供給事業者</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を認定する。</a:t>
              </a:r>
              <a:endParaRPr lang="en-US" altLang="ja-JP" dirty="0">
                <a:latin typeface="HGP創英角ｺﾞｼｯｸUB" panose="020B0900000000000000" pitchFamily="50" charset="-128"/>
                <a:ea typeface="HGP創英角ｺﾞｼｯｸUB" panose="020B0900000000000000" pitchFamily="50" charset="-128"/>
              </a:endParaRPr>
            </a:p>
          </p:txBody>
        </p:sp>
        <p:sp>
          <p:nvSpPr>
            <p:cNvPr id="51" name="角丸四角形 50"/>
            <p:cNvSpPr/>
            <p:nvPr/>
          </p:nvSpPr>
          <p:spPr>
            <a:xfrm>
              <a:off x="1891883" y="33569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右矢印 52"/>
            <p:cNvSpPr/>
            <p:nvPr/>
          </p:nvSpPr>
          <p:spPr>
            <a:xfrm>
              <a:off x="4448944" y="3572644"/>
              <a:ext cx="936104" cy="753144"/>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780315" y="3649246"/>
              <a:ext cx="1620957" cy="823332"/>
            </a:xfrm>
            <a:prstGeom prst="rect">
              <a:avLst/>
            </a:prstGeom>
          </p:spPr>
          <p:txBody>
            <a:bodyPr wrap="none" anchor="ctr" anchorCtr="0">
              <a:noAutofit/>
            </a:bodyPr>
            <a:lstStyle/>
            <a:p>
              <a:r>
                <a:rPr lang="ja-JP" altLang="en-US" dirty="0">
                  <a:latin typeface="HGP創英角ｺﾞｼｯｸUB" panose="020B0900000000000000" pitchFamily="50" charset="-128"/>
                  <a:ea typeface="HGP創英角ｺﾞｼｯｸUB" panose="020B0900000000000000" pitchFamily="50" charset="-128"/>
                </a:rPr>
                <a:t>事前認定された</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製品及び供給事業者をリスト化して</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入札員会に提供する。</a:t>
              </a:r>
              <a:endParaRPr lang="en-US" altLang="ja-JP" dirty="0">
                <a:latin typeface="HGP創英角ｺﾞｼｯｸUB" panose="020B0900000000000000" pitchFamily="50" charset="-128"/>
                <a:ea typeface="HGP創英角ｺﾞｼｯｸUB" panose="020B0900000000000000" pitchFamily="50" charset="-128"/>
              </a:endParaRPr>
            </a:p>
          </p:txBody>
        </p:sp>
        <p:sp>
          <p:nvSpPr>
            <p:cNvPr id="55" name="角丸四角形 54"/>
            <p:cNvSpPr/>
            <p:nvPr/>
          </p:nvSpPr>
          <p:spPr>
            <a:xfrm>
              <a:off x="5780315" y="33569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8677238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35265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サウジアラビ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30"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数値取得が可能な統計データ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775131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936187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ウジアラビア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269499543"/>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785783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5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8.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0.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294B88B2-89DE-48A8-8219-5C4BC34AB092}"/>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42160428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C983AB-C629-4482-A1E9-22C4C6D777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DC983AB-C629-4482-A1E9-22C4C6D777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a:xfrm>
            <a:off x="200025" y="572045"/>
            <a:ext cx="9505950" cy="359445"/>
          </a:xfrm>
        </p:spPr>
        <p:txBody>
          <a:bodyPr/>
          <a:lstStyle/>
          <a:p>
            <a:r>
              <a:rPr lang="ja-JP" altLang="en-US" dirty="0"/>
              <a:t>デジタルヘルス関連</a:t>
            </a:r>
            <a:endParaRPr lang="zh-CN" altLang="en-US" dirty="0"/>
          </a:p>
        </p:txBody>
      </p:sp>
      <p:sp>
        <p:nvSpPr>
          <p:cNvPr id="5" name="Rectangle 4">
            <a:extLst>
              <a:ext uri="{FF2B5EF4-FFF2-40B4-BE49-F238E27FC236}">
                <a16:creationId xmlns:a16="http://schemas.microsoft.com/office/drawing/2014/main" id="{0E77E9E3-A6AF-476F-AB95-5E8A74396CF3}"/>
              </a:ext>
            </a:extLst>
          </p:cNvPr>
          <p:cNvSpPr/>
          <p:nvPr/>
        </p:nvSpPr>
        <p:spPr>
          <a:xfrm>
            <a:off x="4883213" y="3095000"/>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F23C6764-2ABD-4C47-A1EA-5756AC5702FB}"/>
              </a:ext>
            </a:extLst>
          </p:cNvPr>
          <p:cNvSpPr/>
          <p:nvPr/>
        </p:nvSpPr>
        <p:spPr>
          <a:xfrm>
            <a:off x="4883213" y="2759726"/>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7654B76A-BD72-4A99-9B68-B93F23937A4C}"/>
              </a:ext>
            </a:extLst>
          </p:cNvPr>
          <p:cNvSpPr/>
          <p:nvPr/>
        </p:nvSpPr>
        <p:spPr>
          <a:xfrm>
            <a:off x="4889033" y="2524361"/>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プレースホルダ 1">
            <a:extLst>
              <a:ext uri="{FF2B5EF4-FFF2-40B4-BE49-F238E27FC236}">
                <a16:creationId xmlns:a16="http://schemas.microsoft.com/office/drawing/2014/main" id="{F5BCE9D7-4C10-4201-8807-86E51FF5FFAE}"/>
              </a:ext>
            </a:extLst>
          </p:cNvPr>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COVID-19</a:t>
            </a:r>
            <a:r>
              <a:rPr lang="ja-JP" altLang="en-US" sz="1138" dirty="0">
                <a:solidFill>
                  <a:srgbClr val="000000"/>
                </a:solidFill>
              </a:rPr>
              <a:t>を機に、政府は、ヘルスケア</a:t>
            </a:r>
            <a:r>
              <a:rPr lang="en-US" altLang="ja-JP" sz="1138" dirty="0">
                <a:solidFill>
                  <a:srgbClr val="000000"/>
                </a:solidFill>
              </a:rPr>
              <a:t>IT</a:t>
            </a:r>
            <a:r>
              <a:rPr lang="ja-JP" altLang="en-US" sz="1138" dirty="0">
                <a:solidFill>
                  <a:srgbClr val="000000"/>
                </a:solidFill>
              </a:rPr>
              <a:t>とデジタルトランスフォーメーションに</a:t>
            </a:r>
            <a:r>
              <a:rPr lang="en-US" altLang="ja-JP" sz="1138" dirty="0">
                <a:solidFill>
                  <a:srgbClr val="000000"/>
                </a:solidFill>
              </a:rPr>
              <a:t>15</a:t>
            </a:r>
            <a:r>
              <a:rPr lang="ja-JP" altLang="en-US" sz="1138" dirty="0">
                <a:solidFill>
                  <a:srgbClr val="000000"/>
                </a:solidFill>
              </a:rPr>
              <a:t>億</a:t>
            </a:r>
            <a:r>
              <a:rPr lang="en-US" altLang="ja-JP" sz="1138" dirty="0">
                <a:solidFill>
                  <a:srgbClr val="000000"/>
                </a:solidFill>
              </a:rPr>
              <a:t>US$</a:t>
            </a:r>
            <a:r>
              <a:rPr lang="ja-JP" altLang="en-US" sz="1138" dirty="0">
                <a:solidFill>
                  <a:srgbClr val="000000"/>
                </a:solidFill>
              </a:rPr>
              <a:t>を割り当てるなど、サウジアラビアは中東地域で最も成長するデジタルヘルス市場の</a:t>
            </a:r>
            <a:r>
              <a:rPr lang="en-US" altLang="ja-JP" sz="1138" dirty="0">
                <a:solidFill>
                  <a:srgbClr val="000000"/>
                </a:solidFill>
              </a:rPr>
              <a:t>1</a:t>
            </a:r>
            <a:r>
              <a:rPr lang="ja-JP" altLang="en-US" sz="1138" dirty="0">
                <a:solidFill>
                  <a:srgbClr val="000000"/>
                </a:solidFill>
              </a:rPr>
              <a:t>つになると予想されている。</a:t>
            </a:r>
            <a:endParaRPr lang="en-US" altLang="ja-JP" sz="1138" dirty="0">
              <a:solidFill>
                <a:srgbClr val="000000"/>
              </a:solidFill>
            </a:endParaRPr>
          </a:p>
          <a:p>
            <a:r>
              <a:rPr lang="ja-JP" altLang="en-US" sz="1138" dirty="0">
                <a:solidFill>
                  <a:srgbClr val="000000"/>
                </a:solidFill>
              </a:rPr>
              <a:t>保健省は、遠隔医療を活用し、遠隔地におけるケアのアクセシビリティと質を向上させるための</a:t>
            </a:r>
            <a:r>
              <a:rPr lang="en-US" altLang="ja-JP" sz="1138" dirty="0">
                <a:solidFill>
                  <a:srgbClr val="000000"/>
                </a:solidFill>
              </a:rPr>
              <a:t>eHealth</a:t>
            </a:r>
            <a:r>
              <a:rPr lang="ja-JP" altLang="en-US" sz="1138" dirty="0">
                <a:solidFill>
                  <a:srgbClr val="000000"/>
                </a:solidFill>
              </a:rPr>
              <a:t>戦略を策定した。サウジアラビアの遠隔医療導入率は約</a:t>
            </a:r>
            <a:r>
              <a:rPr lang="en-US" altLang="ja-JP" sz="1138" dirty="0">
                <a:solidFill>
                  <a:srgbClr val="000000"/>
                </a:solidFill>
              </a:rPr>
              <a:t>70</a:t>
            </a:r>
            <a:r>
              <a:rPr lang="ja-JP" altLang="en-US" sz="1138" dirty="0">
                <a:solidFill>
                  <a:srgbClr val="000000"/>
                </a:solidFill>
              </a:rPr>
              <a:t>％で、若手医師の約</a:t>
            </a:r>
            <a:r>
              <a:rPr lang="en-US" altLang="ja-JP" sz="1138" dirty="0">
                <a:solidFill>
                  <a:srgbClr val="000000"/>
                </a:solidFill>
              </a:rPr>
              <a:t>34</a:t>
            </a:r>
            <a:r>
              <a:rPr lang="ja-JP" altLang="en-US" sz="1138" dirty="0">
                <a:solidFill>
                  <a:srgbClr val="000000"/>
                </a:solidFill>
              </a:rPr>
              <a:t>％が</a:t>
            </a:r>
            <a:r>
              <a:rPr lang="en-US" altLang="ja-JP" sz="1138" dirty="0">
                <a:solidFill>
                  <a:srgbClr val="000000"/>
                </a:solidFill>
              </a:rPr>
              <a:t>AI</a:t>
            </a:r>
            <a:r>
              <a:rPr lang="ja-JP" altLang="en-US" sz="1138" dirty="0">
                <a:solidFill>
                  <a:srgbClr val="000000"/>
                </a:solidFill>
              </a:rPr>
              <a:t>を利用して診断を行っている。</a:t>
            </a:r>
          </a:p>
        </p:txBody>
      </p:sp>
      <p:grpSp>
        <p:nvGrpSpPr>
          <p:cNvPr id="10" name="グループ化 7">
            <a:extLst>
              <a:ext uri="{FF2B5EF4-FFF2-40B4-BE49-F238E27FC236}">
                <a16:creationId xmlns:a16="http://schemas.microsoft.com/office/drawing/2014/main" id="{63CA5D38-ED73-4B2A-9916-A7DB87D7E426}"/>
              </a:ext>
            </a:extLst>
          </p:cNvPr>
          <p:cNvGrpSpPr>
            <a:grpSpLocks/>
          </p:cNvGrpSpPr>
          <p:nvPr/>
        </p:nvGrpSpPr>
        <p:grpSpPr>
          <a:xfrm>
            <a:off x="200026" y="1970472"/>
            <a:ext cx="9505950" cy="234026"/>
            <a:chOff x="4944173" y="2113806"/>
            <a:chExt cx="5861371" cy="288032"/>
          </a:xfrm>
        </p:grpSpPr>
        <p:cxnSp>
          <p:nvCxnSpPr>
            <p:cNvPr id="11" name="直線コネクタ 6">
              <a:extLst>
                <a:ext uri="{FF2B5EF4-FFF2-40B4-BE49-F238E27FC236}">
                  <a16:creationId xmlns:a16="http://schemas.microsoft.com/office/drawing/2014/main" id="{5DB687A7-0181-444B-AEA6-3EB698DBBA9D}"/>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4513F36F-AB5B-4B5C-A85E-3930B10E290B}"/>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3" name="Group 12">
            <a:extLst>
              <a:ext uri="{FF2B5EF4-FFF2-40B4-BE49-F238E27FC236}">
                <a16:creationId xmlns:a16="http://schemas.microsoft.com/office/drawing/2014/main" id="{1D4FB20C-DC4A-4B6C-8922-A4B8952F66E0}"/>
              </a:ext>
            </a:extLst>
          </p:cNvPr>
          <p:cNvGrpSpPr/>
          <p:nvPr/>
        </p:nvGrpSpPr>
        <p:grpSpPr>
          <a:xfrm>
            <a:off x="4921154" y="2042183"/>
            <a:ext cx="624065" cy="131254"/>
            <a:chOff x="1683298" y="1217608"/>
            <a:chExt cx="768081" cy="161543"/>
          </a:xfrm>
        </p:grpSpPr>
        <p:sp>
          <p:nvSpPr>
            <p:cNvPr id="14" name="RectangleLegend1">
              <a:extLst>
                <a:ext uri="{FF2B5EF4-FFF2-40B4-BE49-F238E27FC236}">
                  <a16:creationId xmlns:a16="http://schemas.microsoft.com/office/drawing/2014/main" id="{0E2C0CC7-D6A0-4454-B7B8-43327B3239A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5" name="Legend1">
              <a:extLst>
                <a:ext uri="{FF2B5EF4-FFF2-40B4-BE49-F238E27FC236}">
                  <a16:creationId xmlns:a16="http://schemas.microsoft.com/office/drawing/2014/main" id="{0A298082-9AF0-4238-93E6-6153F321BF97}"/>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6" name="Group 15">
            <a:extLst>
              <a:ext uri="{FF2B5EF4-FFF2-40B4-BE49-F238E27FC236}">
                <a16:creationId xmlns:a16="http://schemas.microsoft.com/office/drawing/2014/main" id="{AC92679E-B578-41E5-8D71-6B036B7B4249}"/>
              </a:ext>
            </a:extLst>
          </p:cNvPr>
          <p:cNvGrpSpPr/>
          <p:nvPr/>
        </p:nvGrpSpPr>
        <p:grpSpPr>
          <a:xfrm>
            <a:off x="6764499" y="2042183"/>
            <a:ext cx="837265" cy="131254"/>
            <a:chOff x="6093809" y="996633"/>
            <a:chExt cx="1030481" cy="161543"/>
          </a:xfrm>
        </p:grpSpPr>
        <p:sp>
          <p:nvSpPr>
            <p:cNvPr id="17" name="RectangleLegend3">
              <a:extLst>
                <a:ext uri="{FF2B5EF4-FFF2-40B4-BE49-F238E27FC236}">
                  <a16:creationId xmlns:a16="http://schemas.microsoft.com/office/drawing/2014/main" id="{03B38983-5F6C-478C-8756-1FEC1DEBEC6B}"/>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8" name="Legend3">
              <a:extLst>
                <a:ext uri="{FF2B5EF4-FFF2-40B4-BE49-F238E27FC236}">
                  <a16:creationId xmlns:a16="http://schemas.microsoft.com/office/drawing/2014/main" id="{A8192253-D95F-45EC-B8E9-9B6FF3D1FE94}"/>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9" name="Group 18">
            <a:extLst>
              <a:ext uri="{FF2B5EF4-FFF2-40B4-BE49-F238E27FC236}">
                <a16:creationId xmlns:a16="http://schemas.microsoft.com/office/drawing/2014/main" id="{3B0CCEB0-9127-4025-AEE7-7914E52FB398}"/>
              </a:ext>
            </a:extLst>
          </p:cNvPr>
          <p:cNvGrpSpPr/>
          <p:nvPr/>
        </p:nvGrpSpPr>
        <p:grpSpPr>
          <a:xfrm>
            <a:off x="5721700" y="2042183"/>
            <a:ext cx="837265" cy="131254"/>
            <a:chOff x="2556137" y="1206048"/>
            <a:chExt cx="1030481" cy="161543"/>
          </a:xfrm>
        </p:grpSpPr>
        <p:sp>
          <p:nvSpPr>
            <p:cNvPr id="20" name="RectangleLegend2">
              <a:extLst>
                <a:ext uri="{FF2B5EF4-FFF2-40B4-BE49-F238E27FC236}">
                  <a16:creationId xmlns:a16="http://schemas.microsoft.com/office/drawing/2014/main" id="{8C1AF45A-A1EC-4070-8E4B-FFF9719DD98D}"/>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1" name="Legend2">
              <a:extLst>
                <a:ext uri="{FF2B5EF4-FFF2-40B4-BE49-F238E27FC236}">
                  <a16:creationId xmlns:a16="http://schemas.microsoft.com/office/drawing/2014/main" id="{EA00CA7C-6AA9-4078-97CE-D1B30564B5B7}"/>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2" name="Group 21">
            <a:extLst>
              <a:ext uri="{FF2B5EF4-FFF2-40B4-BE49-F238E27FC236}">
                <a16:creationId xmlns:a16="http://schemas.microsoft.com/office/drawing/2014/main" id="{E48F34E0-FE94-4311-80F9-3BEEB360E18B}"/>
              </a:ext>
            </a:extLst>
          </p:cNvPr>
          <p:cNvGrpSpPr/>
          <p:nvPr/>
        </p:nvGrpSpPr>
        <p:grpSpPr>
          <a:xfrm>
            <a:off x="7807302" y="2042183"/>
            <a:ext cx="728262" cy="131254"/>
            <a:chOff x="6093809" y="1205598"/>
            <a:chExt cx="896322" cy="161543"/>
          </a:xfrm>
        </p:grpSpPr>
        <p:sp>
          <p:nvSpPr>
            <p:cNvPr id="23" name="RectangleLegend4">
              <a:extLst>
                <a:ext uri="{FF2B5EF4-FFF2-40B4-BE49-F238E27FC236}">
                  <a16:creationId xmlns:a16="http://schemas.microsoft.com/office/drawing/2014/main" id="{BBD28A24-9803-4C4C-80FD-7AEDDB23EF5D}"/>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4" name="Legend4">
              <a:extLst>
                <a:ext uri="{FF2B5EF4-FFF2-40B4-BE49-F238E27FC236}">
                  <a16:creationId xmlns:a16="http://schemas.microsoft.com/office/drawing/2014/main" id="{17C4014F-BD90-46AA-AA9C-C3F69FCA9E74}"/>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5" name="Group 24">
            <a:extLst>
              <a:ext uri="{FF2B5EF4-FFF2-40B4-BE49-F238E27FC236}">
                <a16:creationId xmlns:a16="http://schemas.microsoft.com/office/drawing/2014/main" id="{441C5EAF-DA94-480F-B6F0-DFAEC2C5EEEE}"/>
              </a:ext>
            </a:extLst>
          </p:cNvPr>
          <p:cNvGrpSpPr/>
          <p:nvPr/>
        </p:nvGrpSpPr>
        <p:grpSpPr>
          <a:xfrm>
            <a:off x="8725062" y="2042183"/>
            <a:ext cx="624066" cy="131254"/>
            <a:chOff x="6093809" y="1415013"/>
            <a:chExt cx="768081" cy="161543"/>
          </a:xfrm>
        </p:grpSpPr>
        <p:sp>
          <p:nvSpPr>
            <p:cNvPr id="26" name="RectangleLegend5">
              <a:extLst>
                <a:ext uri="{FF2B5EF4-FFF2-40B4-BE49-F238E27FC236}">
                  <a16:creationId xmlns:a16="http://schemas.microsoft.com/office/drawing/2014/main" id="{06906CF7-4133-4D56-B9DB-D952C8E37208}"/>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7" name="Legend5">
              <a:extLst>
                <a:ext uri="{FF2B5EF4-FFF2-40B4-BE49-F238E27FC236}">
                  <a16:creationId xmlns:a16="http://schemas.microsoft.com/office/drawing/2014/main" id="{4C781063-6021-4498-ABCC-C1D9B3619CC4}"/>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8" name="TextBox 27">
            <a:extLst>
              <a:ext uri="{FF2B5EF4-FFF2-40B4-BE49-F238E27FC236}">
                <a16:creationId xmlns:a16="http://schemas.microsoft.com/office/drawing/2014/main" id="{FB61B5C7-F6AD-4D4C-A4B7-0EE8CA4117DC}"/>
              </a:ext>
            </a:extLst>
          </p:cNvPr>
          <p:cNvSpPr txBox="1"/>
          <p:nvPr/>
        </p:nvSpPr>
        <p:spPr>
          <a:xfrm>
            <a:off x="4115668" y="2032792"/>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29" name="テキスト ボックス 14">
            <a:extLst>
              <a:ext uri="{FF2B5EF4-FFF2-40B4-BE49-F238E27FC236}">
                <a16:creationId xmlns:a16="http://schemas.microsoft.com/office/drawing/2014/main" id="{4DEDFA99-10A9-463F-BE13-64C32B169BF5}"/>
              </a:ext>
            </a:extLst>
          </p:cNvPr>
          <p:cNvSpPr txBox="1"/>
          <p:nvPr/>
        </p:nvSpPr>
        <p:spPr>
          <a:xfrm>
            <a:off x="200472" y="670365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サウジアラビア保健省、米国商務省</a:t>
            </a:r>
          </a:p>
        </p:txBody>
      </p:sp>
      <p:graphicFrame>
        <p:nvGraphicFramePr>
          <p:cNvPr id="9" name="表 4">
            <a:extLst>
              <a:ext uri="{FF2B5EF4-FFF2-40B4-BE49-F238E27FC236}">
                <a16:creationId xmlns:a16="http://schemas.microsoft.com/office/drawing/2014/main" id="{ED4A4691-BF73-4D6F-A4AC-7AFEA4611A44}"/>
              </a:ext>
            </a:extLst>
          </p:cNvPr>
          <p:cNvGraphicFramePr>
            <a:graphicFrameLocks noGrp="1"/>
          </p:cNvGraphicFramePr>
          <p:nvPr>
            <p:extLst>
              <p:ext uri="{D42A27DB-BD31-4B8C-83A1-F6EECF244321}">
                <p14:modId xmlns:p14="http://schemas.microsoft.com/office/powerpoint/2010/main" val="1529336953"/>
              </p:ext>
            </p:extLst>
          </p:nvPr>
        </p:nvGraphicFramePr>
        <p:xfrm>
          <a:off x="200025" y="2267440"/>
          <a:ext cx="9438944" cy="4329912"/>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サウジアラビ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3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4EEF5"/>
                    </a:solid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36.9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0.4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サウジアラビア保健省は、国内外のアドバイザーや</a:t>
                      </a:r>
                      <a:r>
                        <a:rPr lang="en-US" altLang="ja-JP" sz="900" dirty="0"/>
                        <a:t>IBM</a:t>
                      </a:r>
                      <a:r>
                        <a:rPr lang="ja-JP" altLang="en-US" sz="900" dirty="0"/>
                        <a:t>と協力し、</a:t>
                      </a:r>
                      <a:r>
                        <a:rPr lang="en-US" altLang="ja-JP" sz="900" dirty="0"/>
                        <a:t>eHealth</a:t>
                      </a:r>
                      <a:r>
                        <a:rPr lang="ja-JP" altLang="en-US" sz="900" dirty="0"/>
                        <a:t>戦略と</a:t>
                      </a:r>
                      <a:r>
                        <a:rPr lang="en-US" altLang="ja-JP" sz="900" dirty="0"/>
                        <a:t>5</a:t>
                      </a:r>
                      <a:r>
                        <a:rPr lang="ja-JP" altLang="en-US" sz="900" dirty="0"/>
                        <a:t>年ロードマップを策定している。医療セクター変革プログラムには、</a:t>
                      </a:r>
                      <a:r>
                        <a:rPr lang="en-US" altLang="ja-JP" sz="900" dirty="0"/>
                        <a:t>eHealth</a:t>
                      </a:r>
                      <a:r>
                        <a:rPr lang="ja-JP" altLang="en-US" sz="900" dirty="0"/>
                        <a:t>に特化した取り組みがあり、遠隔ケア、</a:t>
                      </a:r>
                      <a:r>
                        <a:rPr lang="en-US" altLang="ja-JP" sz="900" dirty="0"/>
                        <a:t>AI</a:t>
                      </a:r>
                      <a:r>
                        <a:rPr lang="ja-JP" altLang="en-US" sz="900" dirty="0"/>
                        <a:t>による意思決定、電子セルフケアプラットフォーム、在宅ケア用遠隔モニタリング、仮想クリニックなどが含まれている。政府は、これらの医療情報技術とデジタル変革プログラムに</a:t>
                      </a:r>
                      <a:r>
                        <a:rPr lang="en-US" altLang="ja-JP" sz="900" dirty="0"/>
                        <a:t>15</a:t>
                      </a:r>
                      <a:r>
                        <a:rPr lang="ja-JP" altLang="en-US" sz="900" dirty="0"/>
                        <a:t>億</a:t>
                      </a:r>
                      <a:r>
                        <a:rPr lang="en-US" altLang="ja-JP" sz="900" dirty="0"/>
                        <a:t>US$</a:t>
                      </a:r>
                      <a:r>
                        <a:rPr lang="ja-JP" altLang="en-US" sz="900" dirty="0"/>
                        <a:t>を割り当て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3</a:t>
                      </a:r>
                      <a:r>
                        <a:rPr lang="ja-JP" altLang="en-US" sz="900" dirty="0"/>
                        <a:t>年</a:t>
                      </a:r>
                      <a:r>
                        <a:rPr lang="en-US" altLang="ja-JP" sz="900" dirty="0"/>
                        <a:t>3</a:t>
                      </a:r>
                      <a:r>
                        <a:rPr lang="ja-JP" altLang="en-US" sz="900" dirty="0"/>
                        <a:t>月から新個人情報保護法が施行される予定であり、本人の同意なく個人情報を処理することの原則的な禁止、違反した場合の罰則などを定め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健康情報管理に関するプログラムは、計</a:t>
                      </a:r>
                      <a:r>
                        <a:rPr lang="en-US" altLang="ja-JP" sz="900" dirty="0"/>
                        <a:t>16</a:t>
                      </a:r>
                      <a:r>
                        <a:rPr lang="ja-JP" altLang="en-US" sz="900" dirty="0"/>
                        <a:t>校において実施されている。うち</a:t>
                      </a:r>
                      <a:r>
                        <a:rPr lang="en-US" altLang="ja-JP" sz="900" dirty="0"/>
                        <a:t>5</a:t>
                      </a:r>
                      <a:r>
                        <a:rPr lang="ja-JP" altLang="en-US" sz="900" dirty="0"/>
                        <a:t>校においては、学士過程のみならず、修士課程についても実施されている。例えば、</a:t>
                      </a:r>
                      <a:r>
                        <a:rPr lang="en-US" altLang="ja-JP" sz="900" dirty="0"/>
                        <a:t>King Saud Bin </a:t>
                      </a:r>
                      <a:r>
                        <a:rPr lang="en-US" altLang="ja-JP" sz="900" dirty="0" err="1"/>
                        <a:t>Abdulaziz</a:t>
                      </a:r>
                      <a:r>
                        <a:rPr lang="en-US" altLang="ja-JP" sz="900" dirty="0"/>
                        <a:t> </a:t>
                      </a:r>
                      <a:r>
                        <a:rPr lang="ja-JP" altLang="en-US" sz="900" dirty="0"/>
                        <a:t>大学の健康学科は、米国イリノイ大学と協働し、健康情報学の修士課程を提供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において、国民の約</a:t>
                      </a:r>
                      <a:r>
                        <a:rPr kumimoji="1" lang="en-US" altLang="ja-JP" sz="900" b="0" kern="1200" dirty="0">
                          <a:solidFill>
                            <a:schemeClr val="tx1"/>
                          </a:solidFill>
                          <a:latin typeface="+mn-lt"/>
                          <a:ea typeface="ＭＳ Ｐゴシック" charset="-128"/>
                          <a:cs typeface="Arial" pitchFamily="34" charset="0"/>
                        </a:rPr>
                        <a:t>40</a:t>
                      </a:r>
                      <a:r>
                        <a:rPr kumimoji="1" lang="ja-JP" altLang="en-US" sz="900" b="0" kern="1200" dirty="0">
                          <a:solidFill>
                            <a:schemeClr val="tx1"/>
                          </a:solidFill>
                          <a:latin typeface="+mn-lt"/>
                          <a:ea typeface="ＭＳ Ｐゴシック" charset="-128"/>
                          <a:cs typeface="Arial" pitchFamily="34" charset="0"/>
                        </a:rPr>
                        <a:t>％が統合的な医療記録に登録されており、</a:t>
                      </a:r>
                      <a:r>
                        <a:rPr kumimoji="1" lang="en-US" altLang="ja-JP" sz="900" b="0" kern="1200" dirty="0">
                          <a:solidFill>
                            <a:schemeClr val="tx1"/>
                          </a:solidFill>
                          <a:latin typeface="+mn-lt"/>
                          <a:ea typeface="ＭＳ Ｐゴシック" charset="-128"/>
                          <a:cs typeface="Arial" pitchFamily="34" charset="0"/>
                        </a:rPr>
                        <a:t>2030</a:t>
                      </a:r>
                      <a:r>
                        <a:rPr kumimoji="1" lang="ja-JP" altLang="en-US" sz="900" b="0" kern="1200" dirty="0">
                          <a:solidFill>
                            <a:schemeClr val="tx1"/>
                          </a:solidFill>
                          <a:latin typeface="+mn-lt"/>
                          <a:ea typeface="ＭＳ Ｐゴシック" charset="-128"/>
                          <a:cs typeface="Arial" pitchFamily="34" charset="0"/>
                        </a:rPr>
                        <a:t>年までに</a:t>
                      </a:r>
                      <a:r>
                        <a:rPr kumimoji="1" lang="en-US" altLang="ja-JP" sz="900" b="0" kern="1200" dirty="0">
                          <a:solidFill>
                            <a:schemeClr val="tx1"/>
                          </a:solidFill>
                          <a:latin typeface="+mn-lt"/>
                          <a:ea typeface="ＭＳ Ｐゴシック" charset="-128"/>
                          <a:cs typeface="Arial" pitchFamily="34" charset="0"/>
                        </a:rPr>
                        <a:t>100%</a:t>
                      </a:r>
                      <a:r>
                        <a:rPr kumimoji="1" lang="ja-JP" altLang="en-US" sz="900" b="0" kern="1200" dirty="0">
                          <a:solidFill>
                            <a:schemeClr val="tx1"/>
                          </a:solidFill>
                          <a:latin typeface="+mn-lt"/>
                          <a:ea typeface="ＭＳ Ｐゴシック" charset="-128"/>
                          <a:cs typeface="Arial" pitchFamily="34" charset="0"/>
                        </a:rPr>
                        <a:t>とすることが目指さ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健康情報共有のための国家プラットフォームにおいて、統合的な医療記録が開始され、その中で、患者の医療機関への訪問を全て記録し、医師やその他ステークホルダーが閲覧できるようにされており、これにより、ケアの継続性及び相互調整を図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43766252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212588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p:txBody>
          <a:bodyPr vert="horz"/>
          <a:lstStyle/>
          <a:p>
            <a:r>
              <a:rPr lang="ja-JP" altLang="en-US"/>
              <a:t>サウジアラビア／</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Way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ur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aises $4 Million in a Series A Rou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ladoc HP</a:t>
            </a:r>
          </a:p>
        </p:txBody>
      </p:sp>
      <p:graphicFrame>
        <p:nvGraphicFramePr>
          <p:cNvPr id="13" name="表 9">
            <a:extLst>
              <a:ext uri="{FF2B5EF4-FFF2-40B4-BE49-F238E27FC236}">
                <a16:creationId xmlns:a16="http://schemas.microsoft.com/office/drawing/2014/main" id="{4A98DEA7-AC27-4A47-BFBC-622C47F9FB18}"/>
              </a:ext>
            </a:extLst>
          </p:cNvPr>
          <p:cNvGraphicFramePr>
            <a:graphicFrameLocks noGrp="1"/>
          </p:cNvGraphicFramePr>
          <p:nvPr>
            <p:extLst>
              <p:ext uri="{D42A27DB-BD31-4B8C-83A1-F6EECF244321}">
                <p14:modId xmlns:p14="http://schemas.microsoft.com/office/powerpoint/2010/main" val="1645199485"/>
              </p:ext>
            </p:extLst>
          </p:nvPr>
        </p:nvGraphicFramePr>
        <p:xfrm>
          <a:off x="272480" y="1220138"/>
          <a:ext cx="9433046" cy="1560790"/>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690223">
                  <a:extLst>
                    <a:ext uri="{9D8B030D-6E8A-4147-A177-3AD203B41FA5}">
                      <a16:colId xmlns:a16="http://schemas.microsoft.com/office/drawing/2014/main" val="3198879459"/>
                    </a:ext>
                  </a:extLst>
                </a:gridCol>
                <a:gridCol w="575186">
                  <a:extLst>
                    <a:ext uri="{9D8B030D-6E8A-4147-A177-3AD203B41FA5}">
                      <a16:colId xmlns:a16="http://schemas.microsoft.com/office/drawing/2014/main" val="40798830"/>
                    </a:ext>
                  </a:extLst>
                </a:gridCol>
                <a:gridCol w="1150371">
                  <a:extLst>
                    <a:ext uri="{9D8B030D-6E8A-4147-A177-3AD203B41FA5}">
                      <a16:colId xmlns:a16="http://schemas.microsoft.com/office/drawing/2014/main" val="2099324750"/>
                    </a:ext>
                  </a:extLst>
                </a:gridCol>
                <a:gridCol w="920297">
                  <a:extLst>
                    <a:ext uri="{9D8B030D-6E8A-4147-A177-3AD203B41FA5}">
                      <a16:colId xmlns:a16="http://schemas.microsoft.com/office/drawing/2014/main" val="3109555531"/>
                    </a:ext>
                  </a:extLst>
                </a:gridCol>
                <a:gridCol w="805260">
                  <a:extLst>
                    <a:ext uri="{9D8B030D-6E8A-4147-A177-3AD203B41FA5}">
                      <a16:colId xmlns:a16="http://schemas.microsoft.com/office/drawing/2014/main" val="1744547167"/>
                    </a:ext>
                  </a:extLst>
                </a:gridCol>
                <a:gridCol w="805260">
                  <a:extLst>
                    <a:ext uri="{9D8B030D-6E8A-4147-A177-3AD203B41FA5}">
                      <a16:colId xmlns:a16="http://schemas.microsoft.com/office/drawing/2014/main" val="352305932"/>
                    </a:ext>
                  </a:extLst>
                </a:gridCol>
                <a:gridCol w="805260">
                  <a:extLst>
                    <a:ext uri="{9D8B030D-6E8A-4147-A177-3AD203B41FA5}">
                      <a16:colId xmlns:a16="http://schemas.microsoft.com/office/drawing/2014/main" val="3028484498"/>
                    </a:ext>
                  </a:extLst>
                </a:gridCol>
                <a:gridCol w="920297">
                  <a:extLst>
                    <a:ext uri="{9D8B030D-6E8A-4147-A177-3AD203B41FA5}">
                      <a16:colId xmlns:a16="http://schemas.microsoft.com/office/drawing/2014/main" val="519753452"/>
                    </a:ext>
                  </a:extLst>
                </a:gridCol>
              </a:tblGrid>
              <a:tr h="468868">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626877">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Cura</a:t>
                      </a:r>
                      <a:endParaRPr lang="en-US" sz="1000" b="1"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46504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Teledoc</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死亡要因</a:t>
            </a:r>
          </a:p>
        </p:txBody>
      </p:sp>
      <p:sp>
        <p:nvSpPr>
          <p:cNvPr id="31" name="テキスト ボックス 3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a:solidFill>
                  <a:srgbClr val="000000"/>
                </a:solidFill>
                <a:cs typeface="Arial" panose="020B0604020202020204" pitchFamily="34" charset="0"/>
              </a:rPr>
              <a:t>Institute of Health Metrics and Evaluation(IHME)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Global Burden of Disease Study 2015</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
        <p:nvSpPr>
          <p:cNvPr id="32" name="テキスト ボックス 31"/>
          <p:cNvSpPr txBox="1"/>
          <p:nvPr/>
        </p:nvSpPr>
        <p:spPr>
          <a:xfrm>
            <a:off x="1136650" y="6165304"/>
            <a:ext cx="8568876"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graphicFrame>
        <p:nvGraphicFramePr>
          <p:cNvPr id="4" name="表 3"/>
          <p:cNvGraphicFramePr>
            <a:graphicFrameLocks noGrp="1"/>
          </p:cNvGraphicFramePr>
          <p:nvPr>
            <p:extLst>
              <p:ext uri="{D42A27DB-BD31-4B8C-83A1-F6EECF244321}">
                <p14:modId xmlns:p14="http://schemas.microsoft.com/office/powerpoint/2010/main" val="3873943330"/>
              </p:ext>
            </p:extLst>
          </p:nvPr>
        </p:nvGraphicFramePr>
        <p:xfrm>
          <a:off x="1136651" y="1261322"/>
          <a:ext cx="7632700" cy="4805801"/>
        </p:xfrm>
        <a:graphic>
          <a:graphicData uri="http://schemas.openxmlformats.org/drawingml/2006/table">
            <a:tbl>
              <a:tblPr>
                <a:tableStyleId>{5C22544A-7EE6-4342-B048-85BDC9FD1C3A}</a:tableStyleId>
              </a:tblPr>
              <a:tblGrid>
                <a:gridCol w="2528479">
                  <a:extLst>
                    <a:ext uri="{9D8B030D-6E8A-4147-A177-3AD203B41FA5}">
                      <a16:colId xmlns:a16="http://schemas.microsoft.com/office/drawing/2014/main" val="20000"/>
                    </a:ext>
                  </a:extLst>
                </a:gridCol>
                <a:gridCol w="1701407">
                  <a:extLst>
                    <a:ext uri="{9D8B030D-6E8A-4147-A177-3AD203B41FA5}">
                      <a16:colId xmlns:a16="http://schemas.microsoft.com/office/drawing/2014/main" val="20001"/>
                    </a:ext>
                  </a:extLst>
                </a:gridCol>
                <a:gridCol w="1701407">
                  <a:extLst>
                    <a:ext uri="{9D8B030D-6E8A-4147-A177-3AD203B41FA5}">
                      <a16:colId xmlns:a16="http://schemas.microsoft.com/office/drawing/2014/main" val="20002"/>
                    </a:ext>
                  </a:extLst>
                </a:gridCol>
                <a:gridCol w="1701407">
                  <a:extLst>
                    <a:ext uri="{9D8B030D-6E8A-4147-A177-3AD203B41FA5}">
                      <a16:colId xmlns:a16="http://schemas.microsoft.com/office/drawing/2014/main" val="20003"/>
                    </a:ext>
                  </a:extLst>
                </a:gridCol>
              </a:tblGrid>
              <a:tr h="583502">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死亡要因（</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extLst>
                  <a:ext uri="{0D108BD9-81ED-4DB2-BD59-A6C34878D82A}">
                    <a16:rowId xmlns:a16="http://schemas.microsoft.com/office/drawing/2014/main" val="10000"/>
                  </a:ext>
                </a:extLst>
              </a:tr>
              <a:tr h="484645">
                <a:tc vMerge="1">
                  <a:txBody>
                    <a:bodyPr/>
                    <a:lstStyle/>
                    <a:p>
                      <a:pPr algn="l" fontAlgn="ct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非感染性疾患</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感染症</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事故等</a:t>
                      </a:r>
                    </a:p>
                  </a:txBody>
                  <a:tcPr marL="36000" marR="36000" marT="0" marB="0" anchor="ctr">
                    <a:solidFill>
                      <a:srgbClr val="3D6AA7"/>
                    </a:solidFill>
                  </a:tcPr>
                </a:tc>
                <a:extLst>
                  <a:ext uri="{0D108BD9-81ED-4DB2-BD59-A6C34878D82A}">
                    <a16:rowId xmlns:a16="http://schemas.microsoft.com/office/drawing/2014/main" val="10001"/>
                  </a:ext>
                </a:extLst>
              </a:tr>
              <a:tr h="161548">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60.5</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5.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9</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61548">
                <a:tc>
                  <a:txBody>
                    <a:bodyPr/>
                    <a:lstStyle/>
                    <a:p>
                      <a:pPr algn="l" fontAlgn="b">
                        <a:buNone/>
                      </a:pPr>
                      <a:r>
                        <a:rPr lang="ja-JP" altLang="en-US" sz="1100" b="0" i="0" u="none" strike="noStrike" dirty="0">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9.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6.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61548">
                <a:tc>
                  <a:txBody>
                    <a:bodyPr/>
                    <a:lstStyle/>
                    <a:p>
                      <a:pPr algn="l" fontAlgn="b">
                        <a:buNone/>
                      </a:pPr>
                      <a:r>
                        <a:rPr lang="ja-JP" altLang="en-US" sz="1100" b="0" i="0" u="none" strike="noStrike" dirty="0">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57.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4.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8.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61548">
                <a:tc>
                  <a:txBody>
                    <a:bodyPr/>
                    <a:lstStyle/>
                    <a:p>
                      <a:pPr algn="l" fontAlgn="b">
                        <a:buNone/>
                      </a:pPr>
                      <a:r>
                        <a:rPr lang="ja-JP" altLang="en-US" sz="1100" b="0" i="0" u="none" strike="noStrike">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6.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8.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5.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61548">
                <a:tc>
                  <a:txBody>
                    <a:bodyPr/>
                    <a:lstStyle/>
                    <a:p>
                      <a:pPr algn="l" fontAlgn="b">
                        <a:buNone/>
                      </a:pPr>
                      <a:r>
                        <a:rPr lang="ja-JP" altLang="en-US" sz="1100" b="0" i="0" u="none" strike="noStrike" dirty="0">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90.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61548">
                <a:tc>
                  <a:txBody>
                    <a:bodyPr/>
                    <a:lstStyle/>
                    <a:p>
                      <a:pPr algn="l" fontAlgn="b">
                        <a:buNone/>
                      </a:pPr>
                      <a:r>
                        <a:rPr lang="ja-JP" altLang="en-US" sz="1100" b="0" i="0" u="none" strike="noStrike" dirty="0">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78.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4.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6.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61548">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0.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61548">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49.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8.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61548">
                <a:tc>
                  <a:txBody>
                    <a:bodyPr/>
                    <a:lstStyle/>
                    <a:p>
                      <a:pPr algn="l" fontAlgn="b">
                        <a:buNone/>
                      </a:pPr>
                      <a:r>
                        <a:rPr lang="ja-JP" altLang="en-US" sz="1100" b="0" i="0" u="none" strike="noStrike" dirty="0">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52.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4.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61548">
                <a:tc>
                  <a:txBody>
                    <a:bodyPr/>
                    <a:lstStyle/>
                    <a:p>
                      <a:pPr algn="l" fontAlgn="b">
                        <a:buNone/>
                      </a:pPr>
                      <a:r>
                        <a:rPr lang="ja-JP" altLang="en-US" sz="1100" b="0" i="0" u="none" strike="noStrike" dirty="0">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1.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61548">
                <a:tc>
                  <a:txBody>
                    <a:bodyPr/>
                    <a:lstStyle/>
                    <a:p>
                      <a:pPr algn="l" fontAlgn="b">
                        <a:buNone/>
                      </a:pPr>
                      <a:r>
                        <a:rPr lang="ja-JP" altLang="en-US" sz="1100" b="0" i="0" u="none" strike="noStrike" dirty="0">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5.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9.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61548">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53.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8.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7.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61548">
                <a:tc>
                  <a:txBody>
                    <a:bodyPr/>
                    <a:lstStyle/>
                    <a:p>
                      <a:pPr algn="l" fontAlgn="b">
                        <a:buNone/>
                      </a:pPr>
                      <a:r>
                        <a:rPr lang="ja-JP" altLang="en-US" sz="1100" b="0" i="0" u="none" strike="noStrike">
                          <a:effectLst/>
                          <a:latin typeface="Aptos Narrow" panose="020B0004020202020204" pitchFamily="34" charset="0"/>
                        </a:rPr>
                        <a:t>大韓民国</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77.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4.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8.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61548">
                <a:tc>
                  <a:txBody>
                    <a:bodyPr/>
                    <a:lstStyle/>
                    <a:p>
                      <a:pPr algn="l" fontAlgn="b">
                        <a:buNone/>
                      </a:pPr>
                      <a:r>
                        <a:rPr lang="ja-JP" altLang="en-US" sz="1100" b="0" i="0" u="none" strike="noStrike" dirty="0">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62.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26.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61548">
                <a:tc>
                  <a:txBody>
                    <a:bodyPr/>
                    <a:lstStyle/>
                    <a:p>
                      <a:pPr algn="l" fontAlgn="b">
                        <a:buNone/>
                      </a:pPr>
                      <a:r>
                        <a:rPr lang="ja-JP" altLang="en-US" sz="1100" b="0" i="0" u="none" strike="noStrike">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67.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6.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1.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306092">
                <a:tc>
                  <a:txBody>
                    <a:bodyPr/>
                    <a:lstStyle/>
                    <a:p>
                      <a:pPr algn="l" fontAlgn="b">
                        <a:buNone/>
                      </a:pPr>
                      <a:r>
                        <a:rPr lang="ja-JP" altLang="en-US" sz="1100" b="0" i="0" u="none" strike="noStrike" dirty="0">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37.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6.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8.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61548">
                <a:tc>
                  <a:txBody>
                    <a:bodyPr/>
                    <a:lstStyle/>
                    <a:p>
                      <a:pPr algn="l" fontAlgn="b">
                        <a:buNone/>
                      </a:pPr>
                      <a:r>
                        <a:rPr lang="ja-JP" altLang="en-US" sz="1100" b="0" i="0" u="none" strike="noStrike" dirty="0">
                          <a:effectLst/>
                          <a:latin typeface="Aptos Narrow" panose="020B0004020202020204" pitchFamily="34" charset="0"/>
                        </a:rPr>
                        <a:t>ト</a:t>
                      </a:r>
                      <a:r>
                        <a:rPr kumimoji="1" lang="ja-JP" altLang="en-US" sz="1100" b="0" i="0" u="none" strike="noStrike" kern="1200" dirty="0">
                          <a:solidFill>
                            <a:schemeClr val="dk1"/>
                          </a:solidFill>
                          <a:effectLst/>
                          <a:latin typeface="Aptos Narrow" panose="020B0004020202020204" pitchFamily="34" charset="0"/>
                          <a:ea typeface="+mn-ea"/>
                          <a:cs typeface="+mn-cs"/>
                        </a:rPr>
                        <a:t>ルコ</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68.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22.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161548">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79.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306092">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77.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b">
                        <a:buNone/>
                      </a:pPr>
                      <a:r>
                        <a:rPr lang="en-IN" sz="1100" b="0" i="0" u="none" strike="noStrike">
                          <a:effectLst/>
                          <a:latin typeface="Aptos Narrow" panose="020B0004020202020204" pitchFamily="34" charset="0"/>
                        </a:rPr>
                        <a:t>16.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b">
                        <a:buNone/>
                      </a:pPr>
                      <a:r>
                        <a:rPr lang="en-IN" sz="1100" b="0" i="0" u="none" strike="noStrike" dirty="0">
                          <a:effectLst/>
                          <a:latin typeface="Aptos Narrow" panose="020B0004020202020204" pitchFamily="34" charset="0"/>
                        </a:rPr>
                        <a:t>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25924158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イベント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Health Exhibition and Confere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udi Health Exhibition and Confere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www.saudihealthexhibition.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7"/>
          <p:cNvGrpSpPr/>
          <p:nvPr/>
        </p:nvGrpSpPr>
        <p:grpSpPr>
          <a:xfrm>
            <a:off x="328031" y="1582235"/>
            <a:ext cx="9066047" cy="288032"/>
            <a:chOff x="4803499"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Saudi Health Exhibition and Conference</a:t>
              </a:r>
              <a:r>
                <a:rPr lang="ja-JP" altLang="en-US" sz="1400" dirty="0">
                  <a:solidFill>
                    <a:srgbClr val="000000"/>
                  </a:solidFill>
                  <a:latin typeface="Arial Black" pitchFamily="34" charset="0"/>
                  <a:ea typeface="HGP創英角ｺﾞｼｯｸUB" pitchFamily="50" charset="-128"/>
                </a:rPr>
                <a:t>」の概要</a:t>
              </a:r>
              <a:r>
                <a:rPr lang="en-US" altLang="ja-JP" sz="1400" dirty="0">
                  <a:solidFill>
                    <a:srgbClr val="000000"/>
                  </a:solidFill>
                  <a:latin typeface="Arial Black" pitchFamily="34" charset="0"/>
                  <a:ea typeface="HGP創英角ｺﾞｼｯｸUB" pitchFamily="50" charset="-128"/>
                </a:rPr>
                <a:t> </a:t>
              </a:r>
              <a:endParaRPr lang="ja-JP" altLang="en-US" sz="1400" dirty="0">
                <a:solidFill>
                  <a:srgbClr val="000000"/>
                </a:solidFill>
                <a:latin typeface="Arial Black" pitchFamily="34" charset="0"/>
                <a:ea typeface="HGP創英角ｺﾞｼｯｸUB" pitchFamily="50" charset="-128"/>
              </a:endParaRPr>
            </a:p>
          </p:txBody>
        </p:sp>
      </p:grpSp>
      <p:sp>
        <p:nvSpPr>
          <p:cNvPr id="17" name="角丸四角形 16"/>
          <p:cNvSpPr/>
          <p:nvPr/>
        </p:nvSpPr>
        <p:spPr>
          <a:xfrm>
            <a:off x="328031" y="1975781"/>
            <a:ext cx="9301279" cy="2605341"/>
          </a:xfrm>
          <a:prstGeom prst="roundRect">
            <a:avLst>
              <a:gd name="adj" fmla="val 7040"/>
            </a:avLst>
          </a:prstGeom>
          <a:solidFill>
            <a:srgbClr val="DDE6F3"/>
          </a:solidFill>
        </p:spPr>
        <p:txBody>
          <a:bodyPr lIns="144000" tIns="144000" rIns="144000">
            <a:noAutofit/>
          </a:bodyPr>
          <a:lstStyle/>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支援するサウジアラビア最大のヘルスケア関連イベント。</a:t>
            </a: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開催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開催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前登録制で、医療機器等の展示とともに、カンファレンスも開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が参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出展が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での開催予定。</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サウジアラビア中央州リヤドのリヤド展示コンベンションセンター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まで、グローバルヘルス展示会が開催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医療従事者が参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相当の契約が締結されま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同展示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まで、サウジアラビアのマルハムで開催される予定です。</a:t>
            </a:r>
          </a:p>
        </p:txBody>
      </p:sp>
      <p:pic>
        <p:nvPicPr>
          <p:cNvPr id="27650" name="Picture 2" descr="http://az767777.vo.msecnd.net/ukme-umbraco-lifescience/3812/day2-3_big-thum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3680" y="4792803"/>
            <a:ext cx="2160001" cy="1620000"/>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az767777.vo.msecnd.net/ukme-umbraco-lifescience/3792/day1-4_big-thum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72752" y="4792803"/>
            <a:ext cx="2159999" cy="16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32713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31" name="テキスト ボックス 3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ウジアラビア王国大使館「サウジアラビアの大学を知ろう　大学ガイドブッ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7" name="表 6"/>
          <p:cNvGraphicFramePr>
            <a:graphicFrameLocks noGrp="1"/>
          </p:cNvGraphicFramePr>
          <p:nvPr>
            <p:extLst>
              <p:ext uri="{D42A27DB-BD31-4B8C-83A1-F6EECF244321}">
                <p14:modId xmlns:p14="http://schemas.microsoft.com/office/powerpoint/2010/main" val="1291787243"/>
              </p:ext>
            </p:extLst>
          </p:nvPr>
        </p:nvGraphicFramePr>
        <p:xfrm>
          <a:off x="5385048" y="3019362"/>
          <a:ext cx="4320480" cy="2298090"/>
        </p:xfrm>
        <a:graphic>
          <a:graphicData uri="http://schemas.openxmlformats.org/drawingml/2006/table">
            <a:tbl>
              <a:tblPr firstRow="1" bandRow="1">
                <a:tableStyleId>{5C22544A-7EE6-4342-B048-85BDC9FD1C3A}</a:tableStyleId>
              </a:tblPr>
              <a:tblGrid>
                <a:gridCol w="1661759">
                  <a:extLst>
                    <a:ext uri="{9D8B030D-6E8A-4147-A177-3AD203B41FA5}">
                      <a16:colId xmlns:a16="http://schemas.microsoft.com/office/drawing/2014/main" val="20000"/>
                    </a:ext>
                  </a:extLst>
                </a:gridCol>
                <a:gridCol w="2658721">
                  <a:extLst>
                    <a:ext uri="{9D8B030D-6E8A-4147-A177-3AD203B41FA5}">
                      <a16:colId xmlns:a16="http://schemas.microsoft.com/office/drawing/2014/main" val="20001"/>
                    </a:ext>
                  </a:extLst>
                </a:gridCol>
              </a:tblGrid>
              <a:tr h="37655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2102">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ウジアラビア赤新月社</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audi </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rabian</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red crescent Authority</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サウジアラビアでは、</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6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緊急医療を担う医療機関として位置付けられている。イスラム教の国であるため、「赤十字」ではなく「赤新月」の標章を用い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臓器移植センター</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udi center for organ transplantation</a:t>
                      </a: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での臓器提供・移植の手続きを担う組織（公的資金により運営され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1124744"/>
            <a:ext cx="9505056" cy="99924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各大学（医学部）の管理下に、学術協会と呼ばれる組織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例として、サウジアラビアでトップレベルとされるキング・サウード大学（</a:t>
            </a:r>
            <a:r>
              <a:rPr lang="en-US" altLang="ja-JP" sz="1400" dirty="0"/>
              <a:t>King Saud University</a:t>
            </a:r>
            <a:r>
              <a:rPr lang="ja-JP" altLang="en-US" sz="1400" dirty="0"/>
              <a:t>）とキング・アブドゥルアズィーズ大学（</a:t>
            </a:r>
            <a:r>
              <a:rPr lang="en-US" altLang="ja-JP" sz="1400" dirty="0"/>
              <a:t>King </a:t>
            </a:r>
            <a:r>
              <a:rPr lang="en-US" altLang="ja-JP" sz="1400" dirty="0" err="1"/>
              <a:t>Abdulaziz</a:t>
            </a:r>
            <a:r>
              <a:rPr lang="en-US" altLang="ja-JP" sz="1400" dirty="0"/>
              <a:t> University</a:t>
            </a:r>
            <a:r>
              <a:rPr lang="ja-JP" altLang="en-US" sz="1400" dirty="0"/>
              <a:t>）の医学部の管理下にある学術協会を挙げる。</a:t>
            </a:r>
            <a:endParaRPr lang="en-US" altLang="ja-JP" sz="1400" dirty="0"/>
          </a:p>
          <a:p>
            <a:pPr marL="190500" indent="-190500"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医療に関連する団体として、「サウジアラビア赤新月社」や「サウジアラビア臓器移植センター」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Group 1026"/>
          <p:cNvGraphicFramePr>
            <a:graphicFrameLocks noGrp="1"/>
          </p:cNvGraphicFramePr>
          <p:nvPr>
            <p:extLst>
              <p:ext uri="{D42A27DB-BD31-4B8C-83A1-F6EECF244321}">
                <p14:modId xmlns:p14="http://schemas.microsoft.com/office/powerpoint/2010/main" val="217416205"/>
              </p:ext>
            </p:extLst>
          </p:nvPr>
        </p:nvGraphicFramePr>
        <p:xfrm>
          <a:off x="200472" y="3019362"/>
          <a:ext cx="5081588" cy="3277257"/>
        </p:xfrm>
        <a:graphic>
          <a:graphicData uri="http://schemas.openxmlformats.org/drawingml/2006/table">
            <a:tbl>
              <a:tblPr/>
              <a:tblGrid>
                <a:gridCol w="1919288">
                  <a:extLst>
                    <a:ext uri="{9D8B030D-6E8A-4147-A177-3AD203B41FA5}">
                      <a16:colId xmlns:a16="http://schemas.microsoft.com/office/drawing/2014/main" val="20000"/>
                    </a:ext>
                  </a:extLst>
                </a:gridCol>
                <a:gridCol w="3162300">
                  <a:extLst>
                    <a:ext uri="{9D8B030D-6E8A-4147-A177-3AD203B41FA5}">
                      <a16:colId xmlns:a16="http://schemas.microsoft.com/office/drawing/2014/main" val="20001"/>
                    </a:ext>
                  </a:extLst>
                </a:gridCol>
              </a:tblGrid>
              <a:tr h="211948">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大学</a:t>
                      </a:r>
                      <a:endParaRPr kumimoji="1" lang="en-US" altLang="ja-JP"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学術協会名（創設年）</a:t>
                      </a:r>
                      <a:endParaRPr kumimoji="1" lang="en-US" altLang="ja-JP"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235793">
                <a:tc rowSpan="10">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キング・サウード大学</a:t>
                      </a:r>
                    </a:p>
                  </a:txBody>
                  <a:tcPr marL="9525" marR="9525" marT="9525" marB="0"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小児医療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1"/>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心臓協会 </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4</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2"/>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眼科医療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3"/>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消化器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7</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4"/>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耳鼻咽喉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7</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5"/>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麻酔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8</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6"/>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腎臓病医療及び腎臓移植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1</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7"/>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皮膚病及び皮膚病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2</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8"/>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胸疾患及び胸部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3</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9"/>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整形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0"/>
                  </a:ext>
                </a:extLst>
              </a:tr>
              <a:tr h="235793">
                <a:tc rowSpan="3">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キング・アブドゥルアズィーズ大学</a:t>
                      </a:r>
                    </a:p>
                  </a:txBody>
                  <a:tcPr marL="9525" marR="9525" marT="9525" marB="0"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a:t>
                      </a:r>
                      <a:r>
                        <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総合外科協会（</a:t>
                      </a:r>
                      <a:r>
                        <a:rPr lang="en-US" altLang="zh-TW"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1"/>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サウジアラビア医学的検査協会（</a:t>
                      </a:r>
                      <a:r>
                        <a:rPr kumimoji="1" lang="en-US" altLang="ja-JP"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2000</a:t>
                      </a:r>
                      <a:r>
                        <a:rPr kumimoji="1" lang="ja-JP" alt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年）</a:t>
                      </a:r>
                      <a:endParaRPr kumimoji="1" 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2"/>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美容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1</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3"/>
                  </a:ext>
                </a:extLst>
              </a:tr>
            </a:tbl>
          </a:graphicData>
        </a:graphic>
      </p:graphicFrame>
      <p:grpSp>
        <p:nvGrpSpPr>
          <p:cNvPr id="13" name="グループ化 7"/>
          <p:cNvGrpSpPr/>
          <p:nvPr/>
        </p:nvGrpSpPr>
        <p:grpSpPr>
          <a:xfrm>
            <a:off x="200472" y="2636913"/>
            <a:ext cx="5081588"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管理下にある学術協会の例</a:t>
              </a:r>
            </a:p>
          </p:txBody>
        </p:sp>
      </p:grpSp>
      <p:grpSp>
        <p:nvGrpSpPr>
          <p:cNvPr id="16" name="グループ化 7"/>
          <p:cNvGrpSpPr/>
          <p:nvPr/>
        </p:nvGrpSpPr>
        <p:grpSpPr>
          <a:xfrm>
            <a:off x="5385049" y="2636913"/>
            <a:ext cx="4320478"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関連団体の概要</a:t>
              </a:r>
            </a:p>
          </p:txBody>
        </p:sp>
      </p:grpSp>
    </p:spTree>
    <p:extLst>
      <p:ext uri="{BB962C8B-B14F-4D97-AF65-F5344CB8AC3E}">
        <p14:creationId xmlns:p14="http://schemas.microsoft.com/office/powerpoint/2010/main" val="130646934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p:cNvGraphicFramePr>
            <a:graphicFrameLocks noChangeAspect="1"/>
          </p:cNvGraphicFramePr>
          <p:nvPr>
            <p:custDataLst>
              <p:tags r:id="rId1"/>
            </p:custDataLst>
            <p:extLst>
              <p:ext uri="{D42A27DB-BD31-4B8C-83A1-F6EECF244321}">
                <p14:modId xmlns:p14="http://schemas.microsoft.com/office/powerpoint/2010/main" val="1414323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17" name="オブジェクト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円/楕円 52"/>
          <p:cNvSpPr/>
          <p:nvPr/>
        </p:nvSpPr>
        <p:spPr>
          <a:xfrm>
            <a:off x="1409972" y="3130408"/>
            <a:ext cx="2350386" cy="1090680"/>
          </a:xfrm>
          <a:prstGeom prst="ellipse">
            <a:avLst/>
          </a:prstGeom>
          <a:solidFill>
            <a:srgbClr val="82CEBA"/>
          </a:solidFill>
          <a:ln>
            <a:noFill/>
          </a:ln>
        </p:spPr>
        <p:style>
          <a:lnRef idx="1">
            <a:schemeClr val="accent4"/>
          </a:lnRef>
          <a:fillRef idx="3">
            <a:schemeClr val="accent4"/>
          </a:fillRef>
          <a:effectRef idx="2">
            <a:schemeClr val="accent4"/>
          </a:effectRef>
          <a:fontRef idx="minor">
            <a:schemeClr val="lt1"/>
          </a:fontRef>
        </p:style>
        <p:txBody>
          <a:bodyPr wrap="square" rtlCol="0" anchor="ctr">
            <a:noAutofit/>
          </a:bodyPr>
          <a:lstStyle/>
          <a:p>
            <a:pPr algn="ctr"/>
            <a:r>
              <a:rPr lang="ja-JP" altLang="en-US" sz="1400" b="1" dirty="0">
                <a:solidFill>
                  <a:schemeClr val="tx1"/>
                </a:solidFill>
                <a:cs typeface="Arial" panose="020B0604020202020204" pitchFamily="34" charset="0"/>
              </a:rPr>
              <a:t>サウジアラビア</a:t>
            </a:r>
            <a:endParaRPr lang="en-US" altLang="ja-JP" sz="1400" b="1" dirty="0">
              <a:solidFill>
                <a:schemeClr val="tx1"/>
              </a:solidFill>
              <a:cs typeface="Arial" panose="020B0604020202020204" pitchFamily="34" charset="0"/>
            </a:endParaRPr>
          </a:p>
          <a:p>
            <a:pPr algn="ctr"/>
            <a:endParaRPr lang="en-US" altLang="ja-JP" sz="1100" b="1" dirty="0">
              <a:solidFill>
                <a:schemeClr val="tx1"/>
              </a:solidFill>
              <a:cs typeface="Arial" panose="020B0604020202020204" pitchFamily="34" charset="0"/>
            </a:endParaRPr>
          </a:p>
          <a:p>
            <a:pPr algn="ctr"/>
            <a:endParaRPr lang="en-US" altLang="ja-JP" sz="1100" b="1" dirty="0">
              <a:solidFill>
                <a:schemeClr val="tx1"/>
              </a:solidFill>
              <a:cs typeface="Arial" panose="020B0604020202020204" pitchFamily="34" charset="0"/>
            </a:endParaRPr>
          </a:p>
          <a:p>
            <a:pPr algn="ctr"/>
            <a:endParaRPr lang="ja-JP" altLang="en-US" sz="1100" b="1" dirty="0">
              <a:solidFill>
                <a:schemeClr val="tx1"/>
              </a:solidFill>
              <a:cs typeface="Arial" panose="020B0604020202020204" pitchFamily="34" charset="0"/>
            </a:endParaRPr>
          </a:p>
        </p:txBody>
      </p:sp>
      <p:sp>
        <p:nvSpPr>
          <p:cNvPr id="29" name="円/楕円 28"/>
          <p:cNvSpPr/>
          <p:nvPr/>
        </p:nvSpPr>
        <p:spPr>
          <a:xfrm>
            <a:off x="1414530" y="2132856"/>
            <a:ext cx="7076940"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solidFill>
                <a:srgbClr val="000000"/>
              </a:solidFill>
            </a:endParaRPr>
          </a:p>
        </p:txBody>
      </p:sp>
      <p:sp>
        <p:nvSpPr>
          <p:cNvPr id="9" name="正方形/長方形 8"/>
          <p:cNvSpPr/>
          <p:nvPr/>
        </p:nvSpPr>
        <p:spPr>
          <a:xfrm>
            <a:off x="1861139" y="2276872"/>
            <a:ext cx="6183723" cy="584775"/>
          </a:xfrm>
          <a:prstGeom prst="rect">
            <a:avLst/>
          </a:prstGeom>
        </p:spPr>
        <p:txBody>
          <a:bodyPr wrap="square">
            <a:spAutoFit/>
          </a:bodyPr>
          <a:lstStyle/>
          <a:p>
            <a:pPr font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国内での臓器移植、心臓血管外科の拡充により、海外での治療が必要な症例数は減っており、実際の医療渡航者数は減少傾向にある</a:t>
            </a:r>
          </a:p>
        </p:txBody>
      </p:sp>
      <p:sp>
        <p:nvSpPr>
          <p:cNvPr id="2" name="タイトル 1"/>
          <p:cNvSpPr>
            <a:spLocks noGrp="1"/>
          </p:cNvSpPr>
          <p:nvPr>
            <p:ph type="title"/>
          </p:nvPr>
        </p:nvSpPr>
        <p:spPr/>
        <p:txBody>
          <a:bodyPr vert="horz"/>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サウジアラビアでは、国内で提供できない</a:t>
            </a:r>
            <a:r>
              <a:rPr lang="en-US" altLang="ja-JP" sz="1400" dirty="0">
                <a:cs typeface="Arial" panose="020B0604020202020204" pitchFamily="34" charset="0"/>
              </a:rPr>
              <a:t>2</a:t>
            </a:r>
            <a:r>
              <a:rPr lang="ja-JP" altLang="en-US" sz="1400" dirty="0">
                <a:cs typeface="Arial" panose="020B0604020202020204" pitchFamily="34" charset="0"/>
              </a:rPr>
              <a:t>次、</a:t>
            </a:r>
            <a:r>
              <a:rPr lang="en-US" altLang="ja-JP" sz="1400" dirty="0">
                <a:cs typeface="Arial" panose="020B0604020202020204" pitchFamily="34" charset="0"/>
              </a:rPr>
              <a:t>3</a:t>
            </a:r>
            <a:r>
              <a:rPr lang="ja-JP" altLang="en-US" sz="1400" dirty="0">
                <a:cs typeface="Arial" panose="020B0604020202020204" pitchFamily="34" charset="0"/>
              </a:rPr>
              <a:t>次医療について、海外での治療を認めている。</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海外での治療を受けるためには、受診している地域の医療機関から保健省（</a:t>
            </a:r>
            <a:r>
              <a:rPr lang="en-US" altLang="ja-JP" sz="1400" dirty="0">
                <a:cs typeface="Arial" panose="020B0604020202020204" pitchFamily="34" charset="0"/>
              </a:rPr>
              <a:t>MOH</a:t>
            </a:r>
            <a:r>
              <a:rPr lang="ja-JP" altLang="en-US" sz="1400" dirty="0">
                <a:cs typeface="Arial" panose="020B0604020202020204" pitchFamily="34" charset="0"/>
              </a:rPr>
              <a:t>）に照会を行い、承認された場合には、治療費、渡航費、食事手当等が国から全額支給され、海外での受診が可能であっ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2021</a:t>
            </a:r>
            <a:r>
              <a:rPr lang="ja-JP" altLang="en-US" sz="1400" dirty="0">
                <a:cs typeface="Arial" panose="020B0604020202020204" pitchFamily="34" charset="0"/>
              </a:rPr>
              <a:t>年の海外での治療者は、</a:t>
            </a:r>
            <a:r>
              <a:rPr lang="en-US" altLang="ja-JP" sz="1400" dirty="0">
                <a:cs typeface="Arial" panose="020B0604020202020204" pitchFamily="34" charset="0"/>
              </a:rPr>
              <a:t>146</a:t>
            </a:r>
            <a:r>
              <a:rPr lang="ja-JP" altLang="en-US" sz="1400" dirty="0">
                <a:cs typeface="Arial" panose="020B0604020202020204" pitchFamily="34" charset="0"/>
              </a:rPr>
              <a:t>人となっている。</a:t>
            </a:r>
          </a:p>
        </p:txBody>
      </p:sp>
      <p:sp>
        <p:nvSpPr>
          <p:cNvPr id="10" name="円/楕円 9"/>
          <p:cNvSpPr/>
          <p:nvPr/>
        </p:nvSpPr>
        <p:spPr>
          <a:xfrm>
            <a:off x="1283796" y="5453457"/>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ＭＳ Ｐゴシック"/>
              </a:rPr>
              <a:t>ドイツ</a:t>
            </a:r>
            <a:endParaRPr lang="ja-JP" altLang="en-US" sz="1400" b="1" dirty="0">
              <a:solidFill>
                <a:srgbClr val="000000"/>
              </a:solidFill>
              <a:cs typeface="Arial" panose="020B0604020202020204" pitchFamily="34" charset="0"/>
            </a:endParaRPr>
          </a:p>
        </p:txBody>
      </p:sp>
      <p:sp>
        <p:nvSpPr>
          <p:cNvPr id="12" name="円/楕円 11"/>
          <p:cNvSpPr/>
          <p:nvPr/>
        </p:nvSpPr>
        <p:spPr>
          <a:xfrm>
            <a:off x="2867972" y="5453457"/>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cs typeface="Arial" panose="020B0604020202020204" pitchFamily="34" charset="0"/>
              </a:rPr>
              <a:t>アメリカ</a:t>
            </a:r>
          </a:p>
        </p:txBody>
      </p:sp>
      <p:sp>
        <p:nvSpPr>
          <p:cNvPr id="13" name="円/楕円 12"/>
          <p:cNvSpPr/>
          <p:nvPr/>
        </p:nvSpPr>
        <p:spPr>
          <a:xfrm>
            <a:off x="419700" y="4834526"/>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cs typeface="Arial" panose="020B0604020202020204" pitchFamily="34" charset="0"/>
              </a:rPr>
              <a:t>イギリス</a:t>
            </a:r>
          </a:p>
        </p:txBody>
      </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r>
              <a:rPr lang="ja-JP" altLang="en-US" sz="800" dirty="0">
                <a:solidFill>
                  <a:srgbClr val="000000"/>
                </a:solidFill>
                <a:cs typeface="Arial" panose="020B0604020202020204" pitchFamily="34" charset="0"/>
              </a:rPr>
              <a:t> 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Book for the Year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21</a:t>
            </a:r>
            <a:r>
              <a:rPr lang="ja-JP" altLang="en-US" sz="800" dirty="0">
                <a:solidFill>
                  <a:srgbClr val="000000"/>
                </a:solidFill>
                <a:cs typeface="Arial" panose="020B0604020202020204" pitchFamily="34" charset="0"/>
              </a:rPr>
              <a:t>）」</a:t>
            </a:r>
          </a:p>
        </p:txBody>
      </p:sp>
      <p:sp>
        <p:nvSpPr>
          <p:cNvPr id="18" name="Freeform 10"/>
          <p:cNvSpPr>
            <a:spLocks/>
          </p:cNvSpPr>
          <p:nvPr/>
        </p:nvSpPr>
        <p:spPr bwMode="auto">
          <a:xfrm>
            <a:off x="971009" y="3567776"/>
            <a:ext cx="1646237" cy="1433512"/>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45" name="Freeform 14"/>
          <p:cNvSpPr>
            <a:spLocks/>
          </p:cNvSpPr>
          <p:nvPr/>
        </p:nvSpPr>
        <p:spPr bwMode="auto">
          <a:xfrm>
            <a:off x="1824291" y="3819394"/>
            <a:ext cx="787400" cy="1860550"/>
          </a:xfrm>
          <a:custGeom>
            <a:avLst/>
            <a:gdLst>
              <a:gd name="T0" fmla="*/ 175 w 246"/>
              <a:gd name="T1" fmla="*/ 15 h 581"/>
              <a:gd name="T2" fmla="*/ 246 w 246"/>
              <a:gd name="T3" fmla="*/ 54 h 581"/>
              <a:gd name="T4" fmla="*/ 167 w 246"/>
              <a:gd name="T5" fmla="*/ 0 h 581"/>
              <a:gd name="T6" fmla="*/ 42 w 246"/>
              <a:gd name="T7" fmla="*/ 433 h 581"/>
              <a:gd name="T8" fmla="*/ 0 w 246"/>
              <a:gd name="T9" fmla="*/ 433 h 581"/>
              <a:gd name="T10" fmla="*/ 85 w 246"/>
              <a:gd name="T11" fmla="*/ 581 h 581"/>
              <a:gd name="T12" fmla="*/ 167 w 246"/>
              <a:gd name="T13" fmla="*/ 433 h 581"/>
              <a:gd name="T14" fmla="*/ 129 w 246"/>
              <a:gd name="T15" fmla="*/ 433 h 581"/>
              <a:gd name="T16" fmla="*/ 175 w 246"/>
              <a:gd name="T17" fmla="*/ 15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581">
                <a:moveTo>
                  <a:pt x="175" y="15"/>
                </a:moveTo>
                <a:cubicBezTo>
                  <a:pt x="191" y="15"/>
                  <a:pt x="212" y="28"/>
                  <a:pt x="246" y="54"/>
                </a:cubicBezTo>
                <a:cubicBezTo>
                  <a:pt x="213" y="22"/>
                  <a:pt x="201" y="0"/>
                  <a:pt x="167" y="0"/>
                </a:cubicBezTo>
                <a:cubicBezTo>
                  <a:pt x="99" y="0"/>
                  <a:pt x="44" y="139"/>
                  <a:pt x="42" y="433"/>
                </a:cubicBezTo>
                <a:cubicBezTo>
                  <a:pt x="0" y="433"/>
                  <a:pt x="0" y="433"/>
                  <a:pt x="0" y="433"/>
                </a:cubicBezTo>
                <a:cubicBezTo>
                  <a:pt x="85" y="581"/>
                  <a:pt x="85" y="581"/>
                  <a:pt x="85" y="581"/>
                </a:cubicBezTo>
                <a:cubicBezTo>
                  <a:pt x="167" y="433"/>
                  <a:pt x="167" y="433"/>
                  <a:pt x="167" y="433"/>
                </a:cubicBezTo>
                <a:cubicBezTo>
                  <a:pt x="129" y="433"/>
                  <a:pt x="129" y="433"/>
                  <a:pt x="129" y="433"/>
                </a:cubicBezTo>
                <a:cubicBezTo>
                  <a:pt x="114" y="230"/>
                  <a:pt x="117" y="15"/>
                  <a:pt x="175" y="15"/>
                </a:cubicBezTo>
                <a:close/>
              </a:path>
            </a:pathLst>
          </a:custGeom>
          <a:gradFill flip="none" rotWithShape="1">
            <a:gsLst>
              <a:gs pos="58000">
                <a:srgbClr val="3D6AA7"/>
              </a:gs>
              <a:gs pos="100000">
                <a:srgbClr val="DDE6F3"/>
              </a:gs>
            </a:gsLst>
            <a:lin ang="16200000" scaled="1"/>
            <a:tileRect/>
          </a:gradFill>
          <a:ln>
            <a:noFill/>
          </a:ln>
        </p:spPr>
        <p:txBody>
          <a:bodyPr vert="horz" wrap="square" lIns="91440" tIns="45720" rIns="91440" bIns="45720" numCol="1" anchor="t" anchorCtr="0" compatLnSpc="1">
            <a:prstTxWarp prst="textNoShape">
              <a:avLst/>
            </a:prstTxWarp>
          </a:bodyPr>
          <a:lstStyle/>
          <a:p>
            <a:r>
              <a:rPr lang="ja-JP" altLang="en-US" dirty="0">
                <a:solidFill>
                  <a:srgbClr val="000000"/>
                </a:solidFill>
              </a:rPr>
              <a:t>　</a:t>
            </a:r>
          </a:p>
        </p:txBody>
      </p:sp>
      <p:sp>
        <p:nvSpPr>
          <p:cNvPr id="51" name="Freeform 22"/>
          <p:cNvSpPr>
            <a:spLocks/>
          </p:cNvSpPr>
          <p:nvPr/>
        </p:nvSpPr>
        <p:spPr bwMode="auto">
          <a:xfrm>
            <a:off x="2612479" y="3478873"/>
            <a:ext cx="1312863" cy="2222500"/>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94">
                <a:moveTo>
                  <a:pt x="370" y="548"/>
                </a:moveTo>
                <a:cubicBezTo>
                  <a:pt x="336" y="116"/>
                  <a:pt x="239" y="0"/>
                  <a:pt x="141" y="0"/>
                </a:cubicBezTo>
                <a:cubicBezTo>
                  <a:pt x="76" y="0"/>
                  <a:pt x="24" y="68"/>
                  <a:pt x="0" y="160"/>
                </a:cubicBezTo>
                <a:cubicBezTo>
                  <a:pt x="44" y="69"/>
                  <a:pt x="80" y="30"/>
                  <a:pt x="131" y="30"/>
                </a:cubicBezTo>
                <a:cubicBezTo>
                  <a:pt x="211" y="30"/>
                  <a:pt x="255" y="182"/>
                  <a:pt x="278" y="553"/>
                </a:cubicBezTo>
                <a:cubicBezTo>
                  <a:pt x="241" y="554"/>
                  <a:pt x="241" y="554"/>
                  <a:pt x="241" y="554"/>
                </a:cubicBezTo>
                <a:cubicBezTo>
                  <a:pt x="334" y="694"/>
                  <a:pt x="334" y="694"/>
                  <a:pt x="334" y="694"/>
                </a:cubicBezTo>
                <a:cubicBezTo>
                  <a:pt x="410" y="546"/>
                  <a:pt x="410" y="546"/>
                  <a:pt x="410" y="546"/>
                </a:cubicBezTo>
                <a:lnTo>
                  <a:pt x="370" y="548"/>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59" name="Freeform 7"/>
          <p:cNvSpPr>
            <a:spLocks noEditPoints="1"/>
          </p:cNvSpPr>
          <p:nvPr/>
        </p:nvSpPr>
        <p:spPr bwMode="auto">
          <a:xfrm rot="1398682">
            <a:off x="461870" y="3313877"/>
            <a:ext cx="962123" cy="427786"/>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grpSp>
        <p:nvGrpSpPr>
          <p:cNvPr id="55" name="グループ化 7"/>
          <p:cNvGrpSpPr/>
          <p:nvPr/>
        </p:nvGrpSpPr>
        <p:grpSpPr>
          <a:xfrm>
            <a:off x="5601072" y="3284984"/>
            <a:ext cx="3816424" cy="288032"/>
            <a:chOff x="4803500" y="2113806"/>
            <a:chExt cx="5626916" cy="288032"/>
          </a:xfrm>
        </p:grpSpPr>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への医療渡航者の内訳（</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時点）</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6" name="グラフ 53">
            <a:extLst>
              <a:ext uri="{FF2B5EF4-FFF2-40B4-BE49-F238E27FC236}">
                <a16:creationId xmlns:a16="http://schemas.microsoft.com/office/drawing/2014/main" id="{EC35D1C5-206A-5C5F-7D57-4D0EE0FC953F}"/>
              </a:ext>
            </a:extLst>
          </p:cNvPr>
          <p:cNvGraphicFramePr/>
          <p:nvPr>
            <p:extLst>
              <p:ext uri="{D42A27DB-BD31-4B8C-83A1-F6EECF244321}">
                <p14:modId xmlns:p14="http://schemas.microsoft.com/office/powerpoint/2010/main" val="4040396760"/>
              </p:ext>
            </p:extLst>
          </p:nvPr>
        </p:nvGraphicFramePr>
        <p:xfrm>
          <a:off x="6058737" y="3614580"/>
          <a:ext cx="2901094" cy="2694143"/>
        </p:xfrm>
        <a:graphic>
          <a:graphicData uri="http://schemas.openxmlformats.org/drawingml/2006/chart">
            <c:chart xmlns:c="http://schemas.openxmlformats.org/drawingml/2006/chart" xmlns:r="http://schemas.openxmlformats.org/officeDocument/2006/relationships" r:id="rId5"/>
          </a:graphicData>
        </a:graphic>
      </p:graphicFrame>
      <p:cxnSp>
        <p:nvCxnSpPr>
          <p:cNvPr id="11" name="直線コネクタ 10">
            <a:extLst>
              <a:ext uri="{FF2B5EF4-FFF2-40B4-BE49-F238E27FC236}">
                <a16:creationId xmlns:a16="http://schemas.microsoft.com/office/drawing/2014/main" id="{3836AD0B-8AAF-350D-8276-811F145FA9A3}"/>
              </a:ext>
            </a:extLst>
          </p:cNvPr>
          <p:cNvCxnSpPr/>
          <p:nvPr/>
        </p:nvCxnSpPr>
        <p:spPr>
          <a:xfrm>
            <a:off x="8044862" y="5813497"/>
            <a:ext cx="220506" cy="13578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1014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日本の医療に対する印象、ニーズ</a:t>
            </a:r>
            <a:endParaRPr lang="en-US" altLang="ja-JP" dirty="0"/>
          </a:p>
        </p:txBody>
      </p:sp>
      <p:sp>
        <p:nvSpPr>
          <p:cNvPr id="28" name="テキスト ボックス 27"/>
          <p:cNvSpPr txBox="1"/>
          <p:nvPr/>
        </p:nvSpPr>
        <p:spPr>
          <a:xfrm>
            <a:off x="200472" y="1124744"/>
            <a:ext cx="9505056" cy="147322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戦略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1431~14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よると、がんセンター等、専門医療センターの増設や、高度な心臓手術、放射線療法、臓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角膜移植などの高度な医療を担うメディカル・シティの増設が計画されており、今後も、こうした</a:t>
            </a:r>
            <a:r>
              <a:rPr lang="ja-JP" altLang="en-US" sz="1400" dirty="0"/>
              <a:t>高度な医療技術のニーズがある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予防医療の分野では、糖尿病、肥満、高血圧、高コレステロール、喫煙に関して、統合情報システムが開始されており、今後実際の予防活動を導入していく中で、検診、関連医薬品、測定機器などの導入が進んでいく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死亡要因に占める「事故等」の割合が高いことから、救急医療の拡充へのニーズも高い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7" name="グループ化 7"/>
          <p:cNvGrpSpPr/>
          <p:nvPr/>
        </p:nvGrpSpPr>
        <p:grpSpPr>
          <a:xfrm>
            <a:off x="1098308" y="3190218"/>
            <a:ext cx="7709383"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の医療分野における課題と想定されるニーズ</a:t>
              </a:r>
            </a:p>
          </p:txBody>
        </p:sp>
      </p:grpSp>
      <p:sp>
        <p:nvSpPr>
          <p:cNvPr id="11" name="角丸四角形 10"/>
          <p:cNvSpPr/>
          <p:nvPr/>
        </p:nvSpPr>
        <p:spPr>
          <a:xfrm>
            <a:off x="1098309" y="3982305"/>
            <a:ext cx="3460986" cy="1944216"/>
          </a:xfrm>
          <a:prstGeom prst="roundRect">
            <a:avLst>
              <a:gd name="adj" fmla="val 2153"/>
            </a:avLst>
          </a:prstGeom>
          <a:solidFill>
            <a:srgbClr val="DDE6F3"/>
          </a:solidFill>
        </p:spPr>
        <p:txBody>
          <a:bodyPr wrap="square" lIns="108000" tIns="108000" rIns="108000" bIns="108000" anchor="ctr">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心臓病、がん、糖尿病、透析、リハビリテーションの分野での高度医療を提供する必要性</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特に乳がんの罹患率が高い</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国内医療従事者人材における医療技術の向上</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糖尿病、肥満、高血圧、高コレステロール、喫煙に対する統合情報システムの実施</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死亡要因に占める「事故等」の割合が高い</a:t>
            </a:r>
          </a:p>
        </p:txBody>
      </p:sp>
      <p:sp>
        <p:nvSpPr>
          <p:cNvPr id="12" name="角丸四角形 11"/>
          <p:cNvSpPr/>
          <p:nvPr/>
        </p:nvSpPr>
        <p:spPr>
          <a:xfrm>
            <a:off x="5346706" y="3982305"/>
            <a:ext cx="3460986" cy="1944216"/>
          </a:xfrm>
          <a:prstGeom prst="roundRect">
            <a:avLst>
              <a:gd name="adj" fmla="val 2153"/>
            </a:avLst>
          </a:prstGeom>
          <a:solidFill>
            <a:srgbClr val="DDE6F3"/>
          </a:solidFill>
        </p:spPr>
        <p:txBody>
          <a:bodyPr wrap="square" lIns="108000" tIns="108000" rIns="108000" bIns="108000" anchor="ctr">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病院の増加に伴う新規導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検診、治療に関する医療機器、医薬品に関する最新技術情報、実際の購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医療教育、技術向上への提携</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検診システムの導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関連医薬品、測定機器の購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救急医療の拡充</a:t>
            </a:r>
            <a:endParaRPr lang="en-US" altLang="ja-JP" sz="1200" dirty="0"/>
          </a:p>
        </p:txBody>
      </p:sp>
      <p:sp>
        <p:nvSpPr>
          <p:cNvPr id="5" name="正方形/長方形 4"/>
          <p:cNvSpPr/>
          <p:nvPr/>
        </p:nvSpPr>
        <p:spPr>
          <a:xfrm>
            <a:off x="2556933" y="3612393"/>
            <a:ext cx="543739" cy="307777"/>
          </a:xfrm>
          <a:prstGeom prst="rect">
            <a:avLst/>
          </a:prstGeom>
        </p:spPr>
        <p:txBody>
          <a:bodyPr wrap="none">
            <a:spAutoFit/>
          </a:bodyPr>
          <a:lstStyle/>
          <a:p>
            <a:pPr lvl="0" algn="ctr" defTabSz="955675">
              <a:buSzPct val="120000"/>
            </a:pPr>
            <a:r>
              <a:rPr lang="ja-JP" altLang="en-US" sz="1400" dirty="0">
                <a:solidFill>
                  <a:srgbClr val="000000"/>
                </a:solidFill>
                <a:latin typeface="Arial Black" pitchFamily="34" charset="0"/>
                <a:ea typeface="HGP創英角ｺﾞｼｯｸUB" pitchFamily="50" charset="-128"/>
              </a:rPr>
              <a:t>課題</a:t>
            </a:r>
          </a:p>
        </p:txBody>
      </p:sp>
      <p:sp>
        <p:nvSpPr>
          <p:cNvPr id="15" name="正方形/長方形 14"/>
          <p:cNvSpPr/>
          <p:nvPr/>
        </p:nvSpPr>
        <p:spPr>
          <a:xfrm>
            <a:off x="6334848" y="3612393"/>
            <a:ext cx="1484702" cy="307777"/>
          </a:xfrm>
          <a:prstGeom prst="rect">
            <a:avLst/>
          </a:prstGeom>
        </p:spPr>
        <p:txBody>
          <a:bodyPr wrap="none">
            <a:spAutoFit/>
          </a:bodyPr>
          <a:lstStyle/>
          <a:p>
            <a:pPr lvl="0" algn="ctr" defTabSz="955675">
              <a:buSzPct val="120000"/>
            </a:pPr>
            <a:r>
              <a:rPr lang="ja-JP" altLang="en-US" sz="1400" dirty="0">
                <a:solidFill>
                  <a:srgbClr val="000000"/>
                </a:solidFill>
                <a:latin typeface="Arial Black" pitchFamily="34" charset="0"/>
                <a:ea typeface="HGP創英角ｺﾞｼｯｸUB" pitchFamily="50" charset="-128"/>
              </a:rPr>
              <a:t>想定されるニーズ</a:t>
            </a:r>
          </a:p>
        </p:txBody>
      </p:sp>
      <p:sp>
        <p:nvSpPr>
          <p:cNvPr id="16" name="Isosceles Triangle 8"/>
          <p:cNvSpPr/>
          <p:nvPr/>
        </p:nvSpPr>
        <p:spPr bwMode="auto">
          <a:xfrm rot="5400000">
            <a:off x="4073338" y="4810396"/>
            <a:ext cx="1759326" cy="288034"/>
          </a:xfrm>
          <a:prstGeom prst="triangle">
            <a:avLst>
              <a:gd name="adj" fmla="val 49256"/>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00000"/>
              </a:solidFill>
            </a:endParaRPr>
          </a:p>
        </p:txBody>
      </p:sp>
    </p:spTree>
    <p:extLst>
      <p:ext uri="{BB962C8B-B14F-4D97-AF65-F5344CB8AC3E}">
        <p14:creationId xmlns:p14="http://schemas.microsoft.com/office/powerpoint/2010/main" val="245026229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他国（韓国）の参入状況</a:t>
            </a:r>
            <a:endParaRPr lang="en-US" altLang="ja-JP" dirty="0"/>
          </a:p>
        </p:txBody>
      </p:sp>
      <p:sp>
        <p:nvSpPr>
          <p:cNvPr id="28" name="テキスト ボックス 27"/>
          <p:cNvSpPr txBox="1"/>
          <p:nvPr/>
        </p:nvSpPr>
        <p:spPr>
          <a:xfrm>
            <a:off x="200472" y="1124744"/>
            <a:ext cx="9505056" cy="5119350"/>
          </a:xfrm>
          <a:prstGeom prst="rect">
            <a:avLst/>
          </a:prstGeom>
          <a:noFill/>
        </p:spPr>
        <p:txBody>
          <a:bodyPr wrap="square" lIns="0" tIns="0" rIns="0" bIns="0" rtlCol="0">
            <a:spAutoFit/>
          </a:bodyPr>
          <a:lstStyle/>
          <a:p>
            <a:pPr marL="190500" indent="-190500">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韓国政府と、サウジアラビア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保健医療６分野で包括的に協力することに合意し、</a:t>
            </a:r>
            <a:r>
              <a:rPr lang="ja-JP" altLang="en-US" sz="1400" dirty="0">
                <a:solidFill>
                  <a:srgbClr val="000000"/>
                </a:solidFill>
                <a:cs typeface="Arial" panose="020B0604020202020204" pitchFamily="34" charset="0"/>
              </a:rPr>
              <a:t>病院建設から運営、医療関係者の教育・研修、研究開発まで医療のすべて医療システムを、韓国からサウジアラビアにそのまま移植する「双子プロジェクト（</a:t>
            </a:r>
            <a:r>
              <a:rPr lang="en-US" altLang="ja-JP" sz="1400" dirty="0">
                <a:solidFill>
                  <a:srgbClr val="000000"/>
                </a:solidFill>
                <a:cs typeface="Arial" panose="020B0604020202020204" pitchFamily="34" charset="0"/>
              </a:rPr>
              <a:t>Medical System Twinning Project</a:t>
            </a:r>
            <a:r>
              <a:rPr lang="ja-JP" altLang="en-US" sz="1400" dirty="0">
                <a:solidFill>
                  <a:srgbClr val="000000"/>
                </a:solidFill>
                <a:cs typeface="Arial" panose="020B0604020202020204" pitchFamily="34" charset="0"/>
              </a:rPr>
              <a:t>）」が開始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は、サムスンソウル病院が、キング・ファハド・メディカル・シティ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間に渡り、技術移転を含む研究協力事業を推進する内容の覚書が締結された。</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その後、</a:t>
            </a: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2</a:t>
            </a:r>
            <a:r>
              <a:rPr lang="ja-JP" altLang="en-US" sz="1400" dirty="0">
                <a:solidFill>
                  <a:srgbClr val="000000"/>
                </a:solidFill>
                <a:cs typeface="Arial" panose="020B0604020202020204" pitchFamily="34" charset="0"/>
              </a:rPr>
              <a:t>月には、リヤドにて「</a:t>
            </a:r>
            <a:r>
              <a:rPr lang="en-US" altLang="ja-JP" sz="1400" dirty="0">
                <a:solidFill>
                  <a:srgbClr val="000000"/>
                </a:solidFill>
                <a:cs typeface="Arial" panose="020B0604020202020204" pitchFamily="34" charset="0"/>
              </a:rPr>
              <a:t>Korea-Saudi Health Care Cooperation Road Show</a:t>
            </a:r>
            <a:r>
              <a:rPr lang="ja-JP" altLang="en-US" sz="1400" dirty="0">
                <a:solidFill>
                  <a:srgbClr val="000000"/>
                </a:solidFill>
                <a:cs typeface="Arial" panose="020B0604020202020204" pitchFamily="34" charset="0"/>
              </a:rPr>
              <a:t>」が開催され、両国保健省の幹部らも出席している。</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月には、</a:t>
            </a:r>
            <a:r>
              <a:rPr lang="ja-JP" altLang="en-US" sz="1400" dirty="0"/>
              <a:t>黄教安国務総理（首相）が、サウジアラビアを訪問し、交通・投資・エネルギー分野での覚書（</a:t>
            </a:r>
            <a:r>
              <a:rPr lang="en-US" altLang="ja-JP" sz="1400" dirty="0"/>
              <a:t>MOU</a:t>
            </a:r>
            <a:r>
              <a:rPr lang="ja-JP" altLang="en-US" sz="1400" dirty="0"/>
              <a:t>）を締結した他、政務協議と治安訓練分野でも覚書（</a:t>
            </a:r>
            <a:r>
              <a:rPr lang="en-US" altLang="ja-JP" sz="1400" dirty="0"/>
              <a:t>MOU</a:t>
            </a:r>
            <a:r>
              <a:rPr lang="ja-JP" altLang="en-US" sz="1400" dirty="0"/>
              <a:t>）を締結し、保健・医療分野での協力についても、協議を行った</a:t>
            </a:r>
            <a:r>
              <a:rPr lang="ja-JP" altLang="en-US" sz="1400" dirty="0">
                <a:solidFill>
                  <a:srgbClr val="000000"/>
                </a:solidFill>
                <a:cs typeface="Arial" panose="020B0604020202020204" pitchFamily="34" charset="0"/>
              </a:rPr>
              <a:t>。</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これらの一連の協力関係構築の背景には、韓国の医療技術に対する高い評価とともに、</a:t>
            </a:r>
            <a:r>
              <a:rPr lang="en-US" altLang="ja-JP" sz="1400" dirty="0">
                <a:solidFill>
                  <a:srgbClr val="000000"/>
                </a:solidFill>
                <a:cs typeface="Arial" panose="020B0604020202020204" pitchFamily="34" charset="0"/>
              </a:rPr>
              <a:t>1970</a:t>
            </a:r>
            <a:r>
              <a:rPr lang="ja-JP" altLang="en-US" sz="1400" dirty="0">
                <a:solidFill>
                  <a:srgbClr val="000000"/>
                </a:solidFill>
                <a:cs typeface="Arial" panose="020B0604020202020204" pitchFamily="34" charset="0"/>
              </a:rPr>
              <a:t>年代の中東地域での建設ブームで韓国が積み重ねてきた信頼があるとされている。</a:t>
            </a:r>
            <a:endParaRPr lang="en-US" altLang="ja-JP" sz="1400" dirty="0">
              <a:solidFill>
                <a:srgbClr val="000000"/>
              </a:solidFill>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代には、現代建設を含めた韓国企業が、サウジアラビアに病院を建設した実績もあり、それらの建物に韓国の情報技術が導入されたという見方もある。</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国政府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の</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第</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１４１</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次対外経済長官会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おいて</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国医療海外進出拡大方策」</a:t>
            </a:r>
            <a:r>
              <a:rPr lang="ja-JP" altLang="en-US" sz="14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を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決した。さらに、同方策に基づいて、中国や東南アジア、モンゴル、中東、中央アジア、ロシアへつながる「メディカル・コリア・ベルト」の構築を目的とした</a:t>
            </a:r>
            <a:r>
              <a:rPr lang="ja-JP" altLang="en-US" sz="1400" dirty="0"/>
              <a:t>公共機関、医療界、連関産業体、民間専門家が参加する「国際医療事業官民合同タスクフォース（ＦＴ）」を設置した。</a:t>
            </a:r>
            <a:endParaRPr lang="en-US" altLang="ja-JP" sz="1400" dirty="0"/>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上半期までに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人の外国人患者が韓国で診療を受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まで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所の医療機関がアメリカや中国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ヵ国に進出したと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は、　外国人患者の誘致、病院の海外進出などを支援する「国際医療事業支援法」を成立させ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医療分野の海外進出と外国人患者誘致の支援に関する５カ年（２０１７～２１年）の総合計画を発表し、２０２１年までに韓国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の海外進出、外国人患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誘致という目標が掲げ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重点戦略は、韓国医療のパッケージ進出の拡散、医療・観光・ＩＴの融合を通じた外国人患者誘致の活性化、地域に特化した戦略、グローバルな力の強化、韓国医療ブランドの世界でのステータス向上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であり、地域に特化した戦略の対象地域には、中国、ロシアに加えて</a:t>
            </a:r>
            <a:r>
              <a:rPr lang="ja-JP" altLang="en-US" sz="1200" dirty="0"/>
              <a:t>中東が含ま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ムスンソウル病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中央日報日本語版</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版）、</a:t>
            </a:r>
            <a:r>
              <a:rPr lang="ja-JP" altLang="en-US" sz="800" dirty="0"/>
              <a:t>ソウル聯合ニュース（</a:t>
            </a:r>
            <a:r>
              <a:rPr lang="en-US" altLang="ja-JP" sz="800" dirty="0"/>
              <a:t>2016</a:t>
            </a:r>
            <a:r>
              <a:rPr lang="ja-JP" altLang="en-US" sz="800" dirty="0"/>
              <a:t>年</a:t>
            </a:r>
            <a:r>
              <a:rPr lang="en-US" altLang="ja-JP" sz="800" dirty="0"/>
              <a:t>11</a:t>
            </a:r>
            <a:r>
              <a:rPr lang="ja-JP" altLang="en-US" sz="800" dirty="0"/>
              <a:t>月</a:t>
            </a:r>
            <a:r>
              <a:rPr lang="en-US" altLang="ja-JP" sz="800" dirty="0"/>
              <a:t>29</a:t>
            </a:r>
            <a:r>
              <a:rPr lang="ja-JP" altLang="en-US" sz="800" dirty="0"/>
              <a:t>日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0945250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p>
        </p:txBody>
      </p:sp>
    </p:spTree>
    <p:extLst>
      <p:ext uri="{BB962C8B-B14F-4D97-AF65-F5344CB8AC3E}">
        <p14:creationId xmlns:p14="http://schemas.microsoft.com/office/powerpoint/2010/main" val="31727893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106981-F0C1-4D56-AFB1-ECFF10E41541}"/>
              </a:ext>
            </a:extLst>
          </p:cNvPr>
          <p:cNvGraphicFramePr>
            <a:graphicFrameLocks noChangeAspect="1"/>
          </p:cNvGraphicFramePr>
          <p:nvPr>
            <p:custDataLst>
              <p:tags r:id="rId1"/>
            </p:custDataLst>
            <p:extLst>
              <p:ext uri="{D42A27DB-BD31-4B8C-83A1-F6EECF244321}">
                <p14:modId xmlns:p14="http://schemas.microsoft.com/office/powerpoint/2010/main" val="283282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8" name="Object 7" hidden="1">
                        <a:extLst>
                          <a:ext uri="{FF2B5EF4-FFF2-40B4-BE49-F238E27FC236}">
                            <a16:creationId xmlns:a16="http://schemas.microsoft.com/office/drawing/2014/main" id="{3A106981-F0C1-4D56-AFB1-ECFF10E415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1/6</a:t>
            </a:r>
            <a:r>
              <a:rPr lang="ja-JP" altLang="en-US" dirty="0"/>
              <a:t>）</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4</a:t>
            </a:r>
            <a:r>
              <a:rPr lang="ja-JP" altLang="en-US" sz="1400" dirty="0">
                <a:solidFill>
                  <a:srgbClr val="000000"/>
                </a:solidFill>
                <a:cs typeface="Arial" panose="020B0604020202020204" pitchFamily="34" charset="0"/>
              </a:rPr>
              <a:t>月に、</a:t>
            </a:r>
            <a:r>
              <a:rPr lang="en-US" altLang="ja-JP" sz="1400" dirty="0">
                <a:solidFill>
                  <a:srgbClr val="000000"/>
                </a:solidFill>
                <a:cs typeface="Arial" panose="020B0604020202020204" pitchFamily="34" charset="0"/>
              </a:rPr>
              <a:t>2030</a:t>
            </a:r>
            <a:r>
              <a:rPr lang="ja-JP" altLang="en-US" sz="1400" dirty="0">
                <a:solidFill>
                  <a:srgbClr val="000000"/>
                </a:solidFill>
                <a:cs typeface="Arial" panose="020B0604020202020204" pitchFamily="34" charset="0"/>
              </a:rPr>
              <a:t>年までの経済改革計画「</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が策定され、「平均寿命を</a:t>
            </a:r>
            <a:r>
              <a:rPr lang="en-US" altLang="ja-JP" sz="1400" dirty="0">
                <a:solidFill>
                  <a:srgbClr val="000000"/>
                </a:solidFill>
                <a:cs typeface="Arial" panose="020B0604020202020204" pitchFamily="34" charset="0"/>
              </a:rPr>
              <a:t>74</a:t>
            </a:r>
            <a:r>
              <a:rPr lang="ja-JP" altLang="en-US" sz="1400" dirty="0">
                <a:solidFill>
                  <a:srgbClr val="000000"/>
                </a:solidFill>
                <a:cs typeface="Arial" panose="020B0604020202020204" pitchFamily="34" charset="0"/>
              </a:rPr>
              <a:t>歳から</a:t>
            </a:r>
            <a:r>
              <a:rPr lang="en-US" altLang="ja-JP" sz="1400" dirty="0">
                <a:solidFill>
                  <a:srgbClr val="000000"/>
                </a:solidFill>
                <a:cs typeface="Arial" panose="020B0604020202020204" pitchFamily="34" charset="0"/>
              </a:rPr>
              <a:t>80</a:t>
            </a:r>
            <a:r>
              <a:rPr lang="ja-JP" altLang="en-US" sz="1400" dirty="0">
                <a:solidFill>
                  <a:srgbClr val="000000"/>
                </a:solidFill>
                <a:cs typeface="Arial" panose="020B0604020202020204" pitchFamily="34" charset="0"/>
              </a:rPr>
              <a:t>歳に延ばす」目標が掲げ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この目標を達成するために、政府は「医療部門の企業化」（民営化）を始め、民間保険の整備、診療予約の待ち時間軽減といった課題に対応していくとしている。</a:t>
            </a:r>
            <a:endParaRPr lang="en-US" altLang="ja-JP" sz="1400" dirty="0">
              <a:solidFill>
                <a:srgbClr val="000000"/>
              </a:solidFill>
              <a:cs typeface="Arial" panose="020B0604020202020204" pitchFamily="34" charset="0"/>
            </a:endParaRPr>
          </a:p>
        </p:txBody>
      </p:sp>
      <p:sp>
        <p:nvSpPr>
          <p:cNvPr id="9" name="角丸四角形 8"/>
          <p:cNvSpPr/>
          <p:nvPr/>
        </p:nvSpPr>
        <p:spPr>
          <a:xfrm>
            <a:off x="200472" y="2426785"/>
            <a:ext cx="9505054" cy="4098556"/>
          </a:xfrm>
          <a:prstGeom prst="roundRect">
            <a:avLst>
              <a:gd name="adj" fmla="val 2819"/>
            </a:avLst>
          </a:prstGeom>
          <a:solidFill>
            <a:srgbClr val="DDE6F3"/>
          </a:solidFill>
        </p:spPr>
        <p:txBody>
          <a:bodyPr lIns="144000" tIns="108000" rIns="144000">
            <a:noAutofit/>
          </a:bodyPr>
          <a:lstStyle/>
          <a:p>
            <a:pPr marL="0" lvl="2" algn="just">
              <a:lnSpc>
                <a:spcPct val="114000"/>
              </a:lnSpc>
              <a:spcAft>
                <a:spcPts val="400"/>
              </a:spcAft>
            </a:pPr>
            <a:endParaRPr lang="en-US" altLang="ja-JP" sz="1400" dirty="0">
              <a:solidFill>
                <a:srgbClr val="000000"/>
              </a:solidFill>
              <a:cs typeface="Arial" panose="020B0604020202020204" pitchFamily="34" charset="0"/>
            </a:endParaRPr>
          </a:p>
        </p:txBody>
      </p:sp>
      <p:sp>
        <p:nvSpPr>
          <p:cNvPr id="11" name="テキスト ボックス 10"/>
          <p:cNvSpPr txBox="1"/>
          <p:nvPr/>
        </p:nvSpPr>
        <p:spPr>
          <a:xfrm>
            <a:off x="200472" y="6597352"/>
            <a:ext cx="9145016" cy="144016"/>
          </a:xfrm>
          <a:prstGeom prst="rect">
            <a:avLst/>
          </a:prstGeom>
          <a:noFill/>
        </p:spPr>
        <p:txBody>
          <a:bodyPr wrap="square" lIns="0" tIns="0" rIns="0" bIns="0" rtlCol="0">
            <a:noAutofit/>
          </a:bodyPr>
          <a:lstStyle/>
          <a:p>
            <a:r>
              <a:rPr lang="ja-JP" altLang="en-US" sz="800" dirty="0">
                <a:cs typeface="Arial" panose="020B0604020202020204" pitchFamily="34" charset="0"/>
              </a:rPr>
              <a:t>（出所）</a:t>
            </a:r>
            <a:r>
              <a:rPr lang="en-US" altLang="ja-JP" sz="800" dirty="0">
                <a:cs typeface="Arial" panose="020B0604020202020204" pitchFamily="34" charset="0"/>
              </a:rPr>
              <a:t>Saudi Vision2030</a:t>
            </a:r>
            <a:r>
              <a:rPr lang="ja-JP" altLang="en-US" sz="800" dirty="0">
                <a:cs typeface="Arial" panose="020B0604020202020204" pitchFamily="34" charset="0"/>
              </a:rPr>
              <a:t> </a:t>
            </a:r>
            <a:r>
              <a:rPr lang="en-US" altLang="ja-JP" sz="800" dirty="0">
                <a:cs typeface="Arial" panose="020B0604020202020204" pitchFamily="34" charset="0"/>
              </a:rPr>
              <a:t>HP(http://vision2030.gov.sa/)</a:t>
            </a:r>
          </a:p>
        </p:txBody>
      </p:sp>
      <p:grpSp>
        <p:nvGrpSpPr>
          <p:cNvPr id="12" name="グループ化 7"/>
          <p:cNvGrpSpPr/>
          <p:nvPr/>
        </p:nvGrpSpPr>
        <p:grpSpPr>
          <a:xfrm>
            <a:off x="632518" y="2098344"/>
            <a:ext cx="8640960" cy="288032"/>
            <a:chOff x="4944173" y="2113806"/>
            <a:chExt cx="5861371" cy="288032"/>
          </a:xfrm>
        </p:grpSpPr>
        <p:cxnSp>
          <p:nvCxnSpPr>
            <p:cNvPr id="13" name="直線コネクタ 1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Saudi_Visoion2030</a:t>
              </a:r>
              <a:r>
                <a:rPr lang="ja-JP" altLang="en-US" sz="1400" dirty="0">
                  <a:solidFill>
                    <a:srgbClr val="000000"/>
                  </a:solidFill>
                  <a:latin typeface="Arial Black" pitchFamily="34" charset="0"/>
                  <a:ea typeface="HGP創英角ｺﾞｼｯｸUB" pitchFamily="50" charset="-128"/>
                </a:rPr>
                <a:t>」に示された医療関連政策</a:t>
              </a:r>
            </a:p>
          </p:txBody>
        </p:sp>
      </p:grpSp>
      <p:sp>
        <p:nvSpPr>
          <p:cNvPr id="10" name="正方形/長方形 9"/>
          <p:cNvSpPr/>
          <p:nvPr/>
        </p:nvSpPr>
        <p:spPr>
          <a:xfrm>
            <a:off x="344487" y="2498794"/>
            <a:ext cx="9217025" cy="4098558"/>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医療部門では</a:t>
            </a:r>
            <a:r>
              <a:rPr lang="ja-JP" altLang="en-US" sz="1400" b="1" dirty="0">
                <a:solidFill>
                  <a:srgbClr val="000000"/>
                </a:solidFill>
                <a:cs typeface="Arial" panose="020B0604020202020204" pitchFamily="34" charset="0"/>
              </a:rPr>
              <a:t>サービス提供者同士の競争とサービスの透明性向上を奨励</a:t>
            </a:r>
            <a:r>
              <a:rPr lang="ja-JP" altLang="en-US" sz="1400" dirty="0">
                <a:solidFill>
                  <a:srgbClr val="000000"/>
                </a:solidFill>
                <a:cs typeface="Arial" panose="020B0604020202020204" pitchFamily="34" charset="0"/>
              </a:rPr>
              <a:t>していきます。これによって医療サービスの受入可能数、効率、生産性の向上、および治療選択肢の増加が期待できます。この達成目標に向けて検討しているのが、</a:t>
            </a:r>
            <a:r>
              <a:rPr lang="ja-JP" altLang="en-US" sz="1400" b="1" dirty="0">
                <a:solidFill>
                  <a:srgbClr val="000000"/>
                </a:solidFill>
                <a:cs typeface="Arial" panose="020B0604020202020204" pitchFamily="34" charset="0"/>
              </a:rPr>
              <a:t>医療部門の企業化</a:t>
            </a:r>
            <a:r>
              <a:rPr lang="ja-JP" altLang="en-US" sz="1400" dirty="0">
                <a:solidFill>
                  <a:srgbClr val="000000"/>
                </a:solidFill>
                <a:cs typeface="Arial" panose="020B0604020202020204" pitchFamily="34" charset="0"/>
              </a:rPr>
              <a:t>である。「医療サービスを提供する」という役割を国有企業のネットワークに移すことで、国有企業同士および国有企業と民間部門との競争機会を創出する。こうすることで国民に最高品質の医療サービスの提供が可能になるとともに、政府側も医療制度に関わる法規制の整備や監督といった役割に専念できる。また、企業化によってそれぞれ得意とする医療分野に特化したサービス展開を行い、国民自らが治療を受けたい企業を選べるようなシステムづくりを進める。</a:t>
            </a:r>
            <a:endParaRPr lang="en-US" altLang="ja-JP" sz="1400" dirty="0">
              <a:solidFill>
                <a:srgbClr val="000000"/>
              </a:solidFill>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公的部門は予防措置の促進と伝染病の防止に努めるとともに、自分の健康状態を知る第一歩としてのプライマリーケアの活用を奨励している。この取り組みによって医療制度と公的介護の連携および統合が進むとともに、家庭内で在宅医療が必要になった場合のサポートも可能となる。公的部門がこれらの医療制度の計画、調整、監督を担当し、制度の品質向上、および長期目線で民営化に向けた準備を進めるために、</a:t>
            </a:r>
            <a:r>
              <a:rPr lang="ja-JP" altLang="en-US" sz="1400" b="1" dirty="0">
                <a:solidFill>
                  <a:srgbClr val="000000"/>
                </a:solidFill>
                <a:cs typeface="Arial" panose="020B0604020202020204" pitchFamily="34" charset="0"/>
              </a:rPr>
              <a:t>企業を通じた医療制度の普及を行う</a:t>
            </a:r>
            <a:r>
              <a:rPr lang="ja-JP" altLang="en-US" sz="1400" dirty="0">
                <a:solidFill>
                  <a:srgbClr val="000000"/>
                </a:solidFill>
                <a:cs typeface="Arial" panose="020B0604020202020204" pitchFamily="34" charset="0"/>
              </a:rPr>
              <a:t>予定である。また医療サービスを受けるための</a:t>
            </a:r>
            <a:r>
              <a:rPr lang="ja-JP" altLang="en-US" sz="1400" b="1" dirty="0">
                <a:solidFill>
                  <a:srgbClr val="000000"/>
                </a:solidFill>
                <a:cs typeface="Arial" panose="020B0604020202020204" pitchFamily="34" charset="0"/>
              </a:rPr>
              <a:t>民間医療保険の整備、専門家やコンサルタントとの診療予約にかかる待ち時間の軽減などにも順次対処</a:t>
            </a:r>
            <a:r>
              <a:rPr lang="ja-JP" altLang="en-US" sz="1400" dirty="0">
                <a:solidFill>
                  <a:srgbClr val="000000"/>
                </a:solidFill>
                <a:cs typeface="Arial" panose="020B0604020202020204" pitchFamily="34" charset="0"/>
              </a:rPr>
              <a:t>していく。心臓病、糖尿病、がんなど、国家の脅威となりうる</a:t>
            </a:r>
            <a:r>
              <a:rPr lang="ja-JP" altLang="en-US" sz="1400" b="1" dirty="0">
                <a:solidFill>
                  <a:srgbClr val="000000"/>
                </a:solidFill>
                <a:cs typeface="Arial" panose="020B0604020202020204" pitchFamily="34" charset="0"/>
              </a:rPr>
              <a:t>慢性病については、医師に向けてより良いトレーニング機会を提供し</a:t>
            </a:r>
            <a:r>
              <a:rPr lang="ja-JP" altLang="en-US" sz="1400" dirty="0">
                <a:solidFill>
                  <a:srgbClr val="000000"/>
                </a:solidFill>
                <a:cs typeface="Arial" panose="020B0604020202020204" pitchFamily="34" charset="0"/>
              </a:rPr>
              <a:t>、実際の治療の質向上に努める所存である。</a:t>
            </a:r>
            <a:endParaRPr lang="en-US" altLang="ja-JP" sz="1400" dirty="0">
              <a:solidFill>
                <a:srgbClr val="000000"/>
              </a:solidFill>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保健セクター転換プログラムの一環として、政府は遺伝由来の疾患の発生を減らすために</a:t>
            </a:r>
            <a:r>
              <a:rPr lang="en-US" altLang="ja-JP" sz="1400" dirty="0">
                <a:solidFill>
                  <a:srgbClr val="000000"/>
                </a:solidFill>
                <a:cs typeface="Arial" panose="020B0604020202020204" pitchFamily="34" charset="0"/>
              </a:rPr>
              <a:t>2018</a:t>
            </a:r>
            <a:r>
              <a:rPr lang="ja-JP" altLang="en-US" sz="1400" dirty="0">
                <a:solidFill>
                  <a:srgbClr val="000000"/>
                </a:solidFill>
                <a:cs typeface="Arial" panose="020B0604020202020204" pitchFamily="34" charset="0"/>
              </a:rPr>
              <a:t>年にサウジゲノムプログラム </a:t>
            </a:r>
            <a:r>
              <a:rPr lang="en-US" altLang="ja-JP" sz="1400" dirty="0">
                <a:solidFill>
                  <a:srgbClr val="000000"/>
                </a:solidFill>
                <a:cs typeface="Arial" panose="020B0604020202020204" pitchFamily="34" charset="0"/>
              </a:rPr>
              <a:t>(SGP) </a:t>
            </a:r>
            <a:r>
              <a:rPr lang="ja-JP" altLang="en-US" sz="1400" dirty="0">
                <a:solidFill>
                  <a:srgbClr val="000000"/>
                </a:solidFill>
                <a:cs typeface="Arial" panose="020B0604020202020204" pitchFamily="34" charset="0"/>
              </a:rPr>
              <a:t>を開始し、</a:t>
            </a:r>
            <a:r>
              <a:rPr lang="en-US" altLang="ja-JP" sz="1400" dirty="0">
                <a:solidFill>
                  <a:srgbClr val="000000"/>
                </a:solidFill>
                <a:cs typeface="Arial" panose="020B0604020202020204" pitchFamily="34" charset="0"/>
              </a:rPr>
              <a:t>2022</a:t>
            </a:r>
            <a:r>
              <a:rPr lang="ja-JP" altLang="en-US" sz="1400" dirty="0">
                <a:solidFill>
                  <a:srgbClr val="000000"/>
                </a:solidFill>
                <a:cs typeface="Arial" panose="020B0604020202020204" pitchFamily="34" charset="0"/>
              </a:rPr>
              <a:t>年に</a:t>
            </a:r>
            <a:r>
              <a:rPr lang="en-US" altLang="ja-JP" sz="1400" dirty="0">
                <a:solidFill>
                  <a:srgbClr val="000000"/>
                </a:solidFill>
                <a:cs typeface="Arial" panose="020B0604020202020204" pitchFamily="34" charset="0"/>
              </a:rPr>
              <a:t>SEHA</a:t>
            </a:r>
            <a:r>
              <a:rPr lang="ja-JP" altLang="en-US" sz="1400" dirty="0">
                <a:solidFill>
                  <a:srgbClr val="000000"/>
                </a:solidFill>
                <a:cs typeface="Arial" panose="020B0604020202020204" pitchFamily="34" charset="0"/>
              </a:rPr>
              <a:t>バーチャル病院を立ち上げ、</a:t>
            </a:r>
            <a:r>
              <a:rPr lang="en-US" altLang="ja-JP" sz="1400" dirty="0">
                <a:solidFill>
                  <a:srgbClr val="000000"/>
                </a:solidFill>
                <a:cs typeface="Arial" panose="020B0604020202020204" pitchFamily="34" charset="0"/>
              </a:rPr>
              <a:t>30</a:t>
            </a:r>
            <a:r>
              <a:rPr lang="ja-JP" altLang="en-US" sz="1400" dirty="0">
                <a:solidFill>
                  <a:srgbClr val="000000"/>
                </a:solidFill>
                <a:cs typeface="Arial" panose="020B0604020202020204" pitchFamily="34" charset="0"/>
              </a:rPr>
              <a:t>以上の専門的な保健サービスを提供している。</a:t>
            </a:r>
            <a:endParaRPr lang="en-US" altLang="ja-JP" sz="1400" dirty="0">
              <a:solidFill>
                <a:srgbClr val="000000"/>
              </a:solidFill>
              <a:cs typeface="Arial" panose="020B0604020202020204" pitchFamily="34" charset="0"/>
            </a:endParaRPr>
          </a:p>
        </p:txBody>
      </p:sp>
    </p:spTree>
    <p:extLst>
      <p:ext uri="{BB962C8B-B14F-4D97-AF65-F5344CB8AC3E}">
        <p14:creationId xmlns:p14="http://schemas.microsoft.com/office/powerpoint/2010/main" val="20811891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C81F17-2021-4110-B512-CCB3901539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592" imgH="595" progId="TCLayout.ActiveDocument.1">
                  <p:embed/>
                </p:oleObj>
              </mc:Choice>
              <mc:Fallback>
                <p:oleObj name="think-cellスライド" r:id="rId11" imgW="592" imgH="595" progId="TCLayout.ActiveDocument.1">
                  <p:embed/>
                  <p:pic>
                    <p:nvPicPr>
                      <p:cNvPr id="8" name="Object 7" hidden="1">
                        <a:extLst>
                          <a:ext uri="{FF2B5EF4-FFF2-40B4-BE49-F238E27FC236}">
                            <a16:creationId xmlns:a16="http://schemas.microsoft.com/office/drawing/2014/main" id="{DAC81F17-2021-4110-B512-CCB3901539A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9" name="object 273">
            <a:extLst>
              <a:ext uri="{FF2B5EF4-FFF2-40B4-BE49-F238E27FC236}">
                <a16:creationId xmlns:a16="http://schemas.microsoft.com/office/drawing/2014/main" id="{8F074561-8EEE-4220-860A-171BA6873022}"/>
              </a:ext>
            </a:extLst>
          </p:cNvPr>
          <p:cNvSpPr txBox="1">
            <a:spLocks/>
          </p:cNvSpPr>
          <p:nvPr/>
        </p:nvSpPr>
        <p:spPr>
          <a:xfrm>
            <a:off x="6040446" y="2111220"/>
            <a:ext cx="1920957" cy="197490"/>
          </a:xfrm>
          <a:prstGeom prst="rect">
            <a:avLst/>
          </a:prstGeom>
        </p:spPr>
        <p:txBody>
          <a:bodyPr vert="horz" wrap="square" lIns="0" tIns="12700" rIns="0" bIns="0" rtlCol="0">
            <a:noAutofit/>
          </a:bodyPr>
          <a:lstStyle/>
          <a:p>
            <a:pPr marL="12700" rtl="0">
              <a:lnSpc>
                <a:spcPct val="100000"/>
              </a:lnSpc>
              <a:spcBef>
                <a:spcPts val="100"/>
              </a:spcBef>
            </a:pPr>
            <a:r>
              <a:rPr lang="ja" sz="1200" b="1" spc="-30" dirty="0">
                <a:cs typeface="Arial"/>
              </a:rPr>
              <a:t>以下の実現に寄与: </a:t>
            </a:r>
            <a:endParaRPr sz="1200" b="1" dirty="0">
              <a:cs typeface="Arial"/>
            </a:endParaRPr>
          </a:p>
        </p:txBody>
      </p:sp>
      <p:sp>
        <p:nvSpPr>
          <p:cNvPr id="20" name="TextBox 19">
            <a:extLst>
              <a:ext uri="{FF2B5EF4-FFF2-40B4-BE49-F238E27FC236}">
                <a16:creationId xmlns:a16="http://schemas.microsoft.com/office/drawing/2014/main" id="{13DCDAE9-2847-47C1-8036-57F220D29F0C}"/>
              </a:ext>
            </a:extLst>
          </p:cNvPr>
          <p:cNvSpPr txBox="1">
            <a:spLocks/>
          </p:cNvSpPr>
          <p:nvPr/>
        </p:nvSpPr>
        <p:spPr>
          <a:xfrm>
            <a:off x="1998812" y="2117632"/>
            <a:ext cx="361840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None/>
              <a:tabLst/>
              <a:defRPr/>
            </a:pPr>
            <a:r>
              <a:rPr lang="ja" sz="1200" b="1" dirty="0"/>
              <a:t>HSTPの4大目的 </a:t>
            </a:r>
            <a:endParaRPr kumimoji="0" lang="en-GB" sz="1200" b="1" i="0" u="none" strike="noStrike" kern="1200" cap="none" spc="0" normalizeH="0" baseline="0" noProof="0" dirty="0">
              <a:ln>
                <a:noFill/>
              </a:ln>
              <a:effectLst/>
              <a:uLnTx/>
              <a:uFillTx/>
            </a:endParaRPr>
          </a:p>
        </p:txBody>
      </p:sp>
      <p:grpSp>
        <p:nvGrpSpPr>
          <p:cNvPr id="3" name="Group 2">
            <a:extLst>
              <a:ext uri="{FF2B5EF4-FFF2-40B4-BE49-F238E27FC236}">
                <a16:creationId xmlns:a16="http://schemas.microsoft.com/office/drawing/2014/main" id="{BC43681D-C3A1-4E70-AAF1-2CF4A3C45BAD}"/>
              </a:ext>
            </a:extLst>
          </p:cNvPr>
          <p:cNvGrpSpPr/>
          <p:nvPr/>
        </p:nvGrpSpPr>
        <p:grpSpPr>
          <a:xfrm>
            <a:off x="2020362" y="2446950"/>
            <a:ext cx="3575304" cy="3578670"/>
            <a:chOff x="2020362" y="2471260"/>
            <a:chExt cx="3575304" cy="3578670"/>
          </a:xfrm>
        </p:grpSpPr>
        <p:sp>
          <p:nvSpPr>
            <p:cNvPr id="22" name="Freeform 5">
              <a:extLst>
                <a:ext uri="{FF2B5EF4-FFF2-40B4-BE49-F238E27FC236}">
                  <a16:creationId xmlns:a16="http://schemas.microsoft.com/office/drawing/2014/main" id="{3D7675F5-406D-4215-81BF-24181FC36149}"/>
                </a:ext>
              </a:extLst>
            </p:cNvPr>
            <p:cNvSpPr>
              <a:spLocks/>
            </p:cNvSpPr>
            <p:nvPr/>
          </p:nvSpPr>
          <p:spPr bwMode="auto">
            <a:xfrm>
              <a:off x="3808015" y="2471260"/>
              <a:ext cx="1787651" cy="1789335"/>
            </a:xfrm>
            <a:custGeom>
              <a:avLst/>
              <a:gdLst>
                <a:gd name="T0" fmla="*/ 0 w 9317"/>
                <a:gd name="T1" fmla="*/ 0 h 9317"/>
                <a:gd name="T2" fmla="*/ 9317 w 9317"/>
                <a:gd name="T3" fmla="*/ 9317 h 9317"/>
                <a:gd name="T4" fmla="*/ 6056 w 9317"/>
                <a:gd name="T5" fmla="*/ 9317 h 9317"/>
                <a:gd name="T6" fmla="*/ 0 w 9317"/>
                <a:gd name="T7" fmla="*/ 3261 h 9317"/>
                <a:gd name="T8" fmla="*/ 0 w 9317"/>
                <a:gd name="T9" fmla="*/ 0 h 9317"/>
              </a:gdLst>
              <a:ahLst/>
              <a:cxnLst>
                <a:cxn ang="0">
                  <a:pos x="T0" y="T1"/>
                </a:cxn>
                <a:cxn ang="0">
                  <a:pos x="T2" y="T3"/>
                </a:cxn>
                <a:cxn ang="0">
                  <a:pos x="T4" y="T5"/>
                </a:cxn>
                <a:cxn ang="0">
                  <a:pos x="T6" y="T7"/>
                </a:cxn>
                <a:cxn ang="0">
                  <a:pos x="T8" y="T9"/>
                </a:cxn>
              </a:cxnLst>
              <a:rect l="0" t="0" r="r" b="b"/>
              <a:pathLst>
                <a:path w="9317" h="9317">
                  <a:moveTo>
                    <a:pt x="0" y="0"/>
                  </a:moveTo>
                  <a:cubicBezTo>
                    <a:pt x="5146" y="0"/>
                    <a:pt x="9317" y="4172"/>
                    <a:pt x="9317" y="9317"/>
                  </a:cubicBezTo>
                  <a:lnTo>
                    <a:pt x="6056" y="9317"/>
                  </a:lnTo>
                  <a:cubicBezTo>
                    <a:pt x="6056" y="5973"/>
                    <a:pt x="3345" y="3261"/>
                    <a:pt x="0" y="3261"/>
                  </a:cubicBezTo>
                  <a:lnTo>
                    <a:pt x="0" y="0"/>
                  </a:lnTo>
                  <a:close/>
                </a:path>
              </a:pathLst>
            </a:custGeom>
            <a:solidFill>
              <a:schemeClr val="accent5"/>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3" name="Freeform 7">
              <a:extLst>
                <a:ext uri="{FF2B5EF4-FFF2-40B4-BE49-F238E27FC236}">
                  <a16:creationId xmlns:a16="http://schemas.microsoft.com/office/drawing/2014/main" id="{3774642C-88EF-4234-8AD1-F18F1E72C581}"/>
                </a:ext>
              </a:extLst>
            </p:cNvPr>
            <p:cNvSpPr>
              <a:spLocks/>
            </p:cNvSpPr>
            <p:nvPr/>
          </p:nvSpPr>
          <p:spPr bwMode="auto">
            <a:xfrm>
              <a:off x="3808015" y="4260594"/>
              <a:ext cx="1787651" cy="1789335"/>
            </a:xfrm>
            <a:custGeom>
              <a:avLst/>
              <a:gdLst>
                <a:gd name="T0" fmla="*/ 9317 w 9317"/>
                <a:gd name="T1" fmla="*/ 0 h 9317"/>
                <a:gd name="T2" fmla="*/ 0 w 9317"/>
                <a:gd name="T3" fmla="*/ 9317 h 9317"/>
                <a:gd name="T4" fmla="*/ 0 w 9317"/>
                <a:gd name="T5" fmla="*/ 6056 h 9317"/>
                <a:gd name="T6" fmla="*/ 6056 w 9317"/>
                <a:gd name="T7" fmla="*/ 0 h 9317"/>
                <a:gd name="T8" fmla="*/ 9317 w 9317"/>
                <a:gd name="T9" fmla="*/ 0 h 9317"/>
              </a:gdLst>
              <a:ahLst/>
              <a:cxnLst>
                <a:cxn ang="0">
                  <a:pos x="T0" y="T1"/>
                </a:cxn>
                <a:cxn ang="0">
                  <a:pos x="T2" y="T3"/>
                </a:cxn>
                <a:cxn ang="0">
                  <a:pos x="T4" y="T5"/>
                </a:cxn>
                <a:cxn ang="0">
                  <a:pos x="T6" y="T7"/>
                </a:cxn>
                <a:cxn ang="0">
                  <a:pos x="T8" y="T9"/>
                </a:cxn>
              </a:cxnLst>
              <a:rect l="0" t="0" r="r" b="b"/>
              <a:pathLst>
                <a:path w="9317" h="9317">
                  <a:moveTo>
                    <a:pt x="9317" y="0"/>
                  </a:moveTo>
                  <a:cubicBezTo>
                    <a:pt x="9317" y="5146"/>
                    <a:pt x="5146" y="9317"/>
                    <a:pt x="0" y="9317"/>
                  </a:cubicBezTo>
                  <a:lnTo>
                    <a:pt x="0" y="6056"/>
                  </a:lnTo>
                  <a:cubicBezTo>
                    <a:pt x="3345" y="6056"/>
                    <a:pt x="6056" y="3345"/>
                    <a:pt x="6056" y="0"/>
                  </a:cubicBezTo>
                  <a:lnTo>
                    <a:pt x="9317" y="0"/>
                  </a:lnTo>
                  <a:close/>
                </a:path>
              </a:pathLst>
            </a:custGeom>
            <a:solidFill>
              <a:schemeClr val="accent4"/>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4" name="Freeform 9">
              <a:extLst>
                <a:ext uri="{FF2B5EF4-FFF2-40B4-BE49-F238E27FC236}">
                  <a16:creationId xmlns:a16="http://schemas.microsoft.com/office/drawing/2014/main" id="{0090D5A3-554F-429B-99D2-902191931A38}"/>
                </a:ext>
              </a:extLst>
            </p:cNvPr>
            <p:cNvSpPr>
              <a:spLocks/>
            </p:cNvSpPr>
            <p:nvPr/>
          </p:nvSpPr>
          <p:spPr bwMode="auto">
            <a:xfrm>
              <a:off x="2020362" y="4260595"/>
              <a:ext cx="1787651" cy="1789335"/>
            </a:xfrm>
            <a:custGeom>
              <a:avLst/>
              <a:gdLst>
                <a:gd name="T0" fmla="*/ 9316 w 9316"/>
                <a:gd name="T1" fmla="*/ 9317 h 9317"/>
                <a:gd name="T2" fmla="*/ 0 w 9316"/>
                <a:gd name="T3" fmla="*/ 0 h 9317"/>
                <a:gd name="T4" fmla="*/ 3261 w 9316"/>
                <a:gd name="T5" fmla="*/ 0 h 9317"/>
                <a:gd name="T6" fmla="*/ 9316 w 9316"/>
                <a:gd name="T7" fmla="*/ 6056 h 9317"/>
                <a:gd name="T8" fmla="*/ 9316 w 9316"/>
                <a:gd name="T9" fmla="*/ 9317 h 9317"/>
              </a:gdLst>
              <a:ahLst/>
              <a:cxnLst>
                <a:cxn ang="0">
                  <a:pos x="T0" y="T1"/>
                </a:cxn>
                <a:cxn ang="0">
                  <a:pos x="T2" y="T3"/>
                </a:cxn>
                <a:cxn ang="0">
                  <a:pos x="T4" y="T5"/>
                </a:cxn>
                <a:cxn ang="0">
                  <a:pos x="T6" y="T7"/>
                </a:cxn>
                <a:cxn ang="0">
                  <a:pos x="T8" y="T9"/>
                </a:cxn>
              </a:cxnLst>
              <a:rect l="0" t="0" r="r" b="b"/>
              <a:pathLst>
                <a:path w="9316" h="9317">
                  <a:moveTo>
                    <a:pt x="9316" y="9317"/>
                  </a:moveTo>
                  <a:cubicBezTo>
                    <a:pt x="4171" y="9317"/>
                    <a:pt x="0" y="5146"/>
                    <a:pt x="0" y="0"/>
                  </a:cubicBezTo>
                  <a:lnTo>
                    <a:pt x="3261" y="0"/>
                  </a:lnTo>
                  <a:cubicBezTo>
                    <a:pt x="3261" y="3345"/>
                    <a:pt x="5972" y="6056"/>
                    <a:pt x="9316" y="6056"/>
                  </a:cubicBezTo>
                  <a:lnTo>
                    <a:pt x="9316" y="9317"/>
                  </a:lnTo>
                  <a:close/>
                </a:path>
              </a:pathLst>
            </a:custGeom>
            <a:solidFill>
              <a:schemeClr val="accent1"/>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5" name="Freeform 11">
              <a:extLst>
                <a:ext uri="{FF2B5EF4-FFF2-40B4-BE49-F238E27FC236}">
                  <a16:creationId xmlns:a16="http://schemas.microsoft.com/office/drawing/2014/main" id="{6968C95F-C187-4140-B3B6-BA0C46FC2A5A}"/>
                </a:ext>
              </a:extLst>
            </p:cNvPr>
            <p:cNvSpPr>
              <a:spLocks/>
            </p:cNvSpPr>
            <p:nvPr/>
          </p:nvSpPr>
          <p:spPr bwMode="auto">
            <a:xfrm>
              <a:off x="2020362" y="2471260"/>
              <a:ext cx="1787651" cy="1789335"/>
            </a:xfrm>
            <a:custGeom>
              <a:avLst/>
              <a:gdLst>
                <a:gd name="T0" fmla="*/ 0 w 18633"/>
                <a:gd name="T1" fmla="*/ 18634 h 18634"/>
                <a:gd name="T2" fmla="*/ 18633 w 18633"/>
                <a:gd name="T3" fmla="*/ 0 h 18634"/>
                <a:gd name="T4" fmla="*/ 18633 w 18633"/>
                <a:gd name="T5" fmla="*/ 6522 h 18634"/>
                <a:gd name="T6" fmla="*/ 6522 w 18633"/>
                <a:gd name="T7" fmla="*/ 18634 h 18634"/>
                <a:gd name="T8" fmla="*/ 0 w 18633"/>
                <a:gd name="T9" fmla="*/ 18634 h 18634"/>
              </a:gdLst>
              <a:ahLst/>
              <a:cxnLst>
                <a:cxn ang="0">
                  <a:pos x="T0" y="T1"/>
                </a:cxn>
                <a:cxn ang="0">
                  <a:pos x="T2" y="T3"/>
                </a:cxn>
                <a:cxn ang="0">
                  <a:pos x="T4" y="T5"/>
                </a:cxn>
                <a:cxn ang="0">
                  <a:pos x="T6" y="T7"/>
                </a:cxn>
                <a:cxn ang="0">
                  <a:pos x="T8" y="T9"/>
                </a:cxn>
              </a:cxnLst>
              <a:rect l="0" t="0" r="r" b="b"/>
              <a:pathLst>
                <a:path w="18633" h="18634">
                  <a:moveTo>
                    <a:pt x="0" y="18634"/>
                  </a:moveTo>
                  <a:cubicBezTo>
                    <a:pt x="0" y="8343"/>
                    <a:pt x="8343" y="0"/>
                    <a:pt x="18633" y="0"/>
                  </a:cubicBezTo>
                  <a:lnTo>
                    <a:pt x="18633" y="6522"/>
                  </a:lnTo>
                  <a:cubicBezTo>
                    <a:pt x="11944" y="6522"/>
                    <a:pt x="6522" y="11945"/>
                    <a:pt x="6522" y="18634"/>
                  </a:cubicBezTo>
                  <a:lnTo>
                    <a:pt x="0" y="18634"/>
                  </a:lnTo>
                  <a:close/>
                </a:path>
              </a:pathLst>
            </a:custGeom>
            <a:solidFill>
              <a:schemeClr val="accent6"/>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6" name="TextBox 25">
              <a:extLst>
                <a:ext uri="{FF2B5EF4-FFF2-40B4-BE49-F238E27FC236}">
                  <a16:creationId xmlns:a16="http://schemas.microsoft.com/office/drawing/2014/main" id="{D9A9CE63-45C3-46D5-B52E-0000CBA947D4}"/>
                </a:ext>
              </a:extLst>
            </p:cNvPr>
            <p:cNvSpPr txBox="1"/>
            <p:nvPr/>
          </p:nvSpPr>
          <p:spPr>
            <a:xfrm rot="6012293">
              <a:off x="2828238" y="3077962"/>
              <a:ext cx="2532149" cy="2185317"/>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FFFFFF"/>
                </a:buClr>
              </a:pPr>
              <a:r>
                <a:rPr lang="ja" sz="1050" dirty="0">
                  <a:solidFill>
                    <a:srgbClr val="FFFFFF"/>
                  </a:solidFill>
                </a:rPr>
                <a:t>健康悪化の予防促進</a:t>
              </a:r>
            </a:p>
          </p:txBody>
        </p:sp>
        <p:sp>
          <p:nvSpPr>
            <p:cNvPr id="27" name="TextBox 26">
              <a:extLst>
                <a:ext uri="{FF2B5EF4-FFF2-40B4-BE49-F238E27FC236}">
                  <a16:creationId xmlns:a16="http://schemas.microsoft.com/office/drawing/2014/main" id="{270DFD2C-B776-4891-88BF-C9AB1DECE261}"/>
                </a:ext>
              </a:extLst>
            </p:cNvPr>
            <p:cNvSpPr txBox="1"/>
            <p:nvPr/>
          </p:nvSpPr>
          <p:spPr>
            <a:xfrm rot="14977888">
              <a:off x="2799619" y="3178482"/>
              <a:ext cx="2482627" cy="2442306"/>
            </a:xfrm>
            <a:prstGeom prst="rect">
              <a:avLst/>
            </a:prstGeom>
          </p:spPr>
          <p:txBody>
            <a:bodyPr vert="horz" wrap="square" lIns="0" tIns="0" rIns="0" bIns="0" rtlCol="0">
              <a:prstTxWarp prst="textArchDown">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FFFFFF"/>
                </a:buClr>
              </a:pPr>
              <a:r>
                <a:rPr lang="ja" sz="1050" dirty="0">
                  <a:solidFill>
                    <a:srgbClr val="FFFFFF"/>
                  </a:solidFill>
                </a:rPr>
                <a:t>交通安全対策の強化</a:t>
              </a:r>
            </a:p>
          </p:txBody>
        </p:sp>
        <p:sp>
          <p:nvSpPr>
            <p:cNvPr id="28" name="TextBox 27">
              <a:extLst>
                <a:ext uri="{FF2B5EF4-FFF2-40B4-BE49-F238E27FC236}">
                  <a16:creationId xmlns:a16="http://schemas.microsoft.com/office/drawing/2014/main" id="{AB46C5FF-C4A3-42CE-AC5B-6A279B22E7B5}"/>
                </a:ext>
              </a:extLst>
            </p:cNvPr>
            <p:cNvSpPr txBox="1"/>
            <p:nvPr/>
          </p:nvSpPr>
          <p:spPr>
            <a:xfrm rot="2715980">
              <a:off x="2353660" y="4084629"/>
              <a:ext cx="1904863" cy="1339154"/>
            </a:xfrm>
            <a:prstGeom prst="rect">
              <a:avLst/>
            </a:prstGeom>
          </p:spPr>
          <p:txBody>
            <a:bodyPr vert="horz" wrap="square" lIns="0" tIns="0" rIns="0" bIns="0" rtlCol="0">
              <a:prstTxWarp prst="textArchDown">
                <a:avLst>
                  <a:gd name="adj" fmla="val 20005784"/>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1050" dirty="0">
                  <a:solidFill>
                    <a:schemeClr val="bg1"/>
                  </a:solidFill>
                </a:rPr>
                <a:t>医療サービス</a:t>
              </a:r>
              <a:br>
                <a:rPr lang="en-US" sz="1050" dirty="0">
                  <a:solidFill>
                    <a:schemeClr val="bg1"/>
                  </a:solidFill>
                </a:rPr>
              </a:br>
              <a:r>
                <a:rPr lang="ja" sz="1050" dirty="0">
                  <a:solidFill>
                    <a:schemeClr val="bg1"/>
                  </a:solidFill>
                </a:rPr>
                <a:t>へのアクセス促進</a:t>
              </a:r>
            </a:p>
          </p:txBody>
        </p:sp>
        <p:pic>
          <p:nvPicPr>
            <p:cNvPr id="29" name="Picture 28">
              <a:extLst>
                <a:ext uri="{FF2B5EF4-FFF2-40B4-BE49-F238E27FC236}">
                  <a16:creationId xmlns:a16="http://schemas.microsoft.com/office/drawing/2014/main" id="{05D7571D-E3B1-49CE-8546-83A49ED21E72}"/>
                </a:ext>
              </a:extLst>
            </p:cNvPr>
            <p:cNvPicPr>
              <a:picLocks noChangeAspect="1"/>
            </p:cNvPicPr>
            <p:nvPr/>
          </p:nvPicPr>
          <p:blipFill>
            <a:blip r:embed="rId13"/>
            <a:stretch>
              <a:fillRect/>
            </a:stretch>
          </p:blipFill>
          <p:spPr>
            <a:xfrm>
              <a:off x="3609257" y="4114760"/>
              <a:ext cx="398325" cy="301290"/>
            </a:xfrm>
            <a:prstGeom prst="rect">
              <a:avLst/>
            </a:prstGeom>
          </p:spPr>
        </p:pic>
        <p:sp>
          <p:nvSpPr>
            <p:cNvPr id="30" name="TextBox 29">
              <a:extLst>
                <a:ext uri="{FF2B5EF4-FFF2-40B4-BE49-F238E27FC236}">
                  <a16:creationId xmlns:a16="http://schemas.microsoft.com/office/drawing/2014/main" id="{F0785F35-2A47-4E84-AD4E-4463BA93D932}"/>
                </a:ext>
              </a:extLst>
            </p:cNvPr>
            <p:cNvSpPr txBox="1"/>
            <p:nvPr/>
          </p:nvSpPr>
          <p:spPr>
            <a:xfrm rot="19009989">
              <a:off x="2256717" y="3141480"/>
              <a:ext cx="2072194" cy="1299807"/>
            </a:xfrm>
            <a:prstGeom prst="rect">
              <a:avLst/>
            </a:prstGeom>
          </p:spPr>
          <p:txBody>
            <a:bodyPr vert="horz" wrap="square" lIns="0" tIns="0" rIns="0" bIns="0" rtlCol="0" anchor="t" anchorCtr="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1050" dirty="0">
                  <a:solidFill>
                    <a:srgbClr val="FFFFFF"/>
                  </a:solidFill>
                </a:rPr>
                <a:t>医療サービスの</a:t>
              </a:r>
              <a:br>
                <a:rPr lang="en-US" sz="1050" dirty="0">
                  <a:solidFill>
                    <a:srgbClr val="FFFFFF"/>
                  </a:solidFill>
                </a:rPr>
              </a:br>
              <a:r>
                <a:rPr lang="ja" sz="1050" dirty="0">
                  <a:solidFill>
                    <a:srgbClr val="FFFFFF"/>
                  </a:solidFill>
                </a:rPr>
                <a:t>品質と効率の向上</a:t>
              </a:r>
            </a:p>
          </p:txBody>
        </p:sp>
        <p:sp>
          <p:nvSpPr>
            <p:cNvPr id="31" name="Freeform 9">
              <a:extLst>
                <a:ext uri="{FF2B5EF4-FFF2-40B4-BE49-F238E27FC236}">
                  <a16:creationId xmlns:a16="http://schemas.microsoft.com/office/drawing/2014/main" id="{2F9C8B7C-F5B1-4F4A-9E29-00EA3643D3AC}"/>
                </a:ext>
              </a:extLst>
            </p:cNvPr>
            <p:cNvSpPr>
              <a:spLocks/>
            </p:cNvSpPr>
            <p:nvPr/>
          </p:nvSpPr>
          <p:spPr bwMode="auto">
            <a:xfrm rot="12918157">
              <a:off x="2673352" y="3125804"/>
              <a:ext cx="2275242" cy="2271628"/>
            </a:xfrm>
            <a:custGeom>
              <a:avLst/>
              <a:gdLst>
                <a:gd name="T0" fmla="*/ 15000 w 30000"/>
                <a:gd name="T1" fmla="*/ 0 h 30000"/>
                <a:gd name="T2" fmla="*/ 30000 w 30000"/>
                <a:gd name="T3" fmla="*/ 15000 h 30000"/>
                <a:gd name="T4" fmla="*/ 15000 w 30000"/>
                <a:gd name="T5" fmla="*/ 30000 h 30000"/>
                <a:gd name="T6" fmla="*/ 0 w 30000"/>
                <a:gd name="T7" fmla="*/ 15000 h 30000"/>
                <a:gd name="T8" fmla="*/ 734 w 30000"/>
                <a:gd name="T9" fmla="*/ 10365 h 30000"/>
                <a:gd name="T10" fmla="*/ 5014 w 30000"/>
                <a:gd name="T11" fmla="*/ 11755 h 30000"/>
                <a:gd name="T12" fmla="*/ 11755 w 30000"/>
                <a:gd name="T13" fmla="*/ 24986 h 30000"/>
                <a:gd name="T14" fmla="*/ 24986 w 30000"/>
                <a:gd name="T15" fmla="*/ 18244 h 30000"/>
                <a:gd name="T16" fmla="*/ 18245 w 30000"/>
                <a:gd name="T17" fmla="*/ 5014 h 30000"/>
                <a:gd name="T18" fmla="*/ 15000 w 30000"/>
                <a:gd name="T19" fmla="*/ 4500 h 30000"/>
                <a:gd name="T20" fmla="*/ 15000 w 30000"/>
                <a:gd name="T21" fmla="*/ 0 h 3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00" h="30000">
                  <a:moveTo>
                    <a:pt x="15000" y="0"/>
                  </a:moveTo>
                  <a:cubicBezTo>
                    <a:pt x="23284" y="0"/>
                    <a:pt x="30000" y="6716"/>
                    <a:pt x="30000" y="15000"/>
                  </a:cubicBezTo>
                  <a:cubicBezTo>
                    <a:pt x="30000" y="23284"/>
                    <a:pt x="23284" y="30000"/>
                    <a:pt x="15000" y="30000"/>
                  </a:cubicBezTo>
                  <a:cubicBezTo>
                    <a:pt x="6716" y="30000"/>
                    <a:pt x="0" y="23284"/>
                    <a:pt x="0" y="15000"/>
                  </a:cubicBezTo>
                  <a:cubicBezTo>
                    <a:pt x="0" y="13426"/>
                    <a:pt x="248" y="11862"/>
                    <a:pt x="734" y="10365"/>
                  </a:cubicBezTo>
                  <a:lnTo>
                    <a:pt x="5014" y="11755"/>
                  </a:lnTo>
                  <a:cubicBezTo>
                    <a:pt x="3222" y="17270"/>
                    <a:pt x="6240" y="23194"/>
                    <a:pt x="11755" y="24986"/>
                  </a:cubicBezTo>
                  <a:cubicBezTo>
                    <a:pt x="17271" y="26778"/>
                    <a:pt x="23194" y="23760"/>
                    <a:pt x="24986" y="18244"/>
                  </a:cubicBezTo>
                  <a:cubicBezTo>
                    <a:pt x="26778" y="12729"/>
                    <a:pt x="23760" y="6806"/>
                    <a:pt x="18245" y="5014"/>
                  </a:cubicBezTo>
                  <a:cubicBezTo>
                    <a:pt x="17197" y="4673"/>
                    <a:pt x="16102" y="4500"/>
                    <a:pt x="15000" y="4500"/>
                  </a:cubicBezTo>
                  <a:lnTo>
                    <a:pt x="15000" y="0"/>
                  </a:lnTo>
                  <a:close/>
                </a:path>
              </a:pathLst>
            </a:custGeom>
            <a:solidFill>
              <a:schemeClr val="accent3"/>
            </a:solidFill>
            <a:ln w="0">
              <a:solidFill>
                <a:srgbClr val="A7E2D3"/>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2" name="Freeform 11">
              <a:extLst>
                <a:ext uri="{FF2B5EF4-FFF2-40B4-BE49-F238E27FC236}">
                  <a16:creationId xmlns:a16="http://schemas.microsoft.com/office/drawing/2014/main" id="{5B5A0C41-745B-4AA0-84AF-805522E515B3}"/>
                </a:ext>
              </a:extLst>
            </p:cNvPr>
            <p:cNvSpPr>
              <a:spLocks/>
            </p:cNvSpPr>
            <p:nvPr/>
          </p:nvSpPr>
          <p:spPr bwMode="auto">
            <a:xfrm rot="12973041">
              <a:off x="3337090" y="4715348"/>
              <a:ext cx="1012556" cy="860673"/>
            </a:xfrm>
            <a:custGeom>
              <a:avLst/>
              <a:gdLst>
                <a:gd name="T0" fmla="*/ 0 w 14266"/>
                <a:gd name="T1" fmla="*/ 10365 h 11755"/>
                <a:gd name="T2" fmla="*/ 14266 w 14266"/>
                <a:gd name="T3" fmla="*/ 0 h 11755"/>
                <a:gd name="T4" fmla="*/ 14266 w 14266"/>
                <a:gd name="T5" fmla="*/ 4500 h 11755"/>
                <a:gd name="T6" fmla="*/ 4280 w 14266"/>
                <a:gd name="T7" fmla="*/ 11755 h 11755"/>
                <a:gd name="T8" fmla="*/ 0 w 14266"/>
                <a:gd name="T9" fmla="*/ 10365 h 11755"/>
              </a:gdLst>
              <a:ahLst/>
              <a:cxnLst>
                <a:cxn ang="0">
                  <a:pos x="T0" y="T1"/>
                </a:cxn>
                <a:cxn ang="0">
                  <a:pos x="T2" y="T3"/>
                </a:cxn>
                <a:cxn ang="0">
                  <a:pos x="T4" y="T5"/>
                </a:cxn>
                <a:cxn ang="0">
                  <a:pos x="T6" y="T7"/>
                </a:cxn>
                <a:cxn ang="0">
                  <a:pos x="T8" y="T9"/>
                </a:cxn>
              </a:cxnLst>
              <a:rect l="0" t="0" r="r" b="b"/>
              <a:pathLst>
                <a:path w="14266" h="11755">
                  <a:moveTo>
                    <a:pt x="0" y="10365"/>
                  </a:moveTo>
                  <a:cubicBezTo>
                    <a:pt x="2008" y="4184"/>
                    <a:pt x="7768" y="0"/>
                    <a:pt x="14266" y="0"/>
                  </a:cubicBezTo>
                  <a:lnTo>
                    <a:pt x="14266" y="4500"/>
                  </a:lnTo>
                  <a:cubicBezTo>
                    <a:pt x="9717" y="4500"/>
                    <a:pt x="5686" y="7429"/>
                    <a:pt x="4280" y="11755"/>
                  </a:cubicBezTo>
                  <a:lnTo>
                    <a:pt x="0" y="10365"/>
                  </a:lnTo>
                  <a:close/>
                </a:path>
              </a:pathLst>
            </a:custGeom>
            <a:solidFill>
              <a:schemeClr val="accent3"/>
            </a:solidFill>
            <a:ln w="0">
              <a:solidFill>
                <a:srgbClr val="A7E2D3"/>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3" name="Freeform 16">
              <a:extLst>
                <a:ext uri="{FF2B5EF4-FFF2-40B4-BE49-F238E27FC236}">
                  <a16:creationId xmlns:a16="http://schemas.microsoft.com/office/drawing/2014/main" id="{6BFC80A7-AC14-4AB0-AF30-9F0BAFFFD9F8}"/>
                </a:ext>
              </a:extLst>
            </p:cNvPr>
            <p:cNvSpPr>
              <a:spLocks/>
            </p:cNvSpPr>
            <p:nvPr/>
          </p:nvSpPr>
          <p:spPr bwMode="auto">
            <a:xfrm>
              <a:off x="3060991" y="3523503"/>
              <a:ext cx="1500904" cy="1488566"/>
            </a:xfrm>
            <a:custGeom>
              <a:avLst/>
              <a:gdLst>
                <a:gd name="T0" fmla="*/ 11767 w 23533"/>
                <a:gd name="T1" fmla="*/ 0 h 23533"/>
                <a:gd name="T2" fmla="*/ 23533 w 23533"/>
                <a:gd name="T3" fmla="*/ 11767 h 23533"/>
                <a:gd name="T4" fmla="*/ 11767 w 23533"/>
                <a:gd name="T5" fmla="*/ 23533 h 23533"/>
                <a:gd name="T6" fmla="*/ 0 w 23533"/>
                <a:gd name="T7" fmla="*/ 11767 h 23533"/>
                <a:gd name="T8" fmla="*/ 11767 w 23533"/>
                <a:gd name="T9" fmla="*/ 0 h 23533"/>
                <a:gd name="T10" fmla="*/ 11767 w 23533"/>
                <a:gd name="T11" fmla="*/ 4118 h 23533"/>
                <a:gd name="T12" fmla="*/ 4118 w 23533"/>
                <a:gd name="T13" fmla="*/ 11767 h 23533"/>
                <a:gd name="T14" fmla="*/ 11767 w 23533"/>
                <a:gd name="T15" fmla="*/ 19415 h 23533"/>
                <a:gd name="T16" fmla="*/ 19415 w 23533"/>
                <a:gd name="T17" fmla="*/ 11767 h 23533"/>
                <a:gd name="T18" fmla="*/ 11767 w 23533"/>
                <a:gd name="T19" fmla="*/ 4118 h 23533"/>
                <a:gd name="T20" fmla="*/ 11767 w 23533"/>
                <a:gd name="T21" fmla="*/ 0 h 23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33" h="23533">
                  <a:moveTo>
                    <a:pt x="11767" y="0"/>
                  </a:moveTo>
                  <a:cubicBezTo>
                    <a:pt x="18265" y="0"/>
                    <a:pt x="23533" y="5268"/>
                    <a:pt x="23533" y="11767"/>
                  </a:cubicBezTo>
                  <a:cubicBezTo>
                    <a:pt x="23533" y="18265"/>
                    <a:pt x="18265" y="23533"/>
                    <a:pt x="11767" y="23533"/>
                  </a:cubicBezTo>
                  <a:cubicBezTo>
                    <a:pt x="5268" y="23533"/>
                    <a:pt x="0" y="18265"/>
                    <a:pt x="0" y="11767"/>
                  </a:cubicBezTo>
                  <a:cubicBezTo>
                    <a:pt x="0" y="5268"/>
                    <a:pt x="5268" y="0"/>
                    <a:pt x="11767" y="0"/>
                  </a:cubicBezTo>
                  <a:lnTo>
                    <a:pt x="11767" y="4118"/>
                  </a:lnTo>
                  <a:cubicBezTo>
                    <a:pt x="7543" y="4118"/>
                    <a:pt x="4118" y="7543"/>
                    <a:pt x="4118" y="11767"/>
                  </a:cubicBezTo>
                  <a:cubicBezTo>
                    <a:pt x="4118" y="15991"/>
                    <a:pt x="7543" y="19415"/>
                    <a:pt x="11767" y="19415"/>
                  </a:cubicBezTo>
                  <a:cubicBezTo>
                    <a:pt x="15991" y="19415"/>
                    <a:pt x="19415" y="15991"/>
                    <a:pt x="19415" y="11767"/>
                  </a:cubicBezTo>
                  <a:cubicBezTo>
                    <a:pt x="19415" y="7543"/>
                    <a:pt x="15991" y="4118"/>
                    <a:pt x="11767" y="4118"/>
                  </a:cubicBezTo>
                  <a:lnTo>
                    <a:pt x="11767" y="0"/>
                  </a:lnTo>
                  <a:close/>
                </a:path>
              </a:pathLst>
            </a:custGeom>
            <a:solidFill>
              <a:schemeClr val="accent2"/>
            </a:solidFill>
            <a:ln w="0">
              <a:solidFill>
                <a:srgbClr val="F6ECDA"/>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6" name="Freeform 28">
              <a:extLst>
                <a:ext uri="{FF2B5EF4-FFF2-40B4-BE49-F238E27FC236}">
                  <a16:creationId xmlns:a16="http://schemas.microsoft.com/office/drawing/2014/main" id="{257ACFA8-BF31-4776-95FB-F76B8E019D86}"/>
                </a:ext>
              </a:extLst>
            </p:cNvPr>
            <p:cNvSpPr>
              <a:spLocks/>
            </p:cNvSpPr>
            <p:nvPr/>
          </p:nvSpPr>
          <p:spPr bwMode="auto">
            <a:xfrm>
              <a:off x="3343071" y="3799619"/>
              <a:ext cx="930696" cy="931572"/>
            </a:xfrm>
            <a:custGeom>
              <a:avLst/>
              <a:gdLst>
                <a:gd name="T0" fmla="*/ 11767 w 23533"/>
                <a:gd name="T1" fmla="*/ 0 h 23533"/>
                <a:gd name="T2" fmla="*/ 23533 w 23533"/>
                <a:gd name="T3" fmla="*/ 11767 h 23533"/>
                <a:gd name="T4" fmla="*/ 11767 w 23533"/>
                <a:gd name="T5" fmla="*/ 23533 h 23533"/>
                <a:gd name="T6" fmla="*/ 0 w 23533"/>
                <a:gd name="T7" fmla="*/ 11767 h 23533"/>
                <a:gd name="T8" fmla="*/ 11767 w 23533"/>
                <a:gd name="T9" fmla="*/ 0 h 23533"/>
                <a:gd name="T10" fmla="*/ 11767 w 23533"/>
                <a:gd name="T11" fmla="*/ 4118 h 23533"/>
                <a:gd name="T12" fmla="*/ 4118 w 23533"/>
                <a:gd name="T13" fmla="*/ 11767 h 23533"/>
                <a:gd name="T14" fmla="*/ 11767 w 23533"/>
                <a:gd name="T15" fmla="*/ 19415 h 23533"/>
                <a:gd name="T16" fmla="*/ 19415 w 23533"/>
                <a:gd name="T17" fmla="*/ 11767 h 23533"/>
                <a:gd name="T18" fmla="*/ 11767 w 23533"/>
                <a:gd name="T19" fmla="*/ 4118 h 23533"/>
                <a:gd name="T20" fmla="*/ 11767 w 23533"/>
                <a:gd name="T21" fmla="*/ 0 h 23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33" h="23533">
                  <a:moveTo>
                    <a:pt x="11767" y="0"/>
                  </a:moveTo>
                  <a:cubicBezTo>
                    <a:pt x="18265" y="0"/>
                    <a:pt x="23533" y="5268"/>
                    <a:pt x="23533" y="11767"/>
                  </a:cubicBezTo>
                  <a:cubicBezTo>
                    <a:pt x="23533" y="18265"/>
                    <a:pt x="18265" y="23533"/>
                    <a:pt x="11767" y="23533"/>
                  </a:cubicBezTo>
                  <a:cubicBezTo>
                    <a:pt x="5268" y="23533"/>
                    <a:pt x="0" y="18265"/>
                    <a:pt x="0" y="11767"/>
                  </a:cubicBezTo>
                  <a:cubicBezTo>
                    <a:pt x="0" y="5268"/>
                    <a:pt x="5268" y="0"/>
                    <a:pt x="11767" y="0"/>
                  </a:cubicBezTo>
                  <a:lnTo>
                    <a:pt x="11767" y="4118"/>
                  </a:lnTo>
                  <a:cubicBezTo>
                    <a:pt x="7543" y="4118"/>
                    <a:pt x="4118" y="7543"/>
                    <a:pt x="4118" y="11767"/>
                  </a:cubicBezTo>
                  <a:cubicBezTo>
                    <a:pt x="4118" y="15991"/>
                    <a:pt x="7543" y="19415"/>
                    <a:pt x="11767" y="19415"/>
                  </a:cubicBezTo>
                  <a:cubicBezTo>
                    <a:pt x="15991" y="19415"/>
                    <a:pt x="19415" y="15991"/>
                    <a:pt x="19415" y="11767"/>
                  </a:cubicBezTo>
                  <a:cubicBezTo>
                    <a:pt x="19415" y="7543"/>
                    <a:pt x="15991" y="4118"/>
                    <a:pt x="11767" y="4118"/>
                  </a:cubicBezTo>
                  <a:lnTo>
                    <a:pt x="11767" y="0"/>
                  </a:lnTo>
                  <a:close/>
                </a:path>
              </a:pathLst>
            </a:custGeom>
            <a:solidFill>
              <a:schemeClr val="bg2"/>
            </a:solidFill>
            <a:ln w="0">
              <a:solidFill>
                <a:srgbClr val="E2F0D9"/>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7" name="TextBox 36">
              <a:extLst>
                <a:ext uri="{FF2B5EF4-FFF2-40B4-BE49-F238E27FC236}">
                  <a16:creationId xmlns:a16="http://schemas.microsoft.com/office/drawing/2014/main" id="{3CABD889-48E6-4F2E-B664-6F6E98454519}"/>
                </a:ext>
              </a:extLst>
            </p:cNvPr>
            <p:cNvSpPr txBox="1"/>
            <p:nvPr/>
          </p:nvSpPr>
          <p:spPr>
            <a:xfrm>
              <a:off x="3225736" y="4700682"/>
              <a:ext cx="1191353" cy="454249"/>
            </a:xfrm>
            <a:prstGeom prst="rect">
              <a:avLst/>
            </a:prstGeom>
          </p:spPr>
          <p:txBody>
            <a:bodyPr vert="horz" wrap="square" lIns="0" tIns="0" rIns="0" bIns="0" rtlCol="0">
              <a:prstTxWarp prst="textArchDown">
                <a:avLst>
                  <a:gd name="adj" fmla="val 328663"/>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000000"/>
                </a:buClr>
              </a:pPr>
              <a:r>
                <a:rPr lang="ja" sz="1000" dirty="0">
                  <a:solidFill>
                    <a:srgbClr val="000000"/>
                  </a:solidFill>
                </a:rPr>
                <a:t>サウジの都市にお</a:t>
              </a:r>
              <a:br>
                <a:rPr lang="en-US" altLang="ja" sz="1000" dirty="0">
                  <a:solidFill>
                    <a:srgbClr val="000000"/>
                  </a:solidFill>
                </a:rPr>
              </a:br>
              <a:r>
                <a:rPr lang="ja" sz="1000" dirty="0">
                  <a:solidFill>
                    <a:srgbClr val="000000"/>
                  </a:solidFill>
                </a:rPr>
                <a:t>ける質的改善</a:t>
              </a:r>
            </a:p>
          </p:txBody>
        </p:sp>
        <p:sp>
          <p:nvSpPr>
            <p:cNvPr id="38" name="TextBox 37">
              <a:extLst>
                <a:ext uri="{FF2B5EF4-FFF2-40B4-BE49-F238E27FC236}">
                  <a16:creationId xmlns:a16="http://schemas.microsoft.com/office/drawing/2014/main" id="{7A3694D8-359D-4870-9842-92D2DED6749B}"/>
                </a:ext>
              </a:extLst>
            </p:cNvPr>
            <p:cNvSpPr txBox="1"/>
            <p:nvPr/>
          </p:nvSpPr>
          <p:spPr>
            <a:xfrm rot="2197052">
              <a:off x="3083243" y="3542938"/>
              <a:ext cx="2232491" cy="1266334"/>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000000"/>
                </a:buClr>
              </a:pPr>
              <a:r>
                <a:rPr lang="ja" sz="1000" dirty="0">
                  <a:solidFill>
                    <a:srgbClr val="000000"/>
                  </a:solidFill>
                </a:rPr>
                <a:t>医療サービスの改善</a:t>
              </a:r>
            </a:p>
          </p:txBody>
        </p:sp>
        <p:sp>
          <p:nvSpPr>
            <p:cNvPr id="39" name="TextBox 38">
              <a:extLst>
                <a:ext uri="{FF2B5EF4-FFF2-40B4-BE49-F238E27FC236}">
                  <a16:creationId xmlns:a16="http://schemas.microsoft.com/office/drawing/2014/main" id="{9768D0D6-743F-407A-8311-B3DD136F3A91}"/>
                </a:ext>
              </a:extLst>
            </p:cNvPr>
            <p:cNvSpPr txBox="1"/>
            <p:nvPr/>
          </p:nvSpPr>
          <p:spPr>
            <a:xfrm rot="267081">
              <a:off x="3267358" y="3663087"/>
              <a:ext cx="1083828" cy="1089253"/>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000000"/>
                </a:buClr>
              </a:pPr>
              <a:r>
                <a:rPr lang="ja" sz="800" dirty="0">
                  <a:solidFill>
                    <a:srgbClr val="000000"/>
                  </a:solidFill>
                </a:rPr>
                <a:t>充足感のある健康な生活の確保</a:t>
              </a:r>
            </a:p>
          </p:txBody>
        </p:sp>
        <p:sp>
          <p:nvSpPr>
            <p:cNvPr id="40" name="TextBox 39">
              <a:extLst>
                <a:ext uri="{FF2B5EF4-FFF2-40B4-BE49-F238E27FC236}">
                  <a16:creationId xmlns:a16="http://schemas.microsoft.com/office/drawing/2014/main" id="{4E077811-3A41-485B-83D7-28A8A737DB47}"/>
                </a:ext>
              </a:extLst>
            </p:cNvPr>
            <p:cNvSpPr txBox="1"/>
            <p:nvPr/>
          </p:nvSpPr>
          <p:spPr>
            <a:xfrm>
              <a:off x="3447580" y="3923503"/>
              <a:ext cx="713010" cy="630604"/>
            </a:xfrm>
            <a:prstGeom prst="rect">
              <a:avLst/>
            </a:prstGeom>
          </p:spPr>
          <p:txBody>
            <a:bodyPr vert="horz" wrap="square" lIns="0" tIns="0" rIns="0" bIns="0" rtlCol="0">
              <a:prstTxWarp prst="textArchUp">
                <a:avLst>
                  <a:gd name="adj" fmla="val 11138641"/>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800" dirty="0">
                  <a:solidFill>
                    <a:srgbClr val="FFFFFF"/>
                  </a:solidFill>
                </a:rPr>
                <a:t>活気ある社会の実現</a:t>
              </a:r>
            </a:p>
          </p:txBody>
        </p:sp>
        <p:sp>
          <p:nvSpPr>
            <p:cNvPr id="41" name="TrackerAlphaWhite 112">
              <a:extLst>
                <a:ext uri="{FF2B5EF4-FFF2-40B4-BE49-F238E27FC236}">
                  <a16:creationId xmlns:a16="http://schemas.microsoft.com/office/drawing/2014/main" id="{D49F930A-1C7A-4750-9250-D02AC30055D8}"/>
                </a:ext>
              </a:extLst>
            </p:cNvPr>
            <p:cNvSpPr>
              <a:spLocks/>
            </p:cNvSpPr>
            <p:nvPr>
              <p:custDataLst>
                <p:tags r:id="rId6"/>
              </p:custDataLst>
            </p:nvPr>
          </p:nvSpPr>
          <p:spPr>
            <a:xfrm>
              <a:off x="3470202" y="2712013"/>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A</a:t>
              </a:r>
            </a:p>
          </p:txBody>
        </p:sp>
        <p:sp>
          <p:nvSpPr>
            <p:cNvPr id="42" name="TrackerAlphaWhite 112">
              <a:extLst>
                <a:ext uri="{FF2B5EF4-FFF2-40B4-BE49-F238E27FC236}">
                  <a16:creationId xmlns:a16="http://schemas.microsoft.com/office/drawing/2014/main" id="{035BE5F0-D5DC-4C37-BA8B-F7C06137E5A3}"/>
                </a:ext>
              </a:extLst>
            </p:cNvPr>
            <p:cNvSpPr>
              <a:spLocks/>
            </p:cNvSpPr>
            <p:nvPr>
              <p:custDataLst>
                <p:tags r:id="rId7"/>
              </p:custDataLst>
            </p:nvPr>
          </p:nvSpPr>
          <p:spPr>
            <a:xfrm>
              <a:off x="3959342" y="2712013"/>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B</a:t>
              </a:r>
            </a:p>
          </p:txBody>
        </p:sp>
        <p:sp>
          <p:nvSpPr>
            <p:cNvPr id="43" name="TrackerAlphaWhite 112">
              <a:extLst>
                <a:ext uri="{FF2B5EF4-FFF2-40B4-BE49-F238E27FC236}">
                  <a16:creationId xmlns:a16="http://schemas.microsoft.com/office/drawing/2014/main" id="{0C25F8F3-527C-4D2B-98EB-57B0F2FB2A93}"/>
                </a:ext>
              </a:extLst>
            </p:cNvPr>
            <p:cNvSpPr>
              <a:spLocks/>
            </p:cNvSpPr>
            <p:nvPr>
              <p:custDataLst>
                <p:tags r:id="rId8"/>
              </p:custDataLst>
            </p:nvPr>
          </p:nvSpPr>
          <p:spPr>
            <a:xfrm>
              <a:off x="3470202" y="5636178"/>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a:solidFill>
                    <a:schemeClr val="accent1"/>
                  </a:solidFill>
                </a:rPr>
                <a:t>C</a:t>
              </a:r>
            </a:p>
          </p:txBody>
        </p:sp>
        <p:sp>
          <p:nvSpPr>
            <p:cNvPr id="44" name="TrackerAlphaWhite 112">
              <a:extLst>
                <a:ext uri="{FF2B5EF4-FFF2-40B4-BE49-F238E27FC236}">
                  <a16:creationId xmlns:a16="http://schemas.microsoft.com/office/drawing/2014/main" id="{F197576A-2854-4F83-927A-9CC0D97F5BAB}"/>
                </a:ext>
              </a:extLst>
            </p:cNvPr>
            <p:cNvSpPr>
              <a:spLocks/>
            </p:cNvSpPr>
            <p:nvPr>
              <p:custDataLst>
                <p:tags r:id="rId9"/>
              </p:custDataLst>
            </p:nvPr>
          </p:nvSpPr>
          <p:spPr>
            <a:xfrm>
              <a:off x="3959342" y="5636178"/>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D</a:t>
              </a:r>
            </a:p>
          </p:txBody>
        </p:sp>
      </p:grpSp>
      <p:grpSp>
        <p:nvGrpSpPr>
          <p:cNvPr id="2" name="Group 1">
            <a:extLst>
              <a:ext uri="{FF2B5EF4-FFF2-40B4-BE49-F238E27FC236}">
                <a16:creationId xmlns:a16="http://schemas.microsoft.com/office/drawing/2014/main" id="{40EA75DC-AC53-4C80-A233-0A498D4B1CD9}"/>
              </a:ext>
            </a:extLst>
          </p:cNvPr>
          <p:cNvGrpSpPr/>
          <p:nvPr/>
        </p:nvGrpSpPr>
        <p:grpSpPr>
          <a:xfrm>
            <a:off x="6040446" y="2964306"/>
            <a:ext cx="1920957" cy="2543958"/>
            <a:chOff x="6040446" y="2422641"/>
            <a:chExt cx="1920957" cy="2543958"/>
          </a:xfrm>
        </p:grpSpPr>
        <p:sp>
          <p:nvSpPr>
            <p:cNvPr id="11" name="object 267">
              <a:extLst>
                <a:ext uri="{FF2B5EF4-FFF2-40B4-BE49-F238E27FC236}">
                  <a16:creationId xmlns:a16="http://schemas.microsoft.com/office/drawing/2014/main" id="{600A304A-ADBE-4598-8A8A-0132F294D69F}"/>
                </a:ext>
              </a:extLst>
            </p:cNvPr>
            <p:cNvSpPr txBox="1">
              <a:spLocks/>
            </p:cNvSpPr>
            <p:nvPr/>
          </p:nvSpPr>
          <p:spPr>
            <a:xfrm>
              <a:off x="6428776" y="2471260"/>
              <a:ext cx="1532627" cy="182101"/>
            </a:xfrm>
            <a:prstGeom prst="rect">
              <a:avLst/>
            </a:prstGeom>
          </p:spPr>
          <p:txBody>
            <a:bodyPr vert="horz" wrap="square" lIns="0" tIns="12700" rIns="0" bIns="0" rtlCol="0">
              <a:spAutoFit/>
            </a:bodyPr>
            <a:lstStyle/>
            <a:p>
              <a:pPr rtl="0">
                <a:lnSpc>
                  <a:spcPct val="100000"/>
                </a:lnSpc>
              </a:pPr>
              <a:r>
                <a:rPr lang="ja" sz="1100" b="1" spc="20" dirty="0">
                  <a:cs typeface="Tahoma"/>
                </a:rPr>
                <a:t>サウジVision</a:t>
              </a:r>
              <a:r>
                <a:rPr sz="1100" dirty="0"/>
                <a:t> </a:t>
              </a:r>
              <a:r>
                <a:rPr lang="ja" sz="1100" b="1" spc="30" dirty="0">
                  <a:cs typeface="Tahoma"/>
                </a:rPr>
                <a:t>2030の柱</a:t>
              </a:r>
              <a:endParaRPr sz="1100" dirty="0">
                <a:cs typeface="Tahoma"/>
              </a:endParaRPr>
            </a:p>
          </p:txBody>
        </p:sp>
        <p:sp>
          <p:nvSpPr>
            <p:cNvPr id="12" name="object 269">
              <a:extLst>
                <a:ext uri="{FF2B5EF4-FFF2-40B4-BE49-F238E27FC236}">
                  <a16:creationId xmlns:a16="http://schemas.microsoft.com/office/drawing/2014/main" id="{C0791CE4-8F58-481B-87A0-B8FC9E416642}"/>
                </a:ext>
              </a:extLst>
            </p:cNvPr>
            <p:cNvSpPr txBox="1">
              <a:spLocks/>
            </p:cNvSpPr>
            <p:nvPr/>
          </p:nvSpPr>
          <p:spPr>
            <a:xfrm>
              <a:off x="6428776" y="3116796"/>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1の目標</a:t>
              </a:r>
              <a:endParaRPr sz="1100" dirty="0">
                <a:cs typeface="Tahoma"/>
              </a:endParaRPr>
            </a:p>
          </p:txBody>
        </p:sp>
        <p:sp>
          <p:nvSpPr>
            <p:cNvPr id="13" name="object 263">
              <a:extLst>
                <a:ext uri="{FF2B5EF4-FFF2-40B4-BE49-F238E27FC236}">
                  <a16:creationId xmlns:a16="http://schemas.microsoft.com/office/drawing/2014/main" id="{362112EE-3515-48A0-94B4-48267044F8B1}"/>
                </a:ext>
              </a:extLst>
            </p:cNvPr>
            <p:cNvSpPr txBox="1">
              <a:spLocks/>
            </p:cNvSpPr>
            <p:nvPr/>
          </p:nvSpPr>
          <p:spPr>
            <a:xfrm>
              <a:off x="6428776" y="4031239"/>
              <a:ext cx="1532627" cy="289823"/>
            </a:xfrm>
            <a:prstGeom prst="rect">
              <a:avLst/>
            </a:prstGeom>
          </p:spPr>
          <p:txBody>
            <a:bodyPr vert="horz" wrap="square" lIns="0" tIns="12700" rIns="0" bIns="0" rtlCol="0">
              <a:spAutoFit/>
            </a:bodyPr>
            <a:lstStyle/>
            <a:p>
              <a:pPr rtl="0">
                <a:lnSpc>
                  <a:spcPct val="100000"/>
                </a:lnSpc>
              </a:pPr>
              <a:r>
                <a:t>副次的目標</a:t>
              </a:r>
              <a:endParaRPr sz="1050" dirty="0">
                <a:cs typeface="Arial"/>
              </a:endParaRPr>
            </a:p>
          </p:txBody>
        </p:sp>
        <p:sp>
          <p:nvSpPr>
            <p:cNvPr id="14" name="object 266">
              <a:extLst>
                <a:ext uri="{FF2B5EF4-FFF2-40B4-BE49-F238E27FC236}">
                  <a16:creationId xmlns:a16="http://schemas.microsoft.com/office/drawing/2014/main" id="{777F32A2-F584-4875-B4C5-17DDB01307D2}"/>
                </a:ext>
              </a:extLst>
            </p:cNvPr>
            <p:cNvSpPr txBox="1">
              <a:spLocks/>
            </p:cNvSpPr>
            <p:nvPr/>
          </p:nvSpPr>
          <p:spPr>
            <a:xfrm>
              <a:off x="6428776" y="4676776"/>
              <a:ext cx="1532627" cy="289823"/>
            </a:xfrm>
            <a:prstGeom prst="rect">
              <a:avLst/>
            </a:prstGeom>
          </p:spPr>
          <p:txBody>
            <a:bodyPr vert="horz" wrap="square" lIns="0" tIns="12700" rIns="0" bIns="0" rtlCol="0">
              <a:spAutoFit/>
            </a:bodyPr>
            <a:lstStyle/>
            <a:p>
              <a:pPr rtl="0">
                <a:lnSpc>
                  <a:spcPct val="100000"/>
                </a:lnSpc>
              </a:pPr>
              <a:r>
                <a:rPr lang="ja" spc="15" dirty="0">
                  <a:cs typeface="Arial"/>
                </a:rPr>
                <a:t>戦略的目標</a:t>
              </a:r>
              <a:endParaRPr dirty="0">
                <a:cs typeface="Arial"/>
              </a:endParaRPr>
            </a:p>
          </p:txBody>
        </p:sp>
        <p:sp>
          <p:nvSpPr>
            <p:cNvPr id="15" name="object 268">
              <a:extLst>
                <a:ext uri="{FF2B5EF4-FFF2-40B4-BE49-F238E27FC236}">
                  <a16:creationId xmlns:a16="http://schemas.microsoft.com/office/drawing/2014/main" id="{521F7BBA-129F-42F2-8460-3B31EED77AF9}"/>
                </a:ext>
              </a:extLst>
            </p:cNvPr>
            <p:cNvSpPr txBox="1">
              <a:spLocks/>
            </p:cNvSpPr>
            <p:nvPr/>
          </p:nvSpPr>
          <p:spPr>
            <a:xfrm>
              <a:off x="6428776" y="2740167"/>
              <a:ext cx="1532627" cy="289823"/>
            </a:xfrm>
            <a:prstGeom prst="rect">
              <a:avLst/>
            </a:prstGeom>
          </p:spPr>
          <p:txBody>
            <a:bodyPr vert="horz" wrap="square" lIns="0" tIns="12700" rIns="0" bIns="0" rtlCol="0">
              <a:spAutoFit/>
            </a:bodyPr>
            <a:lstStyle/>
            <a:p>
              <a:pPr rtl="0">
                <a:lnSpc>
                  <a:spcPct val="100000"/>
                </a:lnSpc>
              </a:pPr>
              <a:r>
                <a:rPr dirty="0"/>
                <a:t>3本柱の1つ</a:t>
              </a:r>
              <a:endParaRPr sz="1050" dirty="0">
                <a:cs typeface="Arial"/>
              </a:endParaRPr>
            </a:p>
          </p:txBody>
        </p:sp>
        <p:sp>
          <p:nvSpPr>
            <p:cNvPr id="16" name="object 270">
              <a:extLst>
                <a:ext uri="{FF2B5EF4-FFF2-40B4-BE49-F238E27FC236}">
                  <a16:creationId xmlns:a16="http://schemas.microsoft.com/office/drawing/2014/main" id="{4A4C29AE-7114-4B76-8D6D-4A92B5B64427}"/>
                </a:ext>
              </a:extLst>
            </p:cNvPr>
            <p:cNvSpPr txBox="1">
              <a:spLocks/>
            </p:cNvSpPr>
            <p:nvPr/>
          </p:nvSpPr>
          <p:spPr>
            <a:xfrm>
              <a:off x="6428776" y="3385703"/>
              <a:ext cx="1532627" cy="289823"/>
            </a:xfrm>
            <a:prstGeom prst="rect">
              <a:avLst/>
            </a:prstGeom>
          </p:spPr>
          <p:txBody>
            <a:bodyPr vert="horz" wrap="square" lIns="0" tIns="12700" rIns="0" bIns="0" rtlCol="0">
              <a:spAutoFit/>
            </a:bodyPr>
            <a:lstStyle/>
            <a:p>
              <a:pPr rtl="0">
                <a:lnSpc>
                  <a:spcPct val="100000"/>
                </a:lnSpc>
              </a:pPr>
              <a:r>
                <a:rPr dirty="0" err="1"/>
                <a:t>全般的目標</a:t>
              </a:r>
              <a:endParaRPr sz="1050" dirty="0">
                <a:cs typeface="Arial"/>
              </a:endParaRPr>
            </a:p>
          </p:txBody>
        </p:sp>
        <p:sp>
          <p:nvSpPr>
            <p:cNvPr id="17" name="object 262">
              <a:extLst>
                <a:ext uri="{FF2B5EF4-FFF2-40B4-BE49-F238E27FC236}">
                  <a16:creationId xmlns:a16="http://schemas.microsoft.com/office/drawing/2014/main" id="{6A82AF37-8990-4A5D-9ED4-15EA4F0F51D1}"/>
                </a:ext>
              </a:extLst>
            </p:cNvPr>
            <p:cNvSpPr txBox="1">
              <a:spLocks/>
            </p:cNvSpPr>
            <p:nvPr/>
          </p:nvSpPr>
          <p:spPr>
            <a:xfrm>
              <a:off x="6428776" y="3762332"/>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2の目標</a:t>
              </a:r>
              <a:endParaRPr sz="1100" dirty="0">
                <a:cs typeface="Tahoma"/>
              </a:endParaRPr>
            </a:p>
          </p:txBody>
        </p:sp>
        <p:sp>
          <p:nvSpPr>
            <p:cNvPr id="18" name="object 265">
              <a:extLst>
                <a:ext uri="{FF2B5EF4-FFF2-40B4-BE49-F238E27FC236}">
                  <a16:creationId xmlns:a16="http://schemas.microsoft.com/office/drawing/2014/main" id="{16A2ED3C-8C8F-4166-B063-A51E7FD2765D}"/>
                </a:ext>
              </a:extLst>
            </p:cNvPr>
            <p:cNvSpPr txBox="1">
              <a:spLocks/>
            </p:cNvSpPr>
            <p:nvPr/>
          </p:nvSpPr>
          <p:spPr>
            <a:xfrm>
              <a:off x="6428776" y="4407868"/>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3の目標</a:t>
              </a:r>
              <a:endParaRPr sz="1100" dirty="0">
                <a:cs typeface="Tahoma"/>
              </a:endParaRPr>
            </a:p>
          </p:txBody>
        </p:sp>
        <p:sp>
          <p:nvSpPr>
            <p:cNvPr id="45" name="TrackerNumWhite 3">
              <a:extLst>
                <a:ext uri="{FF2B5EF4-FFF2-40B4-BE49-F238E27FC236}">
                  <a16:creationId xmlns:a16="http://schemas.microsoft.com/office/drawing/2014/main" id="{33F39AC5-2EB0-48E0-B347-937F783605FB}"/>
                </a:ext>
              </a:extLst>
            </p:cNvPr>
            <p:cNvSpPr/>
            <p:nvPr>
              <p:custDataLst>
                <p:tags r:id="rId3"/>
              </p:custDataLst>
            </p:nvPr>
          </p:nvSpPr>
          <p:spPr>
            <a:xfrm>
              <a:off x="6040446" y="2422641"/>
              <a:ext cx="279340" cy="279340"/>
            </a:xfrm>
            <a:prstGeom prst="ellipse">
              <a:avLst/>
            </a:prstGeom>
            <a:solidFill>
              <a:schemeClr val="bg2"/>
            </a:solidFill>
            <a:ln w="6350" cap="sq">
              <a:solidFill>
                <a:srgbClr val="E2F0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sp>
          <p:nvSpPr>
            <p:cNvPr id="46" name="TrackerNumWhite 3">
              <a:extLst>
                <a:ext uri="{FF2B5EF4-FFF2-40B4-BE49-F238E27FC236}">
                  <a16:creationId xmlns:a16="http://schemas.microsoft.com/office/drawing/2014/main" id="{32DAE8C2-2AD1-4FD7-BE95-ED432D58E89E}"/>
                </a:ext>
              </a:extLst>
            </p:cNvPr>
            <p:cNvSpPr/>
            <p:nvPr>
              <p:custDataLst>
                <p:tags r:id="rId4"/>
              </p:custDataLst>
            </p:nvPr>
          </p:nvSpPr>
          <p:spPr>
            <a:xfrm>
              <a:off x="6040446" y="3068177"/>
              <a:ext cx="279340" cy="27934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sp>
          <p:nvSpPr>
            <p:cNvPr id="47" name="TrackerNumWhite 3">
              <a:extLst>
                <a:ext uri="{FF2B5EF4-FFF2-40B4-BE49-F238E27FC236}">
                  <a16:creationId xmlns:a16="http://schemas.microsoft.com/office/drawing/2014/main" id="{8025160C-726A-4A59-9BC1-9CF877D10A14}"/>
                </a:ext>
              </a:extLst>
            </p:cNvPr>
            <p:cNvSpPr/>
            <p:nvPr>
              <p:custDataLst>
                <p:tags r:id="rId5"/>
              </p:custDataLst>
            </p:nvPr>
          </p:nvSpPr>
          <p:spPr>
            <a:xfrm>
              <a:off x="6040446" y="3713712"/>
              <a:ext cx="279340" cy="279340"/>
            </a:xfrm>
            <a:prstGeom prst="ellipse">
              <a:avLst/>
            </a:prstGeom>
            <a:solidFill>
              <a:schemeClr val="accent4"/>
            </a:solidFill>
            <a:ln w="6350" cap="sq">
              <a:solidFill>
                <a:srgbClr val="E2F0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grpSp>
          <p:nvGrpSpPr>
            <p:cNvPr id="48" name="Group 47">
              <a:extLst>
                <a:ext uri="{FF2B5EF4-FFF2-40B4-BE49-F238E27FC236}">
                  <a16:creationId xmlns:a16="http://schemas.microsoft.com/office/drawing/2014/main" id="{4450DFF0-FFAF-4968-A4BF-4D35B6F0104C}"/>
                </a:ext>
              </a:extLst>
            </p:cNvPr>
            <p:cNvGrpSpPr>
              <a:grpSpLocks/>
            </p:cNvGrpSpPr>
            <p:nvPr/>
          </p:nvGrpSpPr>
          <p:grpSpPr>
            <a:xfrm>
              <a:off x="6040446" y="4367393"/>
              <a:ext cx="272755" cy="263050"/>
              <a:chOff x="1825469" y="1344825"/>
              <a:chExt cx="4865477" cy="4865480"/>
            </a:xfrm>
          </p:grpSpPr>
          <p:sp>
            <p:nvSpPr>
              <p:cNvPr id="49" name="Freeform 5">
                <a:extLst>
                  <a:ext uri="{FF2B5EF4-FFF2-40B4-BE49-F238E27FC236}">
                    <a16:creationId xmlns:a16="http://schemas.microsoft.com/office/drawing/2014/main" id="{BE4252C2-790E-4E58-B4D3-7ADA7219D50C}"/>
                  </a:ext>
                </a:extLst>
              </p:cNvPr>
              <p:cNvSpPr>
                <a:spLocks/>
              </p:cNvSpPr>
              <p:nvPr/>
            </p:nvSpPr>
            <p:spPr bwMode="auto">
              <a:xfrm>
                <a:off x="4258208" y="1344825"/>
                <a:ext cx="2432738" cy="2432740"/>
              </a:xfrm>
              <a:custGeom>
                <a:avLst/>
                <a:gdLst>
                  <a:gd name="T0" fmla="*/ 0 w 9317"/>
                  <a:gd name="T1" fmla="*/ 0 h 9317"/>
                  <a:gd name="T2" fmla="*/ 9317 w 9317"/>
                  <a:gd name="T3" fmla="*/ 9317 h 9317"/>
                  <a:gd name="T4" fmla="*/ 6056 w 9317"/>
                  <a:gd name="T5" fmla="*/ 9317 h 9317"/>
                  <a:gd name="T6" fmla="*/ 0 w 9317"/>
                  <a:gd name="T7" fmla="*/ 3261 h 9317"/>
                  <a:gd name="T8" fmla="*/ 0 w 9317"/>
                  <a:gd name="T9" fmla="*/ 0 h 9317"/>
                </a:gdLst>
                <a:ahLst/>
                <a:cxnLst>
                  <a:cxn ang="0">
                    <a:pos x="T0" y="T1"/>
                  </a:cxn>
                  <a:cxn ang="0">
                    <a:pos x="T2" y="T3"/>
                  </a:cxn>
                  <a:cxn ang="0">
                    <a:pos x="T4" y="T5"/>
                  </a:cxn>
                  <a:cxn ang="0">
                    <a:pos x="T6" y="T7"/>
                  </a:cxn>
                  <a:cxn ang="0">
                    <a:pos x="T8" y="T9"/>
                  </a:cxn>
                </a:cxnLst>
                <a:rect l="0" t="0" r="r" b="b"/>
                <a:pathLst>
                  <a:path w="9317" h="9317">
                    <a:moveTo>
                      <a:pt x="0" y="0"/>
                    </a:moveTo>
                    <a:cubicBezTo>
                      <a:pt x="5146" y="0"/>
                      <a:pt x="9317" y="4172"/>
                      <a:pt x="9317" y="9317"/>
                    </a:cubicBezTo>
                    <a:lnTo>
                      <a:pt x="6056" y="9317"/>
                    </a:lnTo>
                    <a:cubicBezTo>
                      <a:pt x="6056" y="5973"/>
                      <a:pt x="3345" y="3261"/>
                      <a:pt x="0" y="3261"/>
                    </a:cubicBezTo>
                    <a:lnTo>
                      <a:pt x="0" y="0"/>
                    </a:lnTo>
                    <a:close/>
                  </a:path>
                </a:pathLst>
              </a:custGeom>
              <a:solidFill>
                <a:srgbClr val="BF1313"/>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0" name="Freeform 7">
                <a:extLst>
                  <a:ext uri="{FF2B5EF4-FFF2-40B4-BE49-F238E27FC236}">
                    <a16:creationId xmlns:a16="http://schemas.microsoft.com/office/drawing/2014/main" id="{8C19BC7D-4D0C-4C87-9DEB-8D3C242CA597}"/>
                  </a:ext>
                </a:extLst>
              </p:cNvPr>
              <p:cNvSpPr>
                <a:spLocks/>
              </p:cNvSpPr>
              <p:nvPr/>
            </p:nvSpPr>
            <p:spPr bwMode="auto">
              <a:xfrm>
                <a:off x="4258208" y="3777564"/>
                <a:ext cx="2432738" cy="2432740"/>
              </a:xfrm>
              <a:custGeom>
                <a:avLst/>
                <a:gdLst>
                  <a:gd name="T0" fmla="*/ 9317 w 9317"/>
                  <a:gd name="T1" fmla="*/ 0 h 9317"/>
                  <a:gd name="T2" fmla="*/ 0 w 9317"/>
                  <a:gd name="T3" fmla="*/ 9317 h 9317"/>
                  <a:gd name="T4" fmla="*/ 0 w 9317"/>
                  <a:gd name="T5" fmla="*/ 6056 h 9317"/>
                  <a:gd name="T6" fmla="*/ 6056 w 9317"/>
                  <a:gd name="T7" fmla="*/ 0 h 9317"/>
                  <a:gd name="T8" fmla="*/ 9317 w 9317"/>
                  <a:gd name="T9" fmla="*/ 0 h 9317"/>
                </a:gdLst>
                <a:ahLst/>
                <a:cxnLst>
                  <a:cxn ang="0">
                    <a:pos x="T0" y="T1"/>
                  </a:cxn>
                  <a:cxn ang="0">
                    <a:pos x="T2" y="T3"/>
                  </a:cxn>
                  <a:cxn ang="0">
                    <a:pos x="T4" y="T5"/>
                  </a:cxn>
                  <a:cxn ang="0">
                    <a:pos x="T6" y="T7"/>
                  </a:cxn>
                  <a:cxn ang="0">
                    <a:pos x="T8" y="T9"/>
                  </a:cxn>
                </a:cxnLst>
                <a:rect l="0" t="0" r="r" b="b"/>
                <a:pathLst>
                  <a:path w="9317" h="9317">
                    <a:moveTo>
                      <a:pt x="9317" y="0"/>
                    </a:moveTo>
                    <a:cubicBezTo>
                      <a:pt x="9317" y="5146"/>
                      <a:pt x="5146" y="9317"/>
                      <a:pt x="0" y="9317"/>
                    </a:cubicBezTo>
                    <a:lnTo>
                      <a:pt x="0" y="6056"/>
                    </a:lnTo>
                    <a:cubicBezTo>
                      <a:pt x="3345" y="6056"/>
                      <a:pt x="6056" y="3345"/>
                      <a:pt x="6056" y="0"/>
                    </a:cubicBezTo>
                    <a:lnTo>
                      <a:pt x="9317" y="0"/>
                    </a:lnTo>
                    <a:close/>
                  </a:path>
                </a:pathLst>
              </a:custGeom>
              <a:solidFill>
                <a:srgbClr val="E57E17"/>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1" name="Freeform 9">
                <a:extLst>
                  <a:ext uri="{FF2B5EF4-FFF2-40B4-BE49-F238E27FC236}">
                    <a16:creationId xmlns:a16="http://schemas.microsoft.com/office/drawing/2014/main" id="{E9210C38-CC03-4FA7-A55E-6AE59CC3EF3E}"/>
                  </a:ext>
                </a:extLst>
              </p:cNvPr>
              <p:cNvSpPr>
                <a:spLocks/>
              </p:cNvSpPr>
              <p:nvPr/>
            </p:nvSpPr>
            <p:spPr bwMode="auto">
              <a:xfrm>
                <a:off x="1825469" y="3777565"/>
                <a:ext cx="2432738" cy="2432740"/>
              </a:xfrm>
              <a:custGeom>
                <a:avLst/>
                <a:gdLst>
                  <a:gd name="T0" fmla="*/ 9316 w 9316"/>
                  <a:gd name="T1" fmla="*/ 9317 h 9317"/>
                  <a:gd name="T2" fmla="*/ 0 w 9316"/>
                  <a:gd name="T3" fmla="*/ 0 h 9317"/>
                  <a:gd name="T4" fmla="*/ 3261 w 9316"/>
                  <a:gd name="T5" fmla="*/ 0 h 9317"/>
                  <a:gd name="T6" fmla="*/ 9316 w 9316"/>
                  <a:gd name="T7" fmla="*/ 6056 h 9317"/>
                  <a:gd name="T8" fmla="*/ 9316 w 9316"/>
                  <a:gd name="T9" fmla="*/ 9317 h 9317"/>
                </a:gdLst>
                <a:ahLst/>
                <a:cxnLst>
                  <a:cxn ang="0">
                    <a:pos x="T0" y="T1"/>
                  </a:cxn>
                  <a:cxn ang="0">
                    <a:pos x="T2" y="T3"/>
                  </a:cxn>
                  <a:cxn ang="0">
                    <a:pos x="T4" y="T5"/>
                  </a:cxn>
                  <a:cxn ang="0">
                    <a:pos x="T6" y="T7"/>
                  </a:cxn>
                  <a:cxn ang="0">
                    <a:pos x="T8" y="T9"/>
                  </a:cxn>
                </a:cxnLst>
                <a:rect l="0" t="0" r="r" b="b"/>
                <a:pathLst>
                  <a:path w="9316" h="9317">
                    <a:moveTo>
                      <a:pt x="9316" y="9317"/>
                    </a:moveTo>
                    <a:cubicBezTo>
                      <a:pt x="4171" y="9317"/>
                      <a:pt x="0" y="5146"/>
                      <a:pt x="0" y="0"/>
                    </a:cubicBezTo>
                    <a:lnTo>
                      <a:pt x="3261" y="0"/>
                    </a:lnTo>
                    <a:cubicBezTo>
                      <a:pt x="3261" y="3345"/>
                      <a:pt x="5972" y="6056"/>
                      <a:pt x="9316" y="6056"/>
                    </a:cubicBezTo>
                    <a:lnTo>
                      <a:pt x="9316" y="9317"/>
                    </a:lnTo>
                    <a:close/>
                  </a:path>
                </a:pathLst>
              </a:custGeom>
              <a:solidFill>
                <a:srgbClr val="40647F"/>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2" name="Freeform 11">
                <a:extLst>
                  <a:ext uri="{FF2B5EF4-FFF2-40B4-BE49-F238E27FC236}">
                    <a16:creationId xmlns:a16="http://schemas.microsoft.com/office/drawing/2014/main" id="{3D6CFA23-7A8B-40C1-8F48-D13F72D11747}"/>
                  </a:ext>
                </a:extLst>
              </p:cNvPr>
              <p:cNvSpPr>
                <a:spLocks/>
              </p:cNvSpPr>
              <p:nvPr/>
            </p:nvSpPr>
            <p:spPr bwMode="auto">
              <a:xfrm>
                <a:off x="1825469" y="1344825"/>
                <a:ext cx="2432738" cy="2432740"/>
              </a:xfrm>
              <a:custGeom>
                <a:avLst/>
                <a:gdLst>
                  <a:gd name="T0" fmla="*/ 0 w 18633"/>
                  <a:gd name="T1" fmla="*/ 18634 h 18634"/>
                  <a:gd name="T2" fmla="*/ 18633 w 18633"/>
                  <a:gd name="T3" fmla="*/ 0 h 18634"/>
                  <a:gd name="T4" fmla="*/ 18633 w 18633"/>
                  <a:gd name="T5" fmla="*/ 6522 h 18634"/>
                  <a:gd name="T6" fmla="*/ 6522 w 18633"/>
                  <a:gd name="T7" fmla="*/ 18634 h 18634"/>
                  <a:gd name="T8" fmla="*/ 0 w 18633"/>
                  <a:gd name="T9" fmla="*/ 18634 h 18634"/>
                </a:gdLst>
                <a:ahLst/>
                <a:cxnLst>
                  <a:cxn ang="0">
                    <a:pos x="T0" y="T1"/>
                  </a:cxn>
                  <a:cxn ang="0">
                    <a:pos x="T2" y="T3"/>
                  </a:cxn>
                  <a:cxn ang="0">
                    <a:pos x="T4" y="T5"/>
                  </a:cxn>
                  <a:cxn ang="0">
                    <a:pos x="T6" y="T7"/>
                  </a:cxn>
                  <a:cxn ang="0">
                    <a:pos x="T8" y="T9"/>
                  </a:cxn>
                </a:cxnLst>
                <a:rect l="0" t="0" r="r" b="b"/>
                <a:pathLst>
                  <a:path w="18633" h="18634">
                    <a:moveTo>
                      <a:pt x="0" y="18634"/>
                    </a:moveTo>
                    <a:cubicBezTo>
                      <a:pt x="0" y="8343"/>
                      <a:pt x="8343" y="0"/>
                      <a:pt x="18633" y="0"/>
                    </a:cubicBezTo>
                    <a:lnTo>
                      <a:pt x="18633" y="6522"/>
                    </a:lnTo>
                    <a:cubicBezTo>
                      <a:pt x="11944" y="6522"/>
                      <a:pt x="6522" y="11945"/>
                      <a:pt x="6522" y="18634"/>
                    </a:cubicBezTo>
                    <a:lnTo>
                      <a:pt x="0" y="18634"/>
                    </a:lnTo>
                    <a:close/>
                  </a:path>
                </a:pathLst>
              </a:custGeom>
              <a:solidFill>
                <a:srgbClr val="005BAC"/>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grpSp>
      </p:grpSp>
      <p:sp>
        <p:nvSpPr>
          <p:cNvPr id="53" name="テキスト ボックス 3">
            <a:extLst>
              <a:ext uri="{FF2B5EF4-FFF2-40B4-BE49-F238E27FC236}">
                <a16:creationId xmlns:a16="http://schemas.microsoft.com/office/drawing/2014/main" id="{6844CEB2-58C3-4971-8CD7-CCD0DFF2F425}"/>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Vision2030</a:t>
            </a:r>
            <a:r>
              <a:rPr lang="ja-JP" altLang="en-US" sz="1400" dirty="0"/>
              <a:t>では医療システムの質、アクセス、効率を複数のプログラムを通じて改善することを目的としており、医療セクター変革プログラム </a:t>
            </a:r>
            <a:r>
              <a:rPr lang="en-US" altLang="ja-JP" sz="1400" dirty="0"/>
              <a:t>(HSTP) </a:t>
            </a:r>
            <a:r>
              <a:rPr lang="ja-JP" altLang="en-US" sz="1400" dirty="0"/>
              <a:t>を通じた合理化が進行中である。</a:t>
            </a:r>
          </a:p>
        </p:txBody>
      </p:sp>
      <p:sp>
        <p:nvSpPr>
          <p:cNvPr id="54" name="タイトル 1">
            <a:extLst>
              <a:ext uri="{FF2B5EF4-FFF2-40B4-BE49-F238E27FC236}">
                <a16:creationId xmlns:a16="http://schemas.microsoft.com/office/drawing/2014/main" id="{C04C518D-72FC-4E41-9DCB-C313ACF1AC82}"/>
              </a:ext>
            </a:extLst>
          </p:cNvPr>
          <p:cNvSpPr>
            <a:spLocks noGrp="1"/>
          </p:cNvSpPr>
          <p:nvPr>
            <p:ph type="title"/>
          </p:nvPr>
        </p:nvSpPr>
        <p:spPr>
          <a:xfrm>
            <a:off x="200471" y="188550"/>
            <a:ext cx="9505055" cy="360050"/>
          </a:xfrm>
        </p:spPr>
        <p:txBody>
          <a:bodyPr vert="horz"/>
          <a:lstStyle/>
          <a:p>
            <a:r>
              <a:rPr lang="ja-JP" altLang="en-US" dirty="0"/>
              <a:t>サウジアラビア／政策動向</a:t>
            </a:r>
            <a:endParaRPr kumimoji="1" lang="ja-JP" altLang="en-US" dirty="0"/>
          </a:p>
        </p:txBody>
      </p:sp>
      <p:sp>
        <p:nvSpPr>
          <p:cNvPr id="55" name="テキスト プレースホルダー 2">
            <a:extLst>
              <a:ext uri="{FF2B5EF4-FFF2-40B4-BE49-F238E27FC236}">
                <a16:creationId xmlns:a16="http://schemas.microsoft.com/office/drawing/2014/main" id="{78D746EA-34CE-4861-BD8F-547CC23CD273}"/>
              </a:ext>
            </a:extLst>
          </p:cNvPr>
          <p:cNvSpPr>
            <a:spLocks noGrp="1"/>
          </p:cNvSpPr>
          <p:nvPr>
            <p:ph type="body" sz="quarter" idx="15"/>
          </p:nvPr>
        </p:nvSpPr>
        <p:spPr>
          <a:xfrm>
            <a:off x="200025" y="549275"/>
            <a:ext cx="9505950" cy="359445"/>
          </a:xfrm>
        </p:spPr>
        <p:txBody>
          <a:bodyPr>
            <a:noAutofit/>
          </a:bodyPr>
          <a:lstStyle/>
          <a:p>
            <a:r>
              <a:rPr lang="ja-JP" altLang="en-US" dirty="0"/>
              <a:t>医療関連政策の将来動向（</a:t>
            </a:r>
            <a:r>
              <a:rPr lang="en-US" altLang="ja-JP" dirty="0"/>
              <a:t>2/6</a:t>
            </a:r>
            <a:r>
              <a:rPr lang="ja-JP" altLang="en-US" dirty="0"/>
              <a:t>）</a:t>
            </a:r>
          </a:p>
        </p:txBody>
      </p:sp>
      <p:sp>
        <p:nvSpPr>
          <p:cNvPr id="56" name="5. Source">
            <a:extLst>
              <a:ext uri="{FF2B5EF4-FFF2-40B4-BE49-F238E27FC236}">
                <a16:creationId xmlns:a16="http://schemas.microsoft.com/office/drawing/2014/main" id="{C17983D4-821A-401C-92FE-BE4B2A846F2F}"/>
              </a:ext>
            </a:extLst>
          </p:cNvPr>
          <p:cNvSpPr txBox="1"/>
          <p:nvPr>
            <p:custDataLst>
              <p:tags r:id="rId2"/>
            </p:custDataLst>
          </p:nvPr>
        </p:nvSpPr>
        <p:spPr>
          <a:xfrm>
            <a:off x="200025" y="663850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nchorCtr="0">
            <a:spAutoFit/>
          </a:bodyPr>
          <a:lstStyle>
            <a:defPPr>
              <a:defRPr lang="en-US"/>
            </a:defPPr>
            <a:lvl1pPr marR="0" lvl="0" indent="0" defTabSz="1218026" fontAlgn="base">
              <a:lnSpc>
                <a:spcPct val="100000"/>
              </a:lnSpc>
              <a:spcBef>
                <a:spcPct val="0"/>
              </a:spcBef>
              <a:spcAft>
                <a:spcPct val="0"/>
              </a:spcAft>
              <a:buClrTx/>
              <a:buSzTx/>
              <a:buFontTx/>
              <a:buNone/>
              <a:tabLst/>
              <a:defRPr kumimoji="0" sz="800" b="0" i="0" u="none" strike="noStrike" cap="none" spc="0" normalizeH="0" baseline="0">
                <a:ln>
                  <a:noFill/>
                </a:ln>
                <a:solidFill>
                  <a:srgbClr val="000000"/>
                </a:solidFill>
                <a:effectLst/>
                <a:uLnTx/>
                <a:uFillTx/>
                <a:latin typeface="Sakkal Majalla"/>
              </a:defRPr>
            </a:lvl1pPr>
          </a:lstStyle>
          <a:p>
            <a:pPr rtl="0"/>
            <a:r>
              <a:rPr lang="en-US" altLang="ja" dirty="0">
                <a:solidFill>
                  <a:schemeClr val="tx1"/>
                </a:solidFill>
                <a:latin typeface="+mn-lt"/>
              </a:rPr>
              <a:t>(</a:t>
            </a:r>
            <a:r>
              <a:rPr lang="ja-JP" altLang="en-US" dirty="0">
                <a:solidFill>
                  <a:schemeClr val="tx1"/>
                </a:solidFill>
                <a:latin typeface="+mn-lt"/>
              </a:rPr>
              <a:t>出所</a:t>
            </a:r>
            <a:r>
              <a:rPr lang="en-US" altLang="ja" dirty="0">
                <a:solidFill>
                  <a:schemeClr val="tx1"/>
                </a:solidFill>
                <a:latin typeface="+mn-lt"/>
              </a:rPr>
              <a:t>) </a:t>
            </a:r>
            <a:r>
              <a:rPr lang="ja" dirty="0">
                <a:solidFill>
                  <a:schemeClr val="tx1"/>
                </a:solidFill>
                <a:latin typeface="+mn-lt"/>
              </a:rPr>
              <a:t>HSTP</a:t>
            </a:r>
          </a:p>
        </p:txBody>
      </p:sp>
    </p:spTree>
    <p:extLst>
      <p:ext uri="{BB962C8B-B14F-4D97-AF65-F5344CB8AC3E}">
        <p14:creationId xmlns:p14="http://schemas.microsoft.com/office/powerpoint/2010/main" val="75996575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669C940-56C2-4A46-94D5-4032F259E4A9}"/>
              </a:ext>
            </a:extLst>
          </p:cNvPr>
          <p:cNvGraphicFramePr>
            <a:graphicFrameLocks noChangeAspect="1"/>
          </p:cNvGraphicFramePr>
          <p:nvPr>
            <p:custDataLst>
              <p:tags r:id="rId1"/>
            </p:custDataLst>
            <p:extLst>
              <p:ext uri="{D42A27DB-BD31-4B8C-83A1-F6EECF244321}">
                <p14:modId xmlns:p14="http://schemas.microsoft.com/office/powerpoint/2010/main" val="2742979337"/>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スライド" r:id="rId25" imgW="395" imgH="396" progId="TCLayout.ActiveDocument.1">
                  <p:embed/>
                </p:oleObj>
              </mc:Choice>
              <mc:Fallback>
                <p:oleObj name="think-cellスライド" r:id="rId25" imgW="395" imgH="396" progId="TCLayout.ActiveDocument.1">
                  <p:embed/>
                  <p:pic>
                    <p:nvPicPr>
                      <p:cNvPr id="6" name="Object 6" hidden="1">
                        <a:extLst>
                          <a:ext uri="{FF2B5EF4-FFF2-40B4-BE49-F238E27FC236}">
                            <a16:creationId xmlns:a16="http://schemas.microsoft.com/office/drawing/2014/main" id="{C669C940-56C2-4A46-94D5-4032F259E4A9}"/>
                          </a:ext>
                        </a:extLst>
                      </p:cNvPr>
                      <p:cNvPicPr/>
                      <p:nvPr/>
                    </p:nvPicPr>
                    <p:blipFill>
                      <a:blip r:embed="rId26"/>
                      <a:stretch>
                        <a:fillRect/>
                      </a:stretch>
                    </p:blipFill>
                    <p:spPr>
                      <a:xfrm>
                        <a:off x="1290" y="644228"/>
                        <a:ext cx="1290" cy="1290"/>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AD7E0DB-EEFD-4741-B5A0-0CA929C0C11C}"/>
              </a:ext>
            </a:extLst>
          </p:cNvPr>
          <p:cNvSpPr>
            <a:spLocks noGrp="1"/>
          </p:cNvSpPr>
          <p:nvPr>
            <p:ph type="title"/>
            <p:custDataLst>
              <p:tags r:id="rId2"/>
            </p:custDataLst>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rtlCol="0" anchor="b" anchorCtr="0">
            <a:spAutoFit/>
          </a:bodyPr>
          <a:lstStyle/>
          <a:p>
            <a:r>
              <a:rPr lang="ja-JP" altLang="en-US" dirty="0"/>
              <a:t>サウジアラビア／政策動向</a:t>
            </a:r>
          </a:p>
        </p:txBody>
      </p:sp>
      <p:sp>
        <p:nvSpPr>
          <p:cNvPr id="3" name="Text Placeholder 2">
            <a:extLst>
              <a:ext uri="{FF2B5EF4-FFF2-40B4-BE49-F238E27FC236}">
                <a16:creationId xmlns:a16="http://schemas.microsoft.com/office/drawing/2014/main" id="{993236B6-DD05-4645-B911-9B46F7DF4FAB}"/>
              </a:ext>
            </a:extLst>
          </p:cNvPr>
          <p:cNvSpPr>
            <a:spLocks noGrp="1"/>
          </p:cNvSpPr>
          <p:nvPr>
            <p:ph type="body" sz="quarter" idx="15"/>
          </p:nvPr>
        </p:nvSpPr>
        <p:spPr/>
        <p:txBody>
          <a:bodyPr/>
          <a:lstStyle/>
          <a:p>
            <a:r>
              <a:rPr lang="ja-JP" altLang="en-US" dirty="0"/>
              <a:t>医療関連政策の将来動向（</a:t>
            </a:r>
            <a:r>
              <a:rPr lang="en-US" altLang="ja-JP" dirty="0"/>
              <a:t>3/6</a:t>
            </a:r>
            <a:r>
              <a:rPr lang="ja-JP" altLang="en-US" dirty="0"/>
              <a:t>）</a:t>
            </a:r>
          </a:p>
        </p:txBody>
      </p:sp>
      <p:sp>
        <p:nvSpPr>
          <p:cNvPr id="94" name="TextBox 93">
            <a:extLst>
              <a:ext uri="{FF2B5EF4-FFF2-40B4-BE49-F238E27FC236}">
                <a16:creationId xmlns:a16="http://schemas.microsoft.com/office/drawing/2014/main" id="{68B4C2EA-5EC2-4307-B373-C83906F6B8AA}"/>
              </a:ext>
            </a:extLst>
          </p:cNvPr>
          <p:cNvSpPr txBox="1">
            <a:spLocks/>
          </p:cNvSpPr>
          <p:nvPr>
            <p:custDataLst>
              <p:tags r:id="rId3"/>
            </p:custDataLst>
          </p:nvPr>
        </p:nvSpPr>
        <p:spPr>
          <a:xfrm>
            <a:off x="1028222" y="2018496"/>
            <a:ext cx="3667868" cy="9052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ヘルスセキュリティ</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ヘルスセキュリティに関する国としてのアプローチを策定し、健康に影響を及ぼす大規模な突発事態によって発生する健康上、経済上、セキュリティ上のリスクに対処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4" name="TextBox 103">
            <a:extLst>
              <a:ext uri="{FF2B5EF4-FFF2-40B4-BE49-F238E27FC236}">
                <a16:creationId xmlns:a16="http://schemas.microsoft.com/office/drawing/2014/main" id="{95A8D1E2-C5CE-40A6-ACDC-17C21620C549}"/>
              </a:ext>
            </a:extLst>
          </p:cNvPr>
          <p:cNvSpPr txBox="1">
            <a:spLocks/>
          </p:cNvSpPr>
          <p:nvPr>
            <p:custDataLst>
              <p:tags r:id="rId4"/>
            </p:custDataLst>
          </p:nvPr>
        </p:nvSpPr>
        <p:spPr>
          <a:xfrm>
            <a:off x="6115050" y="2018496"/>
            <a:ext cx="3578451" cy="9052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従事者</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システム変革と国民の健康ニーズの変化と軌を一にする人員育成計画の策定、教育、許認可を通じ、国としてスキルを備えた人材を持続的かつ十分に育成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22" name="CustomIcon">
            <a:extLst>
              <a:ext uri="{FF2B5EF4-FFF2-40B4-BE49-F238E27FC236}">
                <a16:creationId xmlns:a16="http://schemas.microsoft.com/office/drawing/2014/main" id="{8F3FFD34-FD60-4E4A-A3AB-F1A4AFC0360C}"/>
              </a:ext>
            </a:extLst>
          </p:cNvPr>
          <p:cNvGrpSpPr>
            <a:grpSpLocks noChangeAspect="1"/>
          </p:cNvGrpSpPr>
          <p:nvPr>
            <p:custDataLst>
              <p:tags r:id="rId5"/>
            </p:custDataLst>
          </p:nvPr>
        </p:nvGrpSpPr>
        <p:grpSpPr>
          <a:xfrm>
            <a:off x="471007" y="2018496"/>
            <a:ext cx="504000" cy="504000"/>
            <a:chOff x="-205105" y="-205105"/>
            <a:chExt cx="1019810" cy="1019810"/>
          </a:xfrm>
        </p:grpSpPr>
        <p:sp>
          <p:nvSpPr>
            <p:cNvPr id="119" name="Oval 118">
              <a:extLst>
                <a:ext uri="{FF2B5EF4-FFF2-40B4-BE49-F238E27FC236}">
                  <a16:creationId xmlns:a16="http://schemas.microsoft.com/office/drawing/2014/main" id="{265A9932-89AA-405C-9DEE-77FDF5AAEC17}"/>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1" name="Graphic 120">
              <a:extLst>
                <a:ext uri="{FF2B5EF4-FFF2-40B4-BE49-F238E27FC236}">
                  <a16:creationId xmlns:a16="http://schemas.microsoft.com/office/drawing/2014/main" id="{0B4F2D7B-8FA2-4D08-98CE-C5B247A32DF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0" y="0"/>
              <a:ext cx="609600" cy="609600"/>
            </a:xfrm>
            <a:prstGeom prst="rect">
              <a:avLst/>
            </a:prstGeom>
          </p:spPr>
        </p:pic>
      </p:grpSp>
      <p:grpSp>
        <p:nvGrpSpPr>
          <p:cNvPr id="142" name="CustomIcon">
            <a:extLst>
              <a:ext uri="{FF2B5EF4-FFF2-40B4-BE49-F238E27FC236}">
                <a16:creationId xmlns:a16="http://schemas.microsoft.com/office/drawing/2014/main" id="{0AB2A69E-3E80-4973-8542-6DFCD778A817}"/>
              </a:ext>
            </a:extLst>
          </p:cNvPr>
          <p:cNvGrpSpPr>
            <a:grpSpLocks noChangeAspect="1"/>
          </p:cNvGrpSpPr>
          <p:nvPr>
            <p:custDataLst>
              <p:tags r:id="rId6"/>
            </p:custDataLst>
          </p:nvPr>
        </p:nvGrpSpPr>
        <p:grpSpPr>
          <a:xfrm>
            <a:off x="5537906" y="2018496"/>
            <a:ext cx="504000" cy="504000"/>
            <a:chOff x="-205105" y="-205105"/>
            <a:chExt cx="1019810" cy="1019810"/>
          </a:xfrm>
        </p:grpSpPr>
        <p:sp>
          <p:nvSpPr>
            <p:cNvPr id="139" name="Oval 138">
              <a:extLst>
                <a:ext uri="{FF2B5EF4-FFF2-40B4-BE49-F238E27FC236}">
                  <a16:creationId xmlns:a16="http://schemas.microsoft.com/office/drawing/2014/main" id="{369EF635-7788-4ED0-9823-025B49B42D42}"/>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1" name="Graphic 140">
              <a:extLst>
                <a:ext uri="{FF2B5EF4-FFF2-40B4-BE49-F238E27FC236}">
                  <a16:creationId xmlns:a16="http://schemas.microsoft.com/office/drawing/2014/main" id="{7DF13A60-17B7-497E-BAF0-DAF9D623865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sp>
        <p:nvSpPr>
          <p:cNvPr id="96" name="TextBox 95">
            <a:extLst>
              <a:ext uri="{FF2B5EF4-FFF2-40B4-BE49-F238E27FC236}">
                <a16:creationId xmlns:a16="http://schemas.microsoft.com/office/drawing/2014/main" id="{58A0CE8D-7787-4D98-84F6-7D6992994CCD}"/>
              </a:ext>
            </a:extLst>
          </p:cNvPr>
          <p:cNvSpPr txBox="1">
            <a:spLocks/>
          </p:cNvSpPr>
          <p:nvPr>
            <p:custDataLst>
              <p:tags r:id="rId7"/>
            </p:custDataLst>
          </p:nvPr>
        </p:nvSpPr>
        <p:spPr>
          <a:xfrm>
            <a:off x="1028222" y="3127401"/>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のガバナンスと戦略</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効果的なヘルスケア戦略とガバナンスを通じて質の高いケアを確保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6" name="TextBox 105">
            <a:extLst>
              <a:ext uri="{FF2B5EF4-FFF2-40B4-BE49-F238E27FC236}">
                <a16:creationId xmlns:a16="http://schemas.microsoft.com/office/drawing/2014/main" id="{1AD8F0D0-CBB2-4AE0-BF1B-0356369F7721}"/>
              </a:ext>
            </a:extLst>
          </p:cNvPr>
          <p:cNvSpPr txBox="1">
            <a:spLocks/>
          </p:cNvSpPr>
          <p:nvPr>
            <p:custDataLst>
              <p:tags r:id="rId8"/>
            </p:custDataLst>
          </p:nvPr>
        </p:nvSpPr>
        <p:spPr>
          <a:xfrm>
            <a:off x="6115050" y="3127401"/>
            <a:ext cx="3578451" cy="7251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におけるイノベーション</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セクターと健康科学のイノベーションを実現し、そのメリットを余さず確保するためのリソースと能力を開発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26" name="CustomIcon">
            <a:extLst>
              <a:ext uri="{FF2B5EF4-FFF2-40B4-BE49-F238E27FC236}">
                <a16:creationId xmlns:a16="http://schemas.microsoft.com/office/drawing/2014/main" id="{0CAEF734-9BEB-4381-A989-29B2ECF5D540}"/>
              </a:ext>
            </a:extLst>
          </p:cNvPr>
          <p:cNvGrpSpPr>
            <a:grpSpLocks noChangeAspect="1"/>
          </p:cNvGrpSpPr>
          <p:nvPr>
            <p:custDataLst>
              <p:tags r:id="rId9"/>
            </p:custDataLst>
          </p:nvPr>
        </p:nvGrpSpPr>
        <p:grpSpPr>
          <a:xfrm>
            <a:off x="471007" y="3127401"/>
            <a:ext cx="504000" cy="504000"/>
            <a:chOff x="-205105" y="-205105"/>
            <a:chExt cx="1019810" cy="1019810"/>
          </a:xfrm>
        </p:grpSpPr>
        <p:sp>
          <p:nvSpPr>
            <p:cNvPr id="123" name="Oval 122">
              <a:extLst>
                <a:ext uri="{FF2B5EF4-FFF2-40B4-BE49-F238E27FC236}">
                  <a16:creationId xmlns:a16="http://schemas.microsoft.com/office/drawing/2014/main" id="{E4AFE8FD-1674-4645-9D1E-37844DB239B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5" name="Graphic 124">
              <a:extLst>
                <a:ext uri="{FF2B5EF4-FFF2-40B4-BE49-F238E27FC236}">
                  <a16:creationId xmlns:a16="http://schemas.microsoft.com/office/drawing/2014/main" id="{CEF64D2B-C1DC-4B51-A8C0-1E9FAA66E6A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0" y="0"/>
              <a:ext cx="609600" cy="609600"/>
            </a:xfrm>
            <a:prstGeom prst="rect">
              <a:avLst/>
            </a:prstGeom>
          </p:spPr>
        </p:pic>
      </p:grpSp>
      <p:grpSp>
        <p:nvGrpSpPr>
          <p:cNvPr id="146" name="CustomIcon">
            <a:extLst>
              <a:ext uri="{FF2B5EF4-FFF2-40B4-BE49-F238E27FC236}">
                <a16:creationId xmlns:a16="http://schemas.microsoft.com/office/drawing/2014/main" id="{77BF71A5-C5AB-4152-914E-2084D19F5129}"/>
              </a:ext>
            </a:extLst>
          </p:cNvPr>
          <p:cNvGrpSpPr>
            <a:grpSpLocks noChangeAspect="1"/>
          </p:cNvGrpSpPr>
          <p:nvPr>
            <p:custDataLst>
              <p:tags r:id="rId10"/>
            </p:custDataLst>
          </p:nvPr>
        </p:nvGrpSpPr>
        <p:grpSpPr>
          <a:xfrm>
            <a:off x="5537906" y="3127401"/>
            <a:ext cx="504000" cy="504000"/>
            <a:chOff x="-205105" y="-205105"/>
            <a:chExt cx="1019810" cy="1019810"/>
          </a:xfrm>
        </p:grpSpPr>
        <p:sp>
          <p:nvSpPr>
            <p:cNvPr id="143" name="Oval 142">
              <a:extLst>
                <a:ext uri="{FF2B5EF4-FFF2-40B4-BE49-F238E27FC236}">
                  <a16:creationId xmlns:a16="http://schemas.microsoft.com/office/drawing/2014/main" id="{3F96C319-E424-40F8-96C8-7887FCA9E960}"/>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5" name="Graphic 144">
              <a:extLst>
                <a:ext uri="{FF2B5EF4-FFF2-40B4-BE49-F238E27FC236}">
                  <a16:creationId xmlns:a16="http://schemas.microsoft.com/office/drawing/2014/main" id="{4A969605-8FEC-48F6-8558-EBCD4BC02D9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98" name="TextBox 97">
            <a:extLst>
              <a:ext uri="{FF2B5EF4-FFF2-40B4-BE49-F238E27FC236}">
                <a16:creationId xmlns:a16="http://schemas.microsoft.com/office/drawing/2014/main" id="{1059F35A-BEF0-48EC-B08F-C1EF928A4D1B}"/>
              </a:ext>
            </a:extLst>
          </p:cNvPr>
          <p:cNvSpPr txBox="1">
            <a:spLocks/>
          </p:cNvSpPr>
          <p:nvPr>
            <p:custDataLst>
              <p:tags r:id="rId11"/>
            </p:custDataLst>
          </p:nvPr>
        </p:nvSpPr>
        <p:spPr>
          <a:xfrm>
            <a:off x="1028222" y="4056257"/>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における資金調達</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サブセクター全体で、ニーズに基づき、リスクによる調整を施した形でリソース配分を行う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8" name="TextBox 107">
            <a:extLst>
              <a:ext uri="{FF2B5EF4-FFF2-40B4-BE49-F238E27FC236}">
                <a16:creationId xmlns:a16="http://schemas.microsoft.com/office/drawing/2014/main" id="{4A611285-A311-4E3C-A6D6-A33DEA549010}"/>
              </a:ext>
            </a:extLst>
          </p:cNvPr>
          <p:cNvSpPr txBox="1">
            <a:spLocks/>
          </p:cNvSpPr>
          <p:nvPr>
            <p:custDataLst>
              <p:tags r:id="rId12"/>
            </p:custDataLst>
          </p:nvPr>
        </p:nvSpPr>
        <p:spPr>
          <a:xfrm>
            <a:off x="6115050" y="4056257"/>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知識と情報に基づく医療システム</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データ収集と健康情報分析の体制を整え、研究と意思決定を支援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0" name="CustomIcon">
            <a:extLst>
              <a:ext uri="{FF2B5EF4-FFF2-40B4-BE49-F238E27FC236}">
                <a16:creationId xmlns:a16="http://schemas.microsoft.com/office/drawing/2014/main" id="{9DAC9322-CDBC-46F3-B035-7380E233E2E5}"/>
              </a:ext>
            </a:extLst>
          </p:cNvPr>
          <p:cNvGrpSpPr>
            <a:grpSpLocks noChangeAspect="1"/>
          </p:cNvGrpSpPr>
          <p:nvPr>
            <p:custDataLst>
              <p:tags r:id="rId13"/>
            </p:custDataLst>
          </p:nvPr>
        </p:nvGrpSpPr>
        <p:grpSpPr>
          <a:xfrm>
            <a:off x="471007" y="4056257"/>
            <a:ext cx="504000" cy="504000"/>
            <a:chOff x="-205105" y="-205105"/>
            <a:chExt cx="1019810" cy="1019810"/>
          </a:xfrm>
        </p:grpSpPr>
        <p:sp>
          <p:nvSpPr>
            <p:cNvPr id="127" name="Oval 126">
              <a:extLst>
                <a:ext uri="{FF2B5EF4-FFF2-40B4-BE49-F238E27FC236}">
                  <a16:creationId xmlns:a16="http://schemas.microsoft.com/office/drawing/2014/main" id="{0F7457FD-455C-43D0-BE4F-2CA571D0605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9" name="Graphic 128">
              <a:extLst>
                <a:ext uri="{FF2B5EF4-FFF2-40B4-BE49-F238E27FC236}">
                  <a16:creationId xmlns:a16="http://schemas.microsoft.com/office/drawing/2014/main" id="{80DA37D4-F8F7-47F6-8C7D-491611CD8E1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0" y="0"/>
              <a:ext cx="609600" cy="609600"/>
            </a:xfrm>
            <a:prstGeom prst="rect">
              <a:avLst/>
            </a:prstGeom>
          </p:spPr>
        </p:pic>
      </p:grpSp>
      <p:grpSp>
        <p:nvGrpSpPr>
          <p:cNvPr id="150" name="CustomIcon">
            <a:extLst>
              <a:ext uri="{FF2B5EF4-FFF2-40B4-BE49-F238E27FC236}">
                <a16:creationId xmlns:a16="http://schemas.microsoft.com/office/drawing/2014/main" id="{ECBCAC64-97B1-4002-9C13-961F35AF4CBA}"/>
              </a:ext>
            </a:extLst>
          </p:cNvPr>
          <p:cNvGrpSpPr>
            <a:grpSpLocks noChangeAspect="1"/>
          </p:cNvGrpSpPr>
          <p:nvPr>
            <p:custDataLst>
              <p:tags r:id="rId14"/>
            </p:custDataLst>
          </p:nvPr>
        </p:nvGrpSpPr>
        <p:grpSpPr>
          <a:xfrm>
            <a:off x="5537906" y="4056257"/>
            <a:ext cx="504000" cy="504000"/>
            <a:chOff x="-205105" y="-205105"/>
            <a:chExt cx="1019810" cy="1019810"/>
          </a:xfrm>
        </p:grpSpPr>
        <p:sp>
          <p:nvSpPr>
            <p:cNvPr id="147" name="Oval 146">
              <a:extLst>
                <a:ext uri="{FF2B5EF4-FFF2-40B4-BE49-F238E27FC236}">
                  <a16:creationId xmlns:a16="http://schemas.microsoft.com/office/drawing/2014/main" id="{EA1FED31-D6F4-4AB7-8A27-B1D7C143A0C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9" name="Graphic 148">
              <a:extLst>
                <a:ext uri="{FF2B5EF4-FFF2-40B4-BE49-F238E27FC236}">
                  <a16:creationId xmlns:a16="http://schemas.microsoft.com/office/drawing/2014/main" id="{C29DA32E-AF28-486D-8F0A-1AED4B04362A}"/>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0" y="0"/>
              <a:ext cx="609600" cy="609600"/>
            </a:xfrm>
            <a:prstGeom prst="rect">
              <a:avLst/>
            </a:prstGeom>
          </p:spPr>
        </p:pic>
      </p:grpSp>
      <p:sp>
        <p:nvSpPr>
          <p:cNvPr id="100" name="TextBox 99">
            <a:extLst>
              <a:ext uri="{FF2B5EF4-FFF2-40B4-BE49-F238E27FC236}">
                <a16:creationId xmlns:a16="http://schemas.microsoft.com/office/drawing/2014/main" id="{E386CF9D-398D-45A9-B0CB-3547AD0AC2F2}"/>
              </a:ext>
            </a:extLst>
          </p:cNvPr>
          <p:cNvSpPr txBox="1">
            <a:spLocks/>
          </p:cNvSpPr>
          <p:nvPr>
            <p:custDataLst>
              <p:tags r:id="rId15"/>
            </p:custDataLst>
          </p:nvPr>
        </p:nvSpPr>
        <p:spPr>
          <a:xfrm>
            <a:off x="1028222" y="4805063"/>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給付金制度</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エビデンスに基づいた医療給付金制度を設け、給付金を受け取るべき国民に届け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10" name="TextBox 109">
            <a:extLst>
              <a:ext uri="{FF2B5EF4-FFF2-40B4-BE49-F238E27FC236}">
                <a16:creationId xmlns:a16="http://schemas.microsoft.com/office/drawing/2014/main" id="{523276C8-05CD-4F94-8443-EAC7ED917F9E}"/>
              </a:ext>
            </a:extLst>
          </p:cNvPr>
          <p:cNvSpPr txBox="1">
            <a:spLocks/>
          </p:cNvSpPr>
          <p:nvPr>
            <p:custDataLst>
              <p:tags r:id="rId16"/>
            </p:custDataLst>
          </p:nvPr>
        </p:nvSpPr>
        <p:spPr>
          <a:xfrm>
            <a:off x="6115050" y="4805063"/>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全政策への健康の盛り込み</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国としての政策を策定して国民の健康向上に資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4" name="CustomIcon">
            <a:extLst>
              <a:ext uri="{FF2B5EF4-FFF2-40B4-BE49-F238E27FC236}">
                <a16:creationId xmlns:a16="http://schemas.microsoft.com/office/drawing/2014/main" id="{998C8214-73B0-454B-8EBB-893ABF337212}"/>
              </a:ext>
            </a:extLst>
          </p:cNvPr>
          <p:cNvGrpSpPr>
            <a:grpSpLocks noChangeAspect="1"/>
          </p:cNvGrpSpPr>
          <p:nvPr>
            <p:custDataLst>
              <p:tags r:id="rId17"/>
            </p:custDataLst>
          </p:nvPr>
        </p:nvGrpSpPr>
        <p:grpSpPr>
          <a:xfrm>
            <a:off x="471007" y="4805063"/>
            <a:ext cx="504000" cy="504000"/>
            <a:chOff x="-205105" y="-205105"/>
            <a:chExt cx="1019810" cy="1019810"/>
          </a:xfrm>
        </p:grpSpPr>
        <p:sp>
          <p:nvSpPr>
            <p:cNvPr id="131" name="Oval 130">
              <a:extLst>
                <a:ext uri="{FF2B5EF4-FFF2-40B4-BE49-F238E27FC236}">
                  <a16:creationId xmlns:a16="http://schemas.microsoft.com/office/drawing/2014/main" id="{BBDCFCF7-3C68-4E31-A5A3-429C98E1C5F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33" name="Graphic 132">
              <a:extLst>
                <a:ext uri="{FF2B5EF4-FFF2-40B4-BE49-F238E27FC236}">
                  <a16:creationId xmlns:a16="http://schemas.microsoft.com/office/drawing/2014/main" id="{5372B61A-E090-4A37-AB6B-3D4CD93FB3FB}"/>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0" y="0"/>
              <a:ext cx="609600" cy="609600"/>
            </a:xfrm>
            <a:prstGeom prst="rect">
              <a:avLst/>
            </a:prstGeom>
          </p:spPr>
        </p:pic>
      </p:grpSp>
      <p:grpSp>
        <p:nvGrpSpPr>
          <p:cNvPr id="154" name="CustomIcon">
            <a:extLst>
              <a:ext uri="{FF2B5EF4-FFF2-40B4-BE49-F238E27FC236}">
                <a16:creationId xmlns:a16="http://schemas.microsoft.com/office/drawing/2014/main" id="{DFF79382-1AE5-4924-9BC3-F2717CE6479C}"/>
              </a:ext>
            </a:extLst>
          </p:cNvPr>
          <p:cNvGrpSpPr>
            <a:grpSpLocks noChangeAspect="1"/>
          </p:cNvGrpSpPr>
          <p:nvPr>
            <p:custDataLst>
              <p:tags r:id="rId18"/>
            </p:custDataLst>
          </p:nvPr>
        </p:nvGrpSpPr>
        <p:grpSpPr>
          <a:xfrm>
            <a:off x="5537906" y="4805063"/>
            <a:ext cx="504000" cy="504000"/>
            <a:chOff x="-205105" y="-205105"/>
            <a:chExt cx="1019810" cy="1019810"/>
          </a:xfrm>
        </p:grpSpPr>
        <p:sp>
          <p:nvSpPr>
            <p:cNvPr id="151" name="Oval 150">
              <a:extLst>
                <a:ext uri="{FF2B5EF4-FFF2-40B4-BE49-F238E27FC236}">
                  <a16:creationId xmlns:a16="http://schemas.microsoft.com/office/drawing/2014/main" id="{1149AC8A-E803-4ADF-8A56-D96E6033BC98}"/>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53" name="Graphic 152">
              <a:extLst>
                <a:ext uri="{FF2B5EF4-FFF2-40B4-BE49-F238E27FC236}">
                  <a16:creationId xmlns:a16="http://schemas.microsoft.com/office/drawing/2014/main" id="{A5F04E1E-FE0D-4722-B89B-4C0C2E9080E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0" y="0"/>
              <a:ext cx="609600" cy="609600"/>
            </a:xfrm>
            <a:prstGeom prst="rect">
              <a:avLst/>
            </a:prstGeom>
          </p:spPr>
        </p:pic>
      </p:grpSp>
      <p:sp>
        <p:nvSpPr>
          <p:cNvPr id="102" name="TextBox 101">
            <a:extLst>
              <a:ext uri="{FF2B5EF4-FFF2-40B4-BE49-F238E27FC236}">
                <a16:creationId xmlns:a16="http://schemas.microsoft.com/office/drawing/2014/main" id="{9B969D75-A03A-40BB-A1C0-42A3BDEB6278}"/>
              </a:ext>
            </a:extLst>
          </p:cNvPr>
          <p:cNvSpPr txBox="1">
            <a:spLocks/>
          </p:cNvSpPr>
          <p:nvPr>
            <p:custDataLst>
              <p:tags r:id="rId19"/>
            </p:custDataLst>
          </p:nvPr>
        </p:nvSpPr>
        <p:spPr>
          <a:xfrm>
            <a:off x="1028222" y="5553867"/>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の統合</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提供システムの創設によって総合的な医療を受益者に提供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12" name="TextBox 111">
            <a:extLst>
              <a:ext uri="{FF2B5EF4-FFF2-40B4-BE49-F238E27FC236}">
                <a16:creationId xmlns:a16="http://schemas.microsoft.com/office/drawing/2014/main" id="{BFCEA945-261B-4AD5-A447-83D0135867EB}"/>
              </a:ext>
            </a:extLst>
          </p:cNvPr>
          <p:cNvSpPr txBox="1">
            <a:spLocks/>
          </p:cNvSpPr>
          <p:nvPr>
            <p:custDataLst>
              <p:tags r:id="rId20"/>
            </p:custDataLst>
          </p:nvPr>
        </p:nvSpPr>
        <p:spPr>
          <a:xfrm>
            <a:off x="6115050" y="5553867"/>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交通安全</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運転の行動と環境を改善し、交通事故やそれによる</a:t>
            </a:r>
            <a:r>
              <a:rPr lang="ja-JP" altLang="en-US" sz="1300" dirty="0">
                <a:solidFill>
                  <a:srgbClr val="000000"/>
                </a:solidFill>
                <a:latin typeface="Sakkal Majalla" panose="02000000000000000000" pitchFamily="2" charset="-78"/>
                <a:sym typeface="Sakkal Majalla" panose="02000000000000000000" pitchFamily="2" charset="-78"/>
              </a:rPr>
              <a:t>障害</a:t>
            </a:r>
            <a:r>
              <a:rPr lang="ja" altLang="en-US" sz="1300" dirty="0">
                <a:solidFill>
                  <a:srgbClr val="000000"/>
                </a:solidFill>
                <a:latin typeface="Sakkal Majalla" panose="02000000000000000000" pitchFamily="2" charset="-78"/>
                <a:sym typeface="Sakkal Majalla" panose="02000000000000000000" pitchFamily="2" charset="-78"/>
              </a:rPr>
              <a:t>と死亡者数を減らす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8" name="CustomIcon">
            <a:extLst>
              <a:ext uri="{FF2B5EF4-FFF2-40B4-BE49-F238E27FC236}">
                <a16:creationId xmlns:a16="http://schemas.microsoft.com/office/drawing/2014/main" id="{6FAF48CC-F154-4686-BB7E-62B57B7B2033}"/>
              </a:ext>
            </a:extLst>
          </p:cNvPr>
          <p:cNvGrpSpPr>
            <a:grpSpLocks noChangeAspect="1"/>
          </p:cNvGrpSpPr>
          <p:nvPr>
            <p:custDataLst>
              <p:tags r:id="rId21"/>
            </p:custDataLst>
          </p:nvPr>
        </p:nvGrpSpPr>
        <p:grpSpPr>
          <a:xfrm>
            <a:off x="452949" y="5553867"/>
            <a:ext cx="504000" cy="504000"/>
            <a:chOff x="-205105" y="-205105"/>
            <a:chExt cx="1019810" cy="1019810"/>
          </a:xfrm>
        </p:grpSpPr>
        <p:sp>
          <p:nvSpPr>
            <p:cNvPr id="135" name="Oval 134">
              <a:extLst>
                <a:ext uri="{FF2B5EF4-FFF2-40B4-BE49-F238E27FC236}">
                  <a16:creationId xmlns:a16="http://schemas.microsoft.com/office/drawing/2014/main" id="{7B87F5E3-E6A9-47CC-9F7C-A225F22998A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37" name="Graphic 136">
              <a:extLst>
                <a:ext uri="{FF2B5EF4-FFF2-40B4-BE49-F238E27FC236}">
                  <a16:creationId xmlns:a16="http://schemas.microsoft.com/office/drawing/2014/main" id="{3D6F68AE-EAC6-415B-AB15-4243387E413C}"/>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0" y="0"/>
              <a:ext cx="609600" cy="609600"/>
            </a:xfrm>
            <a:prstGeom prst="rect">
              <a:avLst/>
            </a:prstGeom>
          </p:spPr>
        </p:pic>
      </p:grpSp>
      <p:grpSp>
        <p:nvGrpSpPr>
          <p:cNvPr id="158" name="CustomIcon">
            <a:extLst>
              <a:ext uri="{FF2B5EF4-FFF2-40B4-BE49-F238E27FC236}">
                <a16:creationId xmlns:a16="http://schemas.microsoft.com/office/drawing/2014/main" id="{857B995E-971D-4038-8B10-429BBB91D4E1}"/>
              </a:ext>
            </a:extLst>
          </p:cNvPr>
          <p:cNvGrpSpPr>
            <a:grpSpLocks noChangeAspect="1"/>
          </p:cNvGrpSpPr>
          <p:nvPr>
            <p:custDataLst>
              <p:tags r:id="rId22"/>
            </p:custDataLst>
          </p:nvPr>
        </p:nvGrpSpPr>
        <p:grpSpPr>
          <a:xfrm>
            <a:off x="5537906" y="5553867"/>
            <a:ext cx="504000" cy="504000"/>
            <a:chOff x="-205105" y="-205105"/>
            <a:chExt cx="1019810" cy="1019810"/>
          </a:xfrm>
        </p:grpSpPr>
        <p:sp>
          <p:nvSpPr>
            <p:cNvPr id="155" name="Oval 154">
              <a:extLst>
                <a:ext uri="{FF2B5EF4-FFF2-40B4-BE49-F238E27FC236}">
                  <a16:creationId xmlns:a16="http://schemas.microsoft.com/office/drawing/2014/main" id="{F49E7FE1-AD43-4C6D-A7EF-26A7798C0A2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57" name="Graphic 156">
              <a:extLst>
                <a:ext uri="{FF2B5EF4-FFF2-40B4-BE49-F238E27FC236}">
                  <a16:creationId xmlns:a16="http://schemas.microsoft.com/office/drawing/2014/main" id="{7E9872DD-FFFA-4DAA-A785-C0D8B94B3A0F}"/>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0" y="0"/>
              <a:ext cx="609600" cy="609600"/>
            </a:xfrm>
            <a:prstGeom prst="rect">
              <a:avLst/>
            </a:prstGeom>
          </p:spPr>
        </p:pic>
      </p:grpSp>
      <p:sp>
        <p:nvSpPr>
          <p:cNvPr id="175" name="TextBox 174">
            <a:extLst>
              <a:ext uri="{FF2B5EF4-FFF2-40B4-BE49-F238E27FC236}">
                <a16:creationId xmlns:a16="http://schemas.microsoft.com/office/drawing/2014/main" id="{6B457269-863B-4D9E-BFDD-6F5343347AD2}"/>
              </a:ext>
            </a:extLst>
          </p:cNvPr>
          <p:cNvSpPr txBox="1"/>
          <p:nvPr/>
        </p:nvSpPr>
        <p:spPr>
          <a:xfrm>
            <a:off x="200472" y="2070441"/>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1</a:t>
            </a:r>
          </a:p>
        </p:txBody>
      </p:sp>
      <p:sp>
        <p:nvSpPr>
          <p:cNvPr id="177" name="TextBox 176">
            <a:extLst>
              <a:ext uri="{FF2B5EF4-FFF2-40B4-BE49-F238E27FC236}">
                <a16:creationId xmlns:a16="http://schemas.microsoft.com/office/drawing/2014/main" id="{6041257C-2E4F-4B94-9EFF-C0F597AC7B10}"/>
              </a:ext>
            </a:extLst>
          </p:cNvPr>
          <p:cNvSpPr txBox="1"/>
          <p:nvPr/>
        </p:nvSpPr>
        <p:spPr>
          <a:xfrm>
            <a:off x="200472" y="3179346"/>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2</a:t>
            </a:r>
          </a:p>
        </p:txBody>
      </p:sp>
      <p:sp>
        <p:nvSpPr>
          <p:cNvPr id="179" name="TextBox 178">
            <a:extLst>
              <a:ext uri="{FF2B5EF4-FFF2-40B4-BE49-F238E27FC236}">
                <a16:creationId xmlns:a16="http://schemas.microsoft.com/office/drawing/2014/main" id="{02F6ECFD-6351-42F8-B089-A4DC1FF180EA}"/>
              </a:ext>
            </a:extLst>
          </p:cNvPr>
          <p:cNvSpPr txBox="1"/>
          <p:nvPr/>
        </p:nvSpPr>
        <p:spPr>
          <a:xfrm>
            <a:off x="200472" y="410820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3</a:t>
            </a:r>
          </a:p>
        </p:txBody>
      </p:sp>
      <p:sp>
        <p:nvSpPr>
          <p:cNvPr id="181" name="TextBox 180">
            <a:extLst>
              <a:ext uri="{FF2B5EF4-FFF2-40B4-BE49-F238E27FC236}">
                <a16:creationId xmlns:a16="http://schemas.microsoft.com/office/drawing/2014/main" id="{5742A52B-DB33-487F-916A-1EC0BFBB8C7C}"/>
              </a:ext>
            </a:extLst>
          </p:cNvPr>
          <p:cNvSpPr txBox="1"/>
          <p:nvPr/>
        </p:nvSpPr>
        <p:spPr>
          <a:xfrm>
            <a:off x="200472" y="4857008"/>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4</a:t>
            </a:r>
          </a:p>
        </p:txBody>
      </p:sp>
      <p:sp>
        <p:nvSpPr>
          <p:cNvPr id="183" name="TextBox 182">
            <a:extLst>
              <a:ext uri="{FF2B5EF4-FFF2-40B4-BE49-F238E27FC236}">
                <a16:creationId xmlns:a16="http://schemas.microsoft.com/office/drawing/2014/main" id="{1F34D09F-FA33-42F7-AAB9-DE7B7150B7CB}"/>
              </a:ext>
            </a:extLst>
          </p:cNvPr>
          <p:cNvSpPr txBox="1"/>
          <p:nvPr/>
        </p:nvSpPr>
        <p:spPr>
          <a:xfrm>
            <a:off x="200472" y="560581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5</a:t>
            </a:r>
          </a:p>
        </p:txBody>
      </p:sp>
      <p:sp>
        <p:nvSpPr>
          <p:cNvPr id="185" name="TextBox 184">
            <a:extLst>
              <a:ext uri="{FF2B5EF4-FFF2-40B4-BE49-F238E27FC236}">
                <a16:creationId xmlns:a16="http://schemas.microsoft.com/office/drawing/2014/main" id="{F070C437-AAB3-4398-8266-B7876865F9CE}"/>
              </a:ext>
            </a:extLst>
          </p:cNvPr>
          <p:cNvSpPr txBox="1"/>
          <p:nvPr/>
        </p:nvSpPr>
        <p:spPr>
          <a:xfrm>
            <a:off x="5266853" y="2070441"/>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6</a:t>
            </a:r>
          </a:p>
        </p:txBody>
      </p:sp>
      <p:sp>
        <p:nvSpPr>
          <p:cNvPr id="186" name="TextBox 185">
            <a:extLst>
              <a:ext uri="{FF2B5EF4-FFF2-40B4-BE49-F238E27FC236}">
                <a16:creationId xmlns:a16="http://schemas.microsoft.com/office/drawing/2014/main" id="{1606912F-2544-4D19-B0E6-CCC8B600D8DF}"/>
              </a:ext>
            </a:extLst>
          </p:cNvPr>
          <p:cNvSpPr txBox="1"/>
          <p:nvPr/>
        </p:nvSpPr>
        <p:spPr>
          <a:xfrm>
            <a:off x="5266853" y="3179346"/>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7</a:t>
            </a:r>
          </a:p>
        </p:txBody>
      </p:sp>
      <p:sp>
        <p:nvSpPr>
          <p:cNvPr id="187" name="TextBox 186">
            <a:extLst>
              <a:ext uri="{FF2B5EF4-FFF2-40B4-BE49-F238E27FC236}">
                <a16:creationId xmlns:a16="http://schemas.microsoft.com/office/drawing/2014/main" id="{995A08B0-6F5A-4DFE-9D39-9512FFEF50ED}"/>
              </a:ext>
            </a:extLst>
          </p:cNvPr>
          <p:cNvSpPr txBox="1"/>
          <p:nvPr/>
        </p:nvSpPr>
        <p:spPr>
          <a:xfrm>
            <a:off x="5266853" y="410820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8</a:t>
            </a:r>
          </a:p>
        </p:txBody>
      </p:sp>
      <p:sp>
        <p:nvSpPr>
          <p:cNvPr id="188" name="TextBox 187">
            <a:extLst>
              <a:ext uri="{FF2B5EF4-FFF2-40B4-BE49-F238E27FC236}">
                <a16:creationId xmlns:a16="http://schemas.microsoft.com/office/drawing/2014/main" id="{47A6D215-134D-4B13-A53C-E8FEFEF9051F}"/>
              </a:ext>
            </a:extLst>
          </p:cNvPr>
          <p:cNvSpPr txBox="1"/>
          <p:nvPr/>
        </p:nvSpPr>
        <p:spPr>
          <a:xfrm>
            <a:off x="5266853" y="4857008"/>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9</a:t>
            </a:r>
          </a:p>
        </p:txBody>
      </p:sp>
      <p:sp>
        <p:nvSpPr>
          <p:cNvPr id="189" name="TextBox 188">
            <a:extLst>
              <a:ext uri="{FF2B5EF4-FFF2-40B4-BE49-F238E27FC236}">
                <a16:creationId xmlns:a16="http://schemas.microsoft.com/office/drawing/2014/main" id="{0DD6C3EA-19BD-42D3-8862-7373324427E2}"/>
              </a:ext>
            </a:extLst>
          </p:cNvPr>
          <p:cNvSpPr txBox="1"/>
          <p:nvPr/>
        </p:nvSpPr>
        <p:spPr>
          <a:xfrm>
            <a:off x="5080904" y="5605812"/>
            <a:ext cx="371897"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10</a:t>
            </a:r>
          </a:p>
        </p:txBody>
      </p:sp>
      <p:sp>
        <p:nvSpPr>
          <p:cNvPr id="63" name="テキスト ボックス 3">
            <a:extLst>
              <a:ext uri="{FF2B5EF4-FFF2-40B4-BE49-F238E27FC236}">
                <a16:creationId xmlns:a16="http://schemas.microsoft.com/office/drawing/2014/main" id="{59F7D71B-7D9D-41FA-8F45-CB9CA663C35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TP</a:t>
            </a:r>
            <a:r>
              <a:rPr lang="ja-JP" altLang="en-US" sz="1400" dirty="0"/>
              <a:t>には医療セクターの未来に関して目標を</a:t>
            </a:r>
            <a:r>
              <a:rPr lang="en-US" altLang="ja-JP" sz="1400" dirty="0"/>
              <a:t>10</a:t>
            </a:r>
            <a:r>
              <a:rPr lang="ja-JP" altLang="en-US" sz="1400" dirty="0"/>
              <a:t>種類設定している。</a:t>
            </a:r>
          </a:p>
        </p:txBody>
      </p:sp>
      <p:grpSp>
        <p:nvGrpSpPr>
          <p:cNvPr id="64" name="Group 63">
            <a:extLst>
              <a:ext uri="{FF2B5EF4-FFF2-40B4-BE49-F238E27FC236}">
                <a16:creationId xmlns:a16="http://schemas.microsoft.com/office/drawing/2014/main" id="{60FE9260-CAAA-4BCC-9131-91E27125102E}"/>
              </a:ext>
            </a:extLst>
          </p:cNvPr>
          <p:cNvGrpSpPr/>
          <p:nvPr/>
        </p:nvGrpSpPr>
        <p:grpSpPr>
          <a:xfrm>
            <a:off x="200472" y="1633893"/>
            <a:ext cx="9505054" cy="288032"/>
            <a:chOff x="200024" y="2034560"/>
            <a:chExt cx="9217025" cy="288032"/>
          </a:xfrm>
        </p:grpSpPr>
        <p:cxnSp>
          <p:nvCxnSpPr>
            <p:cNvPr id="65" name="直線コネクタ 22">
              <a:extLst>
                <a:ext uri="{FF2B5EF4-FFF2-40B4-BE49-F238E27FC236}">
                  <a16:creationId xmlns:a16="http://schemas.microsoft.com/office/drawing/2014/main" id="{1240D383-5D25-4C43-B55D-8999E78A7B60}"/>
                </a:ext>
              </a:extLst>
            </p:cNvPr>
            <p:cNvCxnSpPr>
              <a:cxnSpLocks/>
            </p:cNvCxnSpPr>
            <p:nvPr/>
          </p:nvCxnSpPr>
          <p:spPr>
            <a:xfrm>
              <a:off x="200024" y="2287774"/>
              <a:ext cx="92170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6" name="Rectangle 6">
              <a:extLst>
                <a:ext uri="{FF2B5EF4-FFF2-40B4-BE49-F238E27FC236}">
                  <a16:creationId xmlns:a16="http://schemas.microsoft.com/office/drawing/2014/main" id="{35B31DA8-BCB1-4927-BB9D-91C8782E84D4}"/>
                </a:ext>
              </a:extLst>
            </p:cNvPr>
            <p:cNvSpPr>
              <a:spLocks noChangeArrowheads="1"/>
            </p:cNvSpPr>
            <p:nvPr/>
          </p:nvSpPr>
          <p:spPr bwMode="auto">
            <a:xfrm>
              <a:off x="200025" y="2034560"/>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base">
                <a:spcBef>
                  <a:spcPct val="0"/>
                </a:spcBef>
                <a:spcAft>
                  <a:spcPct val="0"/>
                </a:spcAft>
                <a:buClr>
                  <a:srgbClr val="000000"/>
                </a:buClr>
                <a:buNone/>
                <a:defRPr/>
              </a:pPr>
              <a:r>
                <a:rPr lang="en-US" altLang="ja-JP" sz="1600" dirty="0">
                  <a:latin typeface="HGP創英角ｺﾞｼｯｸUB" pitchFamily="50" charset="-128"/>
                  <a:ea typeface="HGP創英角ｺﾞｼｯｸUB" pitchFamily="50" charset="-128"/>
                  <a:cs typeface="+mn-cs"/>
                </a:rPr>
                <a:t>10</a:t>
              </a:r>
              <a:r>
                <a:rPr lang="ja-JP" altLang="en-US" sz="1600" dirty="0">
                  <a:latin typeface="HGP創英角ｺﾞｼｯｸUB" pitchFamily="50" charset="-128"/>
                  <a:ea typeface="HGP創英角ｺﾞｼｯｸUB" pitchFamily="50" charset="-128"/>
                  <a:cs typeface="+mn-cs"/>
                </a:rPr>
                <a:t>個の再編目標</a:t>
              </a:r>
            </a:p>
          </p:txBody>
        </p:sp>
      </p:grpSp>
      <p:sp>
        <p:nvSpPr>
          <p:cNvPr id="67" name="テキスト ボックス 21">
            <a:extLst>
              <a:ext uri="{FF2B5EF4-FFF2-40B4-BE49-F238E27FC236}">
                <a16:creationId xmlns:a16="http://schemas.microsoft.com/office/drawing/2014/main" id="{3A296E33-CE32-4F67-BB10-278B06A96C07}"/>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spTree>
    <p:extLst>
      <p:ext uri="{BB962C8B-B14F-4D97-AF65-F5344CB8AC3E}">
        <p14:creationId xmlns:p14="http://schemas.microsoft.com/office/powerpoint/2010/main" val="8244095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42C7A295-9B4D-4FEA-A95E-3B45C5E52E68}"/>
              </a:ext>
            </a:extLst>
          </p:cNvPr>
          <p:cNvGraphicFramePr>
            <a:graphicFrameLocks noChangeAspect="1"/>
          </p:cNvGraphicFramePr>
          <p:nvPr>
            <p:custDataLst>
              <p:tags r:id="rId1"/>
            </p:custDataLst>
            <p:extLst>
              <p:ext uri="{D42A27DB-BD31-4B8C-83A1-F6EECF244321}">
                <p14:modId xmlns:p14="http://schemas.microsoft.com/office/powerpoint/2010/main" val="3988600394"/>
              </p:ext>
            </p:extLst>
          </p:nvPr>
        </p:nvGraphicFramePr>
        <p:xfrm>
          <a:off x="1390" y="644255"/>
          <a:ext cx="1316" cy="1316"/>
        </p:xfrm>
        <a:graphic>
          <a:graphicData uri="http://schemas.openxmlformats.org/presentationml/2006/ole">
            <mc:AlternateContent xmlns:mc="http://schemas.openxmlformats.org/markup-compatibility/2006">
              <mc:Choice xmlns:v="urn:schemas-microsoft-com:vml" Requires="v">
                <p:oleObj name="think-cellスライド" r:id="rId54" imgW="395" imgH="394" progId="TCLayout.ActiveDocument.1">
                  <p:embed/>
                </p:oleObj>
              </mc:Choice>
              <mc:Fallback>
                <p:oleObj name="think-cellスライド" r:id="rId54" imgW="395" imgH="394" progId="TCLayout.ActiveDocument.1">
                  <p:embed/>
                  <p:pic>
                    <p:nvPicPr>
                      <p:cNvPr id="27" name="Object 26" hidden="1">
                        <a:extLst>
                          <a:ext uri="{FF2B5EF4-FFF2-40B4-BE49-F238E27FC236}">
                            <a16:creationId xmlns:a16="http://schemas.microsoft.com/office/drawing/2014/main" id="{42C7A295-9B4D-4FEA-A95E-3B45C5E52E68}"/>
                          </a:ext>
                        </a:extLst>
                      </p:cNvPr>
                      <p:cNvPicPr/>
                      <p:nvPr/>
                    </p:nvPicPr>
                    <p:blipFill>
                      <a:blip r:embed="rId55"/>
                      <a:stretch>
                        <a:fillRect/>
                      </a:stretch>
                    </p:blipFill>
                    <p:spPr>
                      <a:xfrm>
                        <a:off x="1390" y="644255"/>
                        <a:ext cx="1316" cy="1316"/>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64683475-A8ED-49FD-AE63-F8D305FBA862}"/>
              </a:ext>
            </a:extLst>
          </p:cNvPr>
          <p:cNvSpPr/>
          <p:nvPr>
            <p:custDataLst>
              <p:tags r:id="rId2"/>
            </p:custDataLst>
          </p:nvPr>
        </p:nvSpPr>
        <p:spPr>
          <a:xfrm>
            <a:off x="73" y="642938"/>
            <a:ext cx="131604" cy="13160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1658"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7DBDFF9B-9DA2-4B31-8916-6B46F95B9557}"/>
              </a:ext>
            </a:extLst>
          </p:cNvPr>
          <p:cNvSpPr>
            <a:spLocks noGrp="1"/>
          </p:cNvSpPr>
          <p:nvPr>
            <p:ph type="title"/>
            <p:custDataLst>
              <p:tags r:id="rId3"/>
            </p:custDataLst>
          </p:nvPr>
        </p:nvSpPr>
        <p:spPr bwMode="gray">
          <a:xfrm>
            <a:off x="200471" y="240823"/>
            <a:ext cx="9505055"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rtlCol="0" anchor="b" anchorCtr="0">
            <a:spAutoFit/>
          </a:bodyPr>
          <a:lstStyle/>
          <a:p>
            <a:r>
              <a:rPr lang="ja-JP" altLang="en-US" dirty="0"/>
              <a:t>サウジアラビア／政策動向</a:t>
            </a:r>
          </a:p>
        </p:txBody>
      </p:sp>
      <p:sp>
        <p:nvSpPr>
          <p:cNvPr id="6" name="Text Placeholder 5">
            <a:extLst>
              <a:ext uri="{FF2B5EF4-FFF2-40B4-BE49-F238E27FC236}">
                <a16:creationId xmlns:a16="http://schemas.microsoft.com/office/drawing/2014/main" id="{1D888E8F-68F2-4BE7-AC0F-A7BA76C63375}"/>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4/6</a:t>
            </a:r>
            <a:r>
              <a:rPr lang="ja-JP" altLang="en-US" dirty="0"/>
              <a:t>）</a:t>
            </a:r>
          </a:p>
        </p:txBody>
      </p:sp>
      <p:cxnSp>
        <p:nvCxnSpPr>
          <p:cNvPr id="235" name="Straight Connector 234">
            <a:extLst>
              <a:ext uri="{FF2B5EF4-FFF2-40B4-BE49-F238E27FC236}">
                <a16:creationId xmlns:a16="http://schemas.microsoft.com/office/drawing/2014/main" id="{F0093827-CB04-443E-BB99-2B4C4D0E6E50}"/>
              </a:ext>
            </a:extLst>
          </p:cNvPr>
          <p:cNvCxnSpPr>
            <a:cxnSpLocks/>
          </p:cNvCxnSpPr>
          <p:nvPr/>
        </p:nvCxnSpPr>
        <p:spPr>
          <a:xfrm>
            <a:off x="2519547" y="2114954"/>
            <a:ext cx="4224045"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F8AD7FEE-C430-4252-AE08-DD53F2002A28}"/>
              </a:ext>
            </a:extLst>
          </p:cNvPr>
          <p:cNvSpPr txBox="1">
            <a:spLocks/>
          </p:cNvSpPr>
          <p:nvPr>
            <p:custDataLst>
              <p:tags r:id="rId4"/>
            </p:custDataLst>
          </p:nvPr>
        </p:nvSpPr>
        <p:spPr>
          <a:xfrm>
            <a:off x="2519547" y="1947060"/>
            <a:ext cx="4224045"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プロバイダーと支援者のエコシステムにおけるアクセスと質の改善 </a:t>
            </a:r>
          </a:p>
        </p:txBody>
      </p:sp>
      <p:sp>
        <p:nvSpPr>
          <p:cNvPr id="385" name="Rectangle 10">
            <a:extLst>
              <a:ext uri="{FF2B5EF4-FFF2-40B4-BE49-F238E27FC236}">
                <a16:creationId xmlns:a16="http://schemas.microsoft.com/office/drawing/2014/main" id="{AD989FBB-530D-4A17-ADB3-639BBD7E567F}"/>
              </a:ext>
            </a:extLst>
          </p:cNvPr>
          <p:cNvSpPr>
            <a:spLocks noChangeArrowheads="1"/>
          </p:cNvSpPr>
          <p:nvPr>
            <p:custDataLst>
              <p:tags r:id="rId5"/>
            </p:custDataLst>
          </p:nvPr>
        </p:nvSpPr>
        <p:spPr bwMode="auto">
          <a:xfrm>
            <a:off x="2519547" y="2619633"/>
            <a:ext cx="2499776" cy="2548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buSzPct val="100000"/>
            </a:pPr>
            <a:r>
              <a:rPr lang="ja" altLang="en-US" sz="900" dirty="0">
                <a:latin typeface="+mn-lt"/>
              </a:rPr>
              <a:t>医療従事者の質の改善と民間企業におけるサウジ国民の雇用促進がねらい </a:t>
            </a:r>
          </a:p>
        </p:txBody>
      </p:sp>
      <p:grpSp>
        <p:nvGrpSpPr>
          <p:cNvPr id="347" name="Group 346">
            <a:extLst>
              <a:ext uri="{FF2B5EF4-FFF2-40B4-BE49-F238E27FC236}">
                <a16:creationId xmlns:a16="http://schemas.microsoft.com/office/drawing/2014/main" id="{03773D02-EDCC-4CBA-A071-D10D000648DD}"/>
              </a:ext>
            </a:extLst>
          </p:cNvPr>
          <p:cNvGrpSpPr>
            <a:grpSpLocks/>
          </p:cNvGrpSpPr>
          <p:nvPr/>
        </p:nvGrpSpPr>
        <p:grpSpPr>
          <a:xfrm>
            <a:off x="2519548" y="2990234"/>
            <a:ext cx="2499776" cy="571738"/>
            <a:chOff x="1097429" y="1220209"/>
            <a:chExt cx="9995756" cy="923164"/>
          </a:xfrm>
          <a:solidFill>
            <a:schemeClr val="accent2">
              <a:lumMod val="50000"/>
            </a:schemeClr>
          </a:solidFill>
        </p:grpSpPr>
        <p:sp>
          <p:nvSpPr>
            <p:cNvPr id="348" name="Freeform: Shape 347">
              <a:extLst>
                <a:ext uri="{FF2B5EF4-FFF2-40B4-BE49-F238E27FC236}">
                  <a16:creationId xmlns:a16="http://schemas.microsoft.com/office/drawing/2014/main" id="{E4768DAF-ECCE-4CFC-BE87-8AD6732E8AA6}"/>
                </a:ext>
              </a:extLst>
            </p:cNvPr>
            <p:cNvSpPr/>
            <p:nvPr/>
          </p:nvSpPr>
          <p:spPr>
            <a:xfrm>
              <a:off x="1097429" y="1220209"/>
              <a:ext cx="9995756" cy="923164"/>
            </a:xfrm>
            <a:custGeom>
              <a:avLst/>
              <a:gdLst>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834208 h 1075562"/>
                <a:gd name="connsiteX12" fmla="*/ 3000905 w 6001808"/>
                <a:gd name="connsiteY12" fmla="*/ 0 h 1075562"/>
                <a:gd name="connsiteX13" fmla="*/ 5851164 w 6001808"/>
                <a:gd name="connsiteY13" fmla="*/ 737933 h 1075562"/>
                <a:gd name="connsiteX14" fmla="*/ 150644 w 6001808"/>
                <a:gd name="connsiteY14" fmla="*/ 737933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738208 h 1075562"/>
                <a:gd name="connsiteX12" fmla="*/ 3000905 w 6001808"/>
                <a:gd name="connsiteY12" fmla="*/ 0 h 1075562"/>
                <a:gd name="connsiteX13" fmla="*/ 5851164 w 6001808"/>
                <a:gd name="connsiteY13" fmla="*/ 737933 h 1075562"/>
                <a:gd name="connsiteX14" fmla="*/ 150644 w 6001808"/>
                <a:gd name="connsiteY14" fmla="*/ 737933 h 1075562"/>
                <a:gd name="connsiteX15" fmla="*/ 3000905 w 6001808"/>
                <a:gd name="connsiteY15"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34208 h 1075562"/>
                <a:gd name="connsiteX10" fmla="*/ 150644 w 6001808"/>
                <a:gd name="connsiteY10" fmla="*/ 738208 h 1075562"/>
                <a:gd name="connsiteX11" fmla="*/ 3000905 w 6001808"/>
                <a:gd name="connsiteY11" fmla="*/ 0 h 1075562"/>
                <a:gd name="connsiteX12" fmla="*/ 5851164 w 6001808"/>
                <a:gd name="connsiteY12" fmla="*/ 737933 h 1075562"/>
                <a:gd name="connsiteX13" fmla="*/ 150644 w 6001808"/>
                <a:gd name="connsiteY13" fmla="*/ 737933 h 1075562"/>
                <a:gd name="connsiteX14" fmla="*/ 3000905 w 6001808"/>
                <a:gd name="connsiteY14"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150644 w 6001808"/>
                <a:gd name="connsiteY9" fmla="*/ 738208 h 1075562"/>
                <a:gd name="connsiteX10" fmla="*/ 3000905 w 6001808"/>
                <a:gd name="connsiteY10" fmla="*/ 0 h 1075562"/>
                <a:gd name="connsiteX11" fmla="*/ 5851164 w 6001808"/>
                <a:gd name="connsiteY11" fmla="*/ 737933 h 1075562"/>
                <a:gd name="connsiteX12" fmla="*/ 150644 w 6001808"/>
                <a:gd name="connsiteY12" fmla="*/ 737933 h 1075562"/>
                <a:gd name="connsiteX13" fmla="*/ 3000905 w 6001808"/>
                <a:gd name="connsiteY13"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150644 w 6001808"/>
                <a:gd name="connsiteY8" fmla="*/ 738208 h 1075562"/>
                <a:gd name="connsiteX9" fmla="*/ 3000905 w 6001808"/>
                <a:gd name="connsiteY9" fmla="*/ 0 h 1075562"/>
                <a:gd name="connsiteX10" fmla="*/ 5851164 w 6001808"/>
                <a:gd name="connsiteY10" fmla="*/ 737933 h 1075562"/>
                <a:gd name="connsiteX11" fmla="*/ 150644 w 6001808"/>
                <a:gd name="connsiteY11" fmla="*/ 737933 h 1075562"/>
                <a:gd name="connsiteX12" fmla="*/ 3000905 w 6001808"/>
                <a:gd name="connsiteY12"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1075562 h 1075562"/>
                <a:gd name="connsiteX6" fmla="*/ 0 w 6001808"/>
                <a:gd name="connsiteY6" fmla="*/ 1075562 h 1075562"/>
                <a:gd name="connsiteX7" fmla="*/ 150644 w 6001808"/>
                <a:gd name="connsiteY7" fmla="*/ 738208 h 1075562"/>
                <a:gd name="connsiteX8" fmla="*/ 3000905 w 6001808"/>
                <a:gd name="connsiteY8" fmla="*/ 0 h 1075562"/>
                <a:gd name="connsiteX9" fmla="*/ 5851164 w 6001808"/>
                <a:gd name="connsiteY9" fmla="*/ 737933 h 1075562"/>
                <a:gd name="connsiteX10" fmla="*/ 150644 w 6001808"/>
                <a:gd name="connsiteY10" fmla="*/ 737933 h 1075562"/>
                <a:gd name="connsiteX11" fmla="*/ 3000905 w 6001808"/>
                <a:gd name="connsiteY11"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6001808 w 6001808"/>
                <a:gd name="connsiteY4" fmla="*/ 1075562 h 1075562"/>
                <a:gd name="connsiteX5" fmla="*/ 0 w 6001808"/>
                <a:gd name="connsiteY5" fmla="*/ 1075562 h 1075562"/>
                <a:gd name="connsiteX6" fmla="*/ 150644 w 6001808"/>
                <a:gd name="connsiteY6" fmla="*/ 738208 h 1075562"/>
                <a:gd name="connsiteX7" fmla="*/ 3000905 w 6001808"/>
                <a:gd name="connsiteY7" fmla="*/ 0 h 1075562"/>
                <a:gd name="connsiteX8" fmla="*/ 5851164 w 6001808"/>
                <a:gd name="connsiteY8" fmla="*/ 737933 h 1075562"/>
                <a:gd name="connsiteX9" fmla="*/ 150644 w 6001808"/>
                <a:gd name="connsiteY9" fmla="*/ 737933 h 1075562"/>
                <a:gd name="connsiteX10" fmla="*/ 3000905 w 6001808"/>
                <a:gd name="connsiteY10"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6001808 w 6001808"/>
                <a:gd name="connsiteY3" fmla="*/ 1075562 h 1075562"/>
                <a:gd name="connsiteX4" fmla="*/ 0 w 6001808"/>
                <a:gd name="connsiteY4" fmla="*/ 1075562 h 1075562"/>
                <a:gd name="connsiteX5" fmla="*/ 150644 w 6001808"/>
                <a:gd name="connsiteY5" fmla="*/ 738208 h 1075562"/>
                <a:gd name="connsiteX6" fmla="*/ 3000905 w 6001808"/>
                <a:gd name="connsiteY6" fmla="*/ 0 h 1075562"/>
                <a:gd name="connsiteX7" fmla="*/ 5851164 w 6001808"/>
                <a:gd name="connsiteY7" fmla="*/ 737933 h 1075562"/>
                <a:gd name="connsiteX8" fmla="*/ 150644 w 6001808"/>
                <a:gd name="connsiteY8" fmla="*/ 737933 h 1075562"/>
                <a:gd name="connsiteX9" fmla="*/ 3000905 w 6001808"/>
                <a:gd name="connsiteY9" fmla="*/ 0 h 1075562"/>
                <a:gd name="connsiteX0" fmla="*/ 150644 w 5851164"/>
                <a:gd name="connsiteY0" fmla="*/ 738208 h 1075562"/>
                <a:gd name="connsiteX1" fmla="*/ 5851164 w 5851164"/>
                <a:gd name="connsiteY1" fmla="*/ 738208 h 1075562"/>
                <a:gd name="connsiteX2" fmla="*/ 5851164 w 5851164"/>
                <a:gd name="connsiteY2" fmla="*/ 834208 h 1075562"/>
                <a:gd name="connsiteX3" fmla="*/ 0 w 5851164"/>
                <a:gd name="connsiteY3" fmla="*/ 1075562 h 1075562"/>
                <a:gd name="connsiteX4" fmla="*/ 150644 w 5851164"/>
                <a:gd name="connsiteY4" fmla="*/ 738208 h 1075562"/>
                <a:gd name="connsiteX5" fmla="*/ 3000905 w 5851164"/>
                <a:gd name="connsiteY5" fmla="*/ 0 h 1075562"/>
                <a:gd name="connsiteX6" fmla="*/ 5851164 w 5851164"/>
                <a:gd name="connsiteY6" fmla="*/ 737933 h 1075562"/>
                <a:gd name="connsiteX7" fmla="*/ 150644 w 5851164"/>
                <a:gd name="connsiteY7" fmla="*/ 737933 h 1075562"/>
                <a:gd name="connsiteX8" fmla="*/ 3000905 w 5851164"/>
                <a:gd name="connsiteY8" fmla="*/ 0 h 1075562"/>
                <a:gd name="connsiteX0" fmla="*/ 150644 w 5851164"/>
                <a:gd name="connsiteY0" fmla="*/ 738208 h 1075562"/>
                <a:gd name="connsiteX1" fmla="*/ 5851164 w 5851164"/>
                <a:gd name="connsiteY1" fmla="*/ 738208 h 1075562"/>
                <a:gd name="connsiteX2" fmla="*/ 0 w 5851164"/>
                <a:gd name="connsiteY2" fmla="*/ 1075562 h 1075562"/>
                <a:gd name="connsiteX3" fmla="*/ 150644 w 5851164"/>
                <a:gd name="connsiteY3" fmla="*/ 738208 h 1075562"/>
                <a:gd name="connsiteX4" fmla="*/ 3000905 w 5851164"/>
                <a:gd name="connsiteY4" fmla="*/ 0 h 1075562"/>
                <a:gd name="connsiteX5" fmla="*/ 5851164 w 5851164"/>
                <a:gd name="connsiteY5" fmla="*/ 737933 h 1075562"/>
                <a:gd name="connsiteX6" fmla="*/ 150644 w 5851164"/>
                <a:gd name="connsiteY6" fmla="*/ 737933 h 1075562"/>
                <a:gd name="connsiteX7" fmla="*/ 3000905 w 5851164"/>
                <a:gd name="connsiteY7" fmla="*/ 0 h 1075562"/>
                <a:gd name="connsiteX0" fmla="*/ 0 w 5700520"/>
                <a:gd name="connsiteY0" fmla="*/ 738208 h 738208"/>
                <a:gd name="connsiteX1" fmla="*/ 5700520 w 5700520"/>
                <a:gd name="connsiteY1" fmla="*/ 738208 h 738208"/>
                <a:gd name="connsiteX2" fmla="*/ 0 w 5700520"/>
                <a:gd name="connsiteY2" fmla="*/ 738208 h 738208"/>
                <a:gd name="connsiteX3" fmla="*/ 2850261 w 5700520"/>
                <a:gd name="connsiteY3" fmla="*/ 0 h 738208"/>
                <a:gd name="connsiteX4" fmla="*/ 5700520 w 5700520"/>
                <a:gd name="connsiteY4" fmla="*/ 737933 h 738208"/>
                <a:gd name="connsiteX5" fmla="*/ 0 w 5700520"/>
                <a:gd name="connsiteY5" fmla="*/ 737933 h 738208"/>
                <a:gd name="connsiteX6" fmla="*/ 2850261 w 5700520"/>
                <a:gd name="connsiteY6" fmla="*/ 0 h 73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0520" h="738208">
                  <a:moveTo>
                    <a:pt x="0" y="738208"/>
                  </a:moveTo>
                  <a:lnTo>
                    <a:pt x="5700520" y="738208"/>
                  </a:lnTo>
                  <a:lnTo>
                    <a:pt x="0" y="738208"/>
                  </a:lnTo>
                  <a:close/>
                  <a:moveTo>
                    <a:pt x="2850261" y="0"/>
                  </a:moveTo>
                  <a:lnTo>
                    <a:pt x="5700520" y="737933"/>
                  </a:lnTo>
                  <a:lnTo>
                    <a:pt x="0" y="737933"/>
                  </a:lnTo>
                  <a:lnTo>
                    <a:pt x="2850261" y="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lnSpc>
                  <a:spcPct val="85000"/>
                </a:lnSpc>
                <a:defRPr/>
              </a:pPr>
              <a:endParaRPr kumimoji="0" lang="en-US" sz="850" dirty="0">
                <a:solidFill>
                  <a:srgbClr val="000000"/>
                </a:solidFill>
                <a:latin typeface="+mj-lt"/>
                <a:cs typeface="Arial" panose="020B0604020202020204" pitchFamily="34" charset="0"/>
              </a:endParaRPr>
            </a:p>
          </p:txBody>
        </p:sp>
        <p:sp>
          <p:nvSpPr>
            <p:cNvPr id="349" name="TextBox 348">
              <a:extLst>
                <a:ext uri="{FF2B5EF4-FFF2-40B4-BE49-F238E27FC236}">
                  <a16:creationId xmlns:a16="http://schemas.microsoft.com/office/drawing/2014/main" id="{B33FBCA3-462C-4C59-9990-A6E5122AF175}"/>
                </a:ext>
              </a:extLst>
            </p:cNvPr>
            <p:cNvSpPr txBox="1">
              <a:spLocks/>
            </p:cNvSpPr>
            <p:nvPr/>
          </p:nvSpPr>
          <p:spPr>
            <a:xfrm>
              <a:off x="4055122" y="1660285"/>
              <a:ext cx="4080369" cy="179525"/>
            </a:xfrm>
            <a:prstGeom prst="rect">
              <a:avLst/>
            </a:prstGeom>
            <a:grp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50">
                <a:lnSpc>
                  <a:spcPct val="85000"/>
                </a:lnSpc>
                <a:spcBef>
                  <a:spcPts val="0"/>
                </a:spcBef>
                <a:spcAft>
                  <a:spcPts val="0"/>
                </a:spcAft>
                <a:buClr>
                  <a:srgbClr val="000000"/>
                </a:buClr>
                <a:defRPr/>
              </a:pPr>
              <a:r>
                <a:rPr lang="ja" altLang="en-US" sz="850">
                  <a:solidFill>
                    <a:srgbClr val="FFFFFF"/>
                  </a:solidFill>
                  <a:latin typeface="+mj-lt"/>
                </a:rPr>
                <a:t>人材育成 </a:t>
              </a:r>
            </a:p>
          </p:txBody>
        </p:sp>
      </p:grpSp>
      <p:grpSp>
        <p:nvGrpSpPr>
          <p:cNvPr id="30" name="Group 29">
            <a:extLst>
              <a:ext uri="{FF2B5EF4-FFF2-40B4-BE49-F238E27FC236}">
                <a16:creationId xmlns:a16="http://schemas.microsoft.com/office/drawing/2014/main" id="{AC32869B-2F12-4D72-B901-C146101D03B0}"/>
              </a:ext>
            </a:extLst>
          </p:cNvPr>
          <p:cNvGrpSpPr>
            <a:grpSpLocks/>
          </p:cNvGrpSpPr>
          <p:nvPr/>
        </p:nvGrpSpPr>
        <p:grpSpPr>
          <a:xfrm>
            <a:off x="2519548" y="3584052"/>
            <a:ext cx="2499776" cy="268862"/>
            <a:chOff x="6287178" y="3066189"/>
            <a:chExt cx="3154882" cy="330907"/>
          </a:xfrm>
        </p:grpSpPr>
        <p:sp>
          <p:nvSpPr>
            <p:cNvPr id="350" name="Rectangle 349">
              <a:extLst>
                <a:ext uri="{FF2B5EF4-FFF2-40B4-BE49-F238E27FC236}">
                  <a16:creationId xmlns:a16="http://schemas.microsoft.com/office/drawing/2014/main" id="{0628F7F4-967F-456E-82B7-CA35F6EE9A56}"/>
                </a:ext>
              </a:extLst>
            </p:cNvPr>
            <p:cNvSpPr>
              <a:spLocks/>
            </p:cNvSpPr>
            <p:nvPr/>
          </p:nvSpPr>
          <p:spPr>
            <a:xfrm>
              <a:off x="6287178" y="3066189"/>
              <a:ext cx="3154882" cy="330907"/>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lnSpc>
                  <a:spcPct val="85000"/>
                </a:lnSpc>
                <a:defRPr/>
              </a:pPr>
              <a:endParaRPr kumimoji="0" lang="en-US" sz="850" dirty="0">
                <a:solidFill>
                  <a:schemeClr val="bg2"/>
                </a:solidFill>
                <a:latin typeface="+mj-lt"/>
              </a:endParaRPr>
            </a:p>
          </p:txBody>
        </p:sp>
        <p:sp>
          <p:nvSpPr>
            <p:cNvPr id="351" name="TextBox 350">
              <a:extLst>
                <a:ext uri="{FF2B5EF4-FFF2-40B4-BE49-F238E27FC236}">
                  <a16:creationId xmlns:a16="http://schemas.microsoft.com/office/drawing/2014/main" id="{32F86193-0513-4BF6-9803-FA07161D7E22}"/>
                </a:ext>
              </a:extLst>
            </p:cNvPr>
            <p:cNvSpPr txBox="1">
              <a:spLocks/>
            </p:cNvSpPr>
            <p:nvPr/>
          </p:nvSpPr>
          <p:spPr>
            <a:xfrm>
              <a:off x="6841241" y="3174301"/>
              <a:ext cx="2162718" cy="1368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50">
                <a:lnSpc>
                  <a:spcPct val="85000"/>
                </a:lnSpc>
                <a:spcBef>
                  <a:spcPts val="0"/>
                </a:spcBef>
                <a:spcAft>
                  <a:spcPts val="0"/>
                </a:spcAft>
                <a:buClr>
                  <a:srgbClr val="000000"/>
                </a:buClr>
                <a:defRPr/>
              </a:pPr>
              <a:r>
                <a:rPr lang="ja" altLang="en-US" sz="850" dirty="0">
                  <a:solidFill>
                    <a:schemeClr val="bg1"/>
                  </a:solidFill>
                  <a:latin typeface="+mj-lt"/>
                </a:rPr>
                <a:t>需要の把握 </a:t>
              </a:r>
            </a:p>
          </p:txBody>
        </p:sp>
      </p:grpSp>
      <p:sp>
        <p:nvSpPr>
          <p:cNvPr id="344" name="Rectangle 343">
            <a:extLst>
              <a:ext uri="{FF2B5EF4-FFF2-40B4-BE49-F238E27FC236}">
                <a16:creationId xmlns:a16="http://schemas.microsoft.com/office/drawing/2014/main" id="{6AD26E2A-0F94-461A-AAD9-DDDC82E83C33}"/>
              </a:ext>
            </a:extLst>
          </p:cNvPr>
          <p:cNvSpPr>
            <a:spLocks/>
          </p:cNvSpPr>
          <p:nvPr/>
        </p:nvSpPr>
        <p:spPr>
          <a:xfrm>
            <a:off x="2519548"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45" name="Rectangle 344">
            <a:extLst>
              <a:ext uri="{FF2B5EF4-FFF2-40B4-BE49-F238E27FC236}">
                <a16:creationId xmlns:a16="http://schemas.microsoft.com/office/drawing/2014/main" id="{CB5EBB4D-D6B3-4165-8CCC-25260AF38B1C}"/>
              </a:ext>
            </a:extLst>
          </p:cNvPr>
          <p:cNvSpPr>
            <a:spLocks/>
          </p:cNvSpPr>
          <p:nvPr/>
        </p:nvSpPr>
        <p:spPr>
          <a:xfrm>
            <a:off x="3363655"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46" name="Rectangle 345">
            <a:extLst>
              <a:ext uri="{FF2B5EF4-FFF2-40B4-BE49-F238E27FC236}">
                <a16:creationId xmlns:a16="http://schemas.microsoft.com/office/drawing/2014/main" id="{69B57A8A-E23F-4875-82DE-044B116AE782}"/>
              </a:ext>
            </a:extLst>
          </p:cNvPr>
          <p:cNvSpPr>
            <a:spLocks/>
          </p:cNvSpPr>
          <p:nvPr/>
        </p:nvSpPr>
        <p:spPr>
          <a:xfrm>
            <a:off x="4207761"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55" name="TextBox 354">
            <a:extLst>
              <a:ext uri="{FF2B5EF4-FFF2-40B4-BE49-F238E27FC236}">
                <a16:creationId xmlns:a16="http://schemas.microsoft.com/office/drawing/2014/main" id="{B019A6AB-F1F5-4CB5-A8BD-11275D183147}"/>
              </a:ext>
            </a:extLst>
          </p:cNvPr>
          <p:cNvSpPr txBox="1">
            <a:spLocks/>
          </p:cNvSpPr>
          <p:nvPr/>
        </p:nvSpPr>
        <p:spPr>
          <a:xfrm>
            <a:off x="3604480"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ケーパビリティ</a:t>
            </a:r>
          </a:p>
        </p:txBody>
      </p:sp>
      <p:grpSp>
        <p:nvGrpSpPr>
          <p:cNvPr id="62" name="Group 61">
            <a:extLst>
              <a:ext uri="{FF2B5EF4-FFF2-40B4-BE49-F238E27FC236}">
                <a16:creationId xmlns:a16="http://schemas.microsoft.com/office/drawing/2014/main" id="{82AA306E-1B3B-45DF-A4D1-C78AE8196853}"/>
              </a:ext>
            </a:extLst>
          </p:cNvPr>
          <p:cNvGrpSpPr/>
          <p:nvPr/>
        </p:nvGrpSpPr>
        <p:grpSpPr>
          <a:xfrm>
            <a:off x="3386285" y="3924546"/>
            <a:ext cx="194332" cy="193463"/>
            <a:chOff x="3494249" y="3727446"/>
            <a:chExt cx="239178" cy="238108"/>
          </a:xfrm>
        </p:grpSpPr>
        <p:sp>
          <p:nvSpPr>
            <p:cNvPr id="358" name="Oval 357">
              <a:extLst>
                <a:ext uri="{FF2B5EF4-FFF2-40B4-BE49-F238E27FC236}">
                  <a16:creationId xmlns:a16="http://schemas.microsoft.com/office/drawing/2014/main" id="{D8D390E4-E396-4CF5-AAE4-445F5D62EB1D}"/>
                </a:ext>
              </a:extLst>
            </p:cNvPr>
            <p:cNvSpPr>
              <a:spLocks/>
            </p:cNvSpPr>
            <p:nvPr/>
          </p:nvSpPr>
          <p:spPr>
            <a:xfrm>
              <a:off x="3494249"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60" name="CustomIcon">
              <a:extLst>
                <a:ext uri="{FF2B5EF4-FFF2-40B4-BE49-F238E27FC236}">
                  <a16:creationId xmlns:a16="http://schemas.microsoft.com/office/drawing/2014/main" id="{4203E48A-4A43-46D8-B610-16586C0C2884}"/>
                </a:ext>
              </a:extLst>
            </p:cNvPr>
            <p:cNvPicPr>
              <a:picLocks/>
            </p:cNvPicPr>
            <p:nvPr>
              <p:custDataLst>
                <p:tags r:id="rId51"/>
              </p:custDataLst>
            </p:nvPr>
          </p:nvPicPr>
          <p:blipFill>
            <a:blip r:embed="rId56" cstate="email">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3541838" y="3774602"/>
              <a:ext cx="144000" cy="143796"/>
            </a:xfrm>
            <a:prstGeom prst="rect">
              <a:avLst/>
            </a:prstGeom>
          </p:spPr>
        </p:pic>
      </p:grpSp>
      <p:sp>
        <p:nvSpPr>
          <p:cNvPr id="361" name="TextBox 360">
            <a:extLst>
              <a:ext uri="{FF2B5EF4-FFF2-40B4-BE49-F238E27FC236}">
                <a16:creationId xmlns:a16="http://schemas.microsoft.com/office/drawing/2014/main" id="{8E38036E-AE7D-4020-A141-6A4976A0EDAA}"/>
              </a:ext>
            </a:extLst>
          </p:cNvPr>
          <p:cNvSpPr txBox="1">
            <a:spLocks/>
          </p:cNvSpPr>
          <p:nvPr/>
        </p:nvSpPr>
        <p:spPr>
          <a:xfrm>
            <a:off x="2760373"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キャパシティ</a:t>
            </a:r>
          </a:p>
        </p:txBody>
      </p:sp>
      <p:grpSp>
        <p:nvGrpSpPr>
          <p:cNvPr id="61" name="Group 60">
            <a:extLst>
              <a:ext uri="{FF2B5EF4-FFF2-40B4-BE49-F238E27FC236}">
                <a16:creationId xmlns:a16="http://schemas.microsoft.com/office/drawing/2014/main" id="{966B7313-4035-41CD-96A8-059BA1329455}"/>
              </a:ext>
            </a:extLst>
          </p:cNvPr>
          <p:cNvGrpSpPr/>
          <p:nvPr/>
        </p:nvGrpSpPr>
        <p:grpSpPr>
          <a:xfrm>
            <a:off x="2542177" y="3924546"/>
            <a:ext cx="194332" cy="193463"/>
            <a:chOff x="2455347" y="3727446"/>
            <a:chExt cx="239178" cy="238108"/>
          </a:xfrm>
        </p:grpSpPr>
        <p:sp>
          <p:nvSpPr>
            <p:cNvPr id="364" name="Oval 363">
              <a:extLst>
                <a:ext uri="{FF2B5EF4-FFF2-40B4-BE49-F238E27FC236}">
                  <a16:creationId xmlns:a16="http://schemas.microsoft.com/office/drawing/2014/main" id="{397C0014-A40A-445F-9482-8F6893125E93}"/>
                </a:ext>
              </a:extLst>
            </p:cNvPr>
            <p:cNvSpPr>
              <a:spLocks/>
            </p:cNvSpPr>
            <p:nvPr/>
          </p:nvSpPr>
          <p:spPr>
            <a:xfrm>
              <a:off x="2455347"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66" name="CustomIcon">
              <a:extLst>
                <a:ext uri="{FF2B5EF4-FFF2-40B4-BE49-F238E27FC236}">
                  <a16:creationId xmlns:a16="http://schemas.microsoft.com/office/drawing/2014/main" id="{EE69A470-3396-4E02-B5D2-EB3B1BB805B3}"/>
                </a:ext>
              </a:extLst>
            </p:cNvPr>
            <p:cNvPicPr>
              <a:picLocks/>
            </p:cNvPicPr>
            <p:nvPr>
              <p:custDataLst>
                <p:tags r:id="rId50"/>
              </p:custDataLst>
            </p:nvPr>
          </p:nvPicPr>
          <p:blipFill>
            <a:blip r:embed="rId58" cstate="email">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2502936" y="3774602"/>
              <a:ext cx="144000" cy="143796"/>
            </a:xfrm>
            <a:prstGeom prst="rect">
              <a:avLst/>
            </a:prstGeom>
          </p:spPr>
        </p:pic>
      </p:grpSp>
      <p:grpSp>
        <p:nvGrpSpPr>
          <p:cNvPr id="450" name="Group 449">
            <a:extLst>
              <a:ext uri="{FF2B5EF4-FFF2-40B4-BE49-F238E27FC236}">
                <a16:creationId xmlns:a16="http://schemas.microsoft.com/office/drawing/2014/main" id="{3D432B42-0198-494C-A31D-F0BD93C74139}"/>
              </a:ext>
            </a:extLst>
          </p:cNvPr>
          <p:cNvGrpSpPr/>
          <p:nvPr/>
        </p:nvGrpSpPr>
        <p:grpSpPr>
          <a:xfrm>
            <a:off x="4230391" y="3924546"/>
            <a:ext cx="194332" cy="193463"/>
            <a:chOff x="4533149" y="3727446"/>
            <a:chExt cx="239178" cy="238108"/>
          </a:xfrm>
        </p:grpSpPr>
        <p:sp>
          <p:nvSpPr>
            <p:cNvPr id="388" name="Oval 387">
              <a:extLst>
                <a:ext uri="{FF2B5EF4-FFF2-40B4-BE49-F238E27FC236}">
                  <a16:creationId xmlns:a16="http://schemas.microsoft.com/office/drawing/2014/main" id="{D5EB3DA9-362B-4977-B691-FFD0A5ED879E}"/>
                </a:ext>
              </a:extLst>
            </p:cNvPr>
            <p:cNvSpPr>
              <a:spLocks/>
            </p:cNvSpPr>
            <p:nvPr/>
          </p:nvSpPr>
          <p:spPr>
            <a:xfrm>
              <a:off x="4533149"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89" name="CustomIcon">
              <a:extLst>
                <a:ext uri="{FF2B5EF4-FFF2-40B4-BE49-F238E27FC236}">
                  <a16:creationId xmlns:a16="http://schemas.microsoft.com/office/drawing/2014/main" id="{C512B5D8-4750-42BA-9EB0-74618F7289E3}"/>
                </a:ext>
              </a:extLst>
            </p:cNvPr>
            <p:cNvPicPr>
              <a:picLocks/>
            </p:cNvPicPr>
            <p:nvPr>
              <p:custDataLst>
                <p:tags r:id="rId49"/>
              </p:custDataLst>
            </p:nvPr>
          </p:nvPicPr>
          <p:blipFill>
            <a:blip r:embed="rId60" cstate="email">
              <a:extLst>
                <a:ext uri="{28A0092B-C50C-407E-A947-70E740481C1C}">
                  <a14:useLocalDpi xmlns:a14="http://schemas.microsoft.com/office/drawing/2010/main"/>
                </a:ext>
                <a:ext uri="{96DAC541-7B7A-43D3-8B79-37D633B846F1}">
                  <asvg:svgBlip xmlns:asvg="http://schemas.microsoft.com/office/drawing/2016/SVG/main" r:embed="rId61"/>
                </a:ext>
              </a:extLst>
            </a:blip>
            <a:stretch>
              <a:fillRect/>
            </a:stretch>
          </p:blipFill>
          <p:spPr>
            <a:xfrm>
              <a:off x="4580738" y="3774602"/>
              <a:ext cx="144000" cy="143796"/>
            </a:xfrm>
            <a:prstGeom prst="rect">
              <a:avLst/>
            </a:prstGeom>
          </p:spPr>
        </p:pic>
      </p:grpSp>
      <p:sp>
        <p:nvSpPr>
          <p:cNvPr id="390" name="TextBox 389">
            <a:extLst>
              <a:ext uri="{FF2B5EF4-FFF2-40B4-BE49-F238E27FC236}">
                <a16:creationId xmlns:a16="http://schemas.microsoft.com/office/drawing/2014/main" id="{2B868560-E083-47DD-9C51-9934A017F59A}"/>
              </a:ext>
            </a:extLst>
          </p:cNvPr>
          <p:cNvSpPr txBox="1">
            <a:spLocks/>
          </p:cNvSpPr>
          <p:nvPr/>
        </p:nvSpPr>
        <p:spPr>
          <a:xfrm>
            <a:off x="4448587"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エンゲージ</a:t>
            </a:r>
            <a:br>
              <a:rPr lang="ja-JP" altLang="en-US" sz="850" dirty="0">
                <a:solidFill>
                  <a:srgbClr val="FFFFFF"/>
                </a:solidFill>
                <a:latin typeface="+mj-lt"/>
              </a:rPr>
            </a:br>
            <a:r>
              <a:rPr lang="ja" altLang="en-US" sz="850" dirty="0">
                <a:solidFill>
                  <a:srgbClr val="FFFFFF"/>
                </a:solidFill>
                <a:latin typeface="+mj-lt"/>
              </a:rPr>
              <a:t>メント</a:t>
            </a:r>
          </a:p>
        </p:txBody>
      </p:sp>
      <p:cxnSp>
        <p:nvCxnSpPr>
          <p:cNvPr id="400" name="Straight Connector 399">
            <a:extLst>
              <a:ext uri="{FF2B5EF4-FFF2-40B4-BE49-F238E27FC236}">
                <a16:creationId xmlns:a16="http://schemas.microsoft.com/office/drawing/2014/main" id="{FAB880F5-8F61-45F5-82DD-875B8E44B6FB}"/>
              </a:ext>
            </a:extLst>
          </p:cNvPr>
          <p:cNvCxnSpPr>
            <a:cxnSpLocks/>
          </p:cNvCxnSpPr>
          <p:nvPr/>
        </p:nvCxnSpPr>
        <p:spPr>
          <a:xfrm>
            <a:off x="2542177"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6E16ABAC-F795-4C4D-B093-2DDCF690EFA3}"/>
              </a:ext>
            </a:extLst>
          </p:cNvPr>
          <p:cNvCxnSpPr>
            <a:cxnSpLocks/>
          </p:cNvCxnSpPr>
          <p:nvPr/>
        </p:nvCxnSpPr>
        <p:spPr>
          <a:xfrm>
            <a:off x="4230391"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62709DFE-2947-4849-B473-EBDCD430D3D1}"/>
              </a:ext>
            </a:extLst>
          </p:cNvPr>
          <p:cNvCxnSpPr>
            <a:cxnSpLocks/>
          </p:cNvCxnSpPr>
          <p:nvPr/>
        </p:nvCxnSpPr>
        <p:spPr>
          <a:xfrm>
            <a:off x="3386285"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B102955E-3D60-4A11-9885-F848FC432C3B}"/>
              </a:ext>
            </a:extLst>
          </p:cNvPr>
          <p:cNvSpPr txBox="1">
            <a:spLocks/>
          </p:cNvSpPr>
          <p:nvPr/>
        </p:nvSpPr>
        <p:spPr>
          <a:xfrm>
            <a:off x="2760372" y="4257738"/>
            <a:ext cx="548109"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人材配置</a:t>
            </a:r>
            <a:br>
              <a:rPr lang="ja-JP" altLang="en-US" sz="850" dirty="0">
                <a:solidFill>
                  <a:schemeClr val="tx2"/>
                </a:solidFill>
                <a:latin typeface="+mj-lt"/>
              </a:rPr>
            </a:br>
            <a:r>
              <a:rPr lang="ja" altLang="en-US" sz="850" dirty="0">
                <a:solidFill>
                  <a:schemeClr val="tx2"/>
                </a:solidFill>
                <a:latin typeface="+mj-lt"/>
              </a:rPr>
              <a:t>計画 </a:t>
            </a:r>
          </a:p>
        </p:txBody>
      </p:sp>
      <p:pic>
        <p:nvPicPr>
          <p:cNvPr id="410" name="CustomIcon">
            <a:extLst>
              <a:ext uri="{FF2B5EF4-FFF2-40B4-BE49-F238E27FC236}">
                <a16:creationId xmlns:a16="http://schemas.microsoft.com/office/drawing/2014/main" id="{DA7BD770-EA06-48C8-99A6-ECF1D12F5988}"/>
              </a:ext>
            </a:extLst>
          </p:cNvPr>
          <p:cNvPicPr>
            <a:picLocks/>
          </p:cNvPicPr>
          <p:nvPr>
            <p:custDataLst>
              <p:tags r:id="rId6"/>
            </p:custDataLst>
          </p:nvPr>
        </p:nvPicPr>
        <p:blipFill>
          <a:blip r:embed="rId62" cstate="screen">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2580843" y="4273319"/>
            <a:ext cx="117000" cy="116834"/>
          </a:xfrm>
          <a:prstGeom prst="rect">
            <a:avLst/>
          </a:prstGeom>
        </p:spPr>
      </p:pic>
      <p:sp>
        <p:nvSpPr>
          <p:cNvPr id="403" name="TextBox 402">
            <a:extLst>
              <a:ext uri="{FF2B5EF4-FFF2-40B4-BE49-F238E27FC236}">
                <a16:creationId xmlns:a16="http://schemas.microsoft.com/office/drawing/2014/main" id="{FDE9EC49-7124-478E-9A21-C94095580AF2}"/>
              </a:ext>
            </a:extLst>
          </p:cNvPr>
          <p:cNvSpPr txBox="1">
            <a:spLocks/>
          </p:cNvSpPr>
          <p:nvPr/>
        </p:nvSpPr>
        <p:spPr>
          <a:xfrm>
            <a:off x="2760373" y="4949559"/>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看護</a:t>
            </a:r>
            <a:r>
              <a:rPr lang="ja" altLang="en-US" sz="850" dirty="0">
                <a:solidFill>
                  <a:schemeClr val="tx2"/>
                </a:solidFill>
                <a:latin typeface="+mj-lt"/>
                <a:hlinkClick r:id="" action="ppaction://noaction">
                  <a:extLst>
                    <a:ext uri="{A12FA001-AC4F-418D-AE19-62706E023703}">
                      <ahyp:hlinkClr xmlns:ahyp="http://schemas.microsoft.com/office/drawing/2018/hyperlinkcolor" val="tx"/>
                    </a:ext>
                  </a:extLst>
                </a:hlinkClick>
              </a:rPr>
              <a:t> </a:t>
            </a:r>
            <a:endParaRPr lang="en-US" sz="850" dirty="0">
              <a:solidFill>
                <a:schemeClr val="tx2"/>
              </a:solidFill>
              <a:latin typeface="+mj-lt"/>
            </a:endParaRPr>
          </a:p>
        </p:txBody>
      </p:sp>
      <p:pic>
        <p:nvPicPr>
          <p:cNvPr id="412" name="CustomIcon">
            <a:extLst>
              <a:ext uri="{FF2B5EF4-FFF2-40B4-BE49-F238E27FC236}">
                <a16:creationId xmlns:a16="http://schemas.microsoft.com/office/drawing/2014/main" id="{4AAAA353-E121-4FFB-8FA6-FE2F0B80AC53}"/>
              </a:ext>
            </a:extLst>
          </p:cNvPr>
          <p:cNvPicPr>
            <a:picLocks/>
          </p:cNvPicPr>
          <p:nvPr>
            <p:custDataLst>
              <p:tags r:id="rId7"/>
            </p:custDataLst>
          </p:nvPr>
        </p:nvPicPr>
        <p:blipFill>
          <a:blip r:embed="rId64" cstate="screen">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a:off x="2580843" y="4930132"/>
            <a:ext cx="117000" cy="116834"/>
          </a:xfrm>
          <a:prstGeom prst="rect">
            <a:avLst/>
          </a:prstGeom>
        </p:spPr>
      </p:pic>
      <p:sp>
        <p:nvSpPr>
          <p:cNvPr id="406" name="TextBox 405">
            <a:extLst>
              <a:ext uri="{FF2B5EF4-FFF2-40B4-BE49-F238E27FC236}">
                <a16:creationId xmlns:a16="http://schemas.microsoft.com/office/drawing/2014/main" id="{50A27D99-250D-48CA-9A16-95D9F4FD6D68}"/>
              </a:ext>
            </a:extLst>
          </p:cNvPr>
          <p:cNvSpPr txBox="1">
            <a:spLocks/>
          </p:cNvSpPr>
          <p:nvPr/>
        </p:nvSpPr>
        <p:spPr>
          <a:xfrm>
            <a:off x="3585430" y="4257737"/>
            <a:ext cx="622900"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リスキルとアップスキル </a:t>
            </a:r>
          </a:p>
        </p:txBody>
      </p:sp>
      <p:sp>
        <p:nvSpPr>
          <p:cNvPr id="408" name="TextBox 407">
            <a:extLst>
              <a:ext uri="{FF2B5EF4-FFF2-40B4-BE49-F238E27FC236}">
                <a16:creationId xmlns:a16="http://schemas.microsoft.com/office/drawing/2014/main" id="{F259536A-78D2-4946-9469-68E24C16F1B6}"/>
              </a:ext>
            </a:extLst>
          </p:cNvPr>
          <p:cNvSpPr txBox="1">
            <a:spLocks/>
          </p:cNvSpPr>
          <p:nvPr/>
        </p:nvSpPr>
        <p:spPr>
          <a:xfrm>
            <a:off x="4448587" y="4265529"/>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a:solidFill>
                  <a:schemeClr val="tx2"/>
                </a:solidFill>
                <a:latin typeface="+mj-lt"/>
              </a:rPr>
              <a:t>患者体験 </a:t>
            </a:r>
          </a:p>
        </p:txBody>
      </p:sp>
      <p:pic>
        <p:nvPicPr>
          <p:cNvPr id="413" name="CustomIcon">
            <a:extLst>
              <a:ext uri="{FF2B5EF4-FFF2-40B4-BE49-F238E27FC236}">
                <a16:creationId xmlns:a16="http://schemas.microsoft.com/office/drawing/2014/main" id="{20231EA6-3444-4932-9586-3F4812094D27}"/>
              </a:ext>
            </a:extLst>
          </p:cNvPr>
          <p:cNvPicPr>
            <a:picLocks/>
          </p:cNvPicPr>
          <p:nvPr>
            <p:custDataLst>
              <p:tags r:id="rId8"/>
            </p:custDataLst>
          </p:nvPr>
        </p:nvPicPr>
        <p:blipFill>
          <a:blip r:embed="rId66" cstate="screen">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3424951" y="4273319"/>
            <a:ext cx="117000" cy="116835"/>
          </a:xfrm>
          <a:prstGeom prst="rect">
            <a:avLst/>
          </a:prstGeom>
        </p:spPr>
      </p:pic>
      <p:pic>
        <p:nvPicPr>
          <p:cNvPr id="415" name="CustomIcon">
            <a:extLst>
              <a:ext uri="{FF2B5EF4-FFF2-40B4-BE49-F238E27FC236}">
                <a16:creationId xmlns:a16="http://schemas.microsoft.com/office/drawing/2014/main" id="{840633BA-B8CB-4F46-A276-880EC1856ED7}"/>
              </a:ext>
            </a:extLst>
          </p:cNvPr>
          <p:cNvPicPr>
            <a:picLocks/>
          </p:cNvPicPr>
          <p:nvPr>
            <p:custDataLst>
              <p:tags r:id="rId9"/>
            </p:custDataLst>
          </p:nvPr>
        </p:nvPicPr>
        <p:blipFill>
          <a:blip r:embed="rId68" cstate="screen">
            <a:extLst>
              <a:ext uri="{28A0092B-C50C-407E-A947-70E740481C1C}">
                <a14:useLocalDpi xmlns:a14="http://schemas.microsoft.com/office/drawing/2010/main"/>
              </a:ext>
              <a:ext uri="{96DAC541-7B7A-43D3-8B79-37D633B846F1}">
                <asvg:svgBlip xmlns:asvg="http://schemas.microsoft.com/office/drawing/2016/SVG/main" r:embed="rId69"/>
              </a:ext>
            </a:extLst>
          </a:blip>
          <a:stretch>
            <a:fillRect/>
          </a:stretch>
        </p:blipFill>
        <p:spPr>
          <a:xfrm>
            <a:off x="4269057" y="4273319"/>
            <a:ext cx="117000" cy="116835"/>
          </a:xfrm>
          <a:prstGeom prst="rect">
            <a:avLst/>
          </a:prstGeom>
        </p:spPr>
      </p:pic>
      <p:sp>
        <p:nvSpPr>
          <p:cNvPr id="402" name="TextBox 401">
            <a:extLst>
              <a:ext uri="{FF2B5EF4-FFF2-40B4-BE49-F238E27FC236}">
                <a16:creationId xmlns:a16="http://schemas.microsoft.com/office/drawing/2014/main" id="{AD395800-626C-448F-B2AD-B7ADDE8DD9C3}"/>
              </a:ext>
            </a:extLst>
          </p:cNvPr>
          <p:cNvSpPr txBox="1">
            <a:spLocks/>
          </p:cNvSpPr>
          <p:nvPr/>
        </p:nvSpPr>
        <p:spPr>
          <a:xfrm>
            <a:off x="2760372" y="4599753"/>
            <a:ext cx="548108"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en-US" altLang="ja" sz="850" dirty="0" err="1">
                <a:solidFill>
                  <a:schemeClr val="tx2"/>
                </a:solidFill>
                <a:latin typeface="+mj-lt"/>
              </a:rPr>
              <a:t>MoH</a:t>
            </a:r>
            <a:r>
              <a:rPr lang="ja" altLang="en-US" sz="850" dirty="0">
                <a:solidFill>
                  <a:schemeClr val="tx2"/>
                </a:solidFill>
                <a:latin typeface="+mj-lt"/>
              </a:rPr>
              <a:t>研修医制度</a:t>
            </a:r>
          </a:p>
        </p:txBody>
      </p:sp>
      <p:sp>
        <p:nvSpPr>
          <p:cNvPr id="407" name="TextBox 406">
            <a:extLst>
              <a:ext uri="{FF2B5EF4-FFF2-40B4-BE49-F238E27FC236}">
                <a16:creationId xmlns:a16="http://schemas.microsoft.com/office/drawing/2014/main" id="{2707A7FD-D356-40EB-A8C6-356183161B46}"/>
              </a:ext>
            </a:extLst>
          </p:cNvPr>
          <p:cNvSpPr txBox="1">
            <a:spLocks/>
          </p:cNvSpPr>
          <p:nvPr/>
        </p:nvSpPr>
        <p:spPr>
          <a:xfrm>
            <a:off x="3585430" y="4607544"/>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85000"/>
              </a:lnSpc>
              <a:spcBef>
                <a:spcPts val="0"/>
              </a:spcBef>
              <a:spcAft>
                <a:spcPts val="0"/>
              </a:spcAft>
              <a:buClr>
                <a:srgbClr val="FFFFFF"/>
              </a:buClr>
              <a:defRPr/>
            </a:pPr>
            <a:r>
              <a:rPr lang="ja" altLang="en-US" sz="850" dirty="0">
                <a:solidFill>
                  <a:schemeClr val="tx2"/>
                </a:solidFill>
                <a:latin typeface="+mj-lt"/>
              </a:rPr>
              <a:t>生産性</a:t>
            </a:r>
          </a:p>
        </p:txBody>
      </p:sp>
      <p:sp>
        <p:nvSpPr>
          <p:cNvPr id="409" name="TextBox 408">
            <a:extLst>
              <a:ext uri="{FF2B5EF4-FFF2-40B4-BE49-F238E27FC236}">
                <a16:creationId xmlns:a16="http://schemas.microsoft.com/office/drawing/2014/main" id="{F2DE1113-9AF3-412B-B298-FFE1BAF48D8D}"/>
              </a:ext>
            </a:extLst>
          </p:cNvPr>
          <p:cNvSpPr txBox="1">
            <a:spLocks/>
          </p:cNvSpPr>
          <p:nvPr/>
        </p:nvSpPr>
        <p:spPr>
          <a:xfrm>
            <a:off x="4448587" y="4607544"/>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a:solidFill>
                  <a:schemeClr val="tx2"/>
                </a:solidFill>
                <a:latin typeface="+mj-lt"/>
              </a:rPr>
              <a:t>福利厚生</a:t>
            </a:r>
            <a:r>
              <a:rPr lang="ja" altLang="en-US" sz="850">
                <a:solidFill>
                  <a:schemeClr val="tx2"/>
                </a:solidFill>
                <a:latin typeface="+mj-lt"/>
                <a:hlinkClick r:id="" action="ppaction://noaction">
                  <a:extLst>
                    <a:ext uri="{A12FA001-AC4F-418D-AE19-62706E023703}">
                      <ahyp:hlinkClr xmlns:ahyp="http://schemas.microsoft.com/office/drawing/2018/hyperlinkcolor" val="tx"/>
                    </a:ext>
                  </a:extLst>
                </a:hlinkClick>
              </a:rPr>
              <a:t> </a:t>
            </a:r>
            <a:endParaRPr lang="en-US" sz="850" dirty="0">
              <a:solidFill>
                <a:schemeClr val="tx2"/>
              </a:solidFill>
              <a:latin typeface="+mj-lt"/>
            </a:endParaRPr>
          </a:p>
        </p:txBody>
      </p:sp>
      <p:pic>
        <p:nvPicPr>
          <p:cNvPr id="411" name="CustomIcon">
            <a:extLst>
              <a:ext uri="{FF2B5EF4-FFF2-40B4-BE49-F238E27FC236}">
                <a16:creationId xmlns:a16="http://schemas.microsoft.com/office/drawing/2014/main" id="{D5C7857D-0BA5-4022-AF53-81177B690356}"/>
              </a:ext>
            </a:extLst>
          </p:cNvPr>
          <p:cNvPicPr>
            <a:picLocks/>
          </p:cNvPicPr>
          <p:nvPr>
            <p:custDataLst>
              <p:tags r:id="rId10"/>
            </p:custDataLst>
          </p:nvPr>
        </p:nvPicPr>
        <p:blipFill>
          <a:blip r:embed="rId70" cstate="screen">
            <a:extLst>
              <a:ext uri="{28A0092B-C50C-407E-A947-70E740481C1C}">
                <a14:useLocalDpi xmlns:a14="http://schemas.microsoft.com/office/drawing/2010/main"/>
              </a:ext>
              <a:ext uri="{96DAC541-7B7A-43D3-8B79-37D633B846F1}">
                <asvg:svgBlip xmlns:asvg="http://schemas.microsoft.com/office/drawing/2016/SVG/main" r:embed="rId71"/>
              </a:ext>
            </a:extLst>
          </a:blip>
          <a:stretch>
            <a:fillRect/>
          </a:stretch>
        </p:blipFill>
        <p:spPr>
          <a:xfrm>
            <a:off x="2580843" y="4615334"/>
            <a:ext cx="117000" cy="116834"/>
          </a:xfrm>
          <a:prstGeom prst="rect">
            <a:avLst/>
          </a:prstGeom>
        </p:spPr>
      </p:pic>
      <p:pic>
        <p:nvPicPr>
          <p:cNvPr id="414" name="CustomIcon">
            <a:extLst>
              <a:ext uri="{FF2B5EF4-FFF2-40B4-BE49-F238E27FC236}">
                <a16:creationId xmlns:a16="http://schemas.microsoft.com/office/drawing/2014/main" id="{98B8A67D-7071-47B4-93BD-13D31FE365AE}"/>
              </a:ext>
            </a:extLst>
          </p:cNvPr>
          <p:cNvPicPr>
            <a:picLocks/>
          </p:cNvPicPr>
          <p:nvPr>
            <p:custDataLst>
              <p:tags r:id="rId11"/>
            </p:custDataLst>
          </p:nvPr>
        </p:nvPicPr>
        <p:blipFill>
          <a:blip r:embed="rId72" cstate="screen">
            <a:extLst>
              <a:ext uri="{28A0092B-C50C-407E-A947-70E740481C1C}">
                <a14:useLocalDpi xmlns:a14="http://schemas.microsoft.com/office/drawing/2010/main"/>
              </a:ext>
              <a:ext uri="{96DAC541-7B7A-43D3-8B79-37D633B846F1}">
                <asvg:svgBlip xmlns:asvg="http://schemas.microsoft.com/office/drawing/2016/SVG/main" r:embed="rId73"/>
              </a:ext>
            </a:extLst>
          </a:blip>
          <a:stretch>
            <a:fillRect/>
          </a:stretch>
        </p:blipFill>
        <p:spPr>
          <a:xfrm>
            <a:off x="3424951" y="4615334"/>
            <a:ext cx="117000" cy="116834"/>
          </a:xfrm>
          <a:prstGeom prst="rect">
            <a:avLst/>
          </a:prstGeom>
        </p:spPr>
      </p:pic>
      <p:pic>
        <p:nvPicPr>
          <p:cNvPr id="416" name="CustomIcon">
            <a:extLst>
              <a:ext uri="{FF2B5EF4-FFF2-40B4-BE49-F238E27FC236}">
                <a16:creationId xmlns:a16="http://schemas.microsoft.com/office/drawing/2014/main" id="{DA7B541C-EC79-445A-96CC-7DB582B7F83E}"/>
              </a:ext>
            </a:extLst>
          </p:cNvPr>
          <p:cNvPicPr>
            <a:picLocks/>
          </p:cNvPicPr>
          <p:nvPr>
            <p:custDataLst>
              <p:tags r:id="rId12"/>
            </p:custDataLst>
          </p:nvPr>
        </p:nvPicPr>
        <p:blipFill>
          <a:blip r:embed="rId74" cstate="screen">
            <a:extLst>
              <a:ext uri="{28A0092B-C50C-407E-A947-70E740481C1C}">
                <a14:useLocalDpi xmlns:a14="http://schemas.microsoft.com/office/drawing/2010/main"/>
              </a:ext>
              <a:ext uri="{96DAC541-7B7A-43D3-8B79-37D633B846F1}">
                <asvg:svgBlip xmlns:asvg="http://schemas.microsoft.com/office/drawing/2016/SVG/main" r:embed="rId75"/>
              </a:ext>
            </a:extLst>
          </a:blip>
          <a:stretch>
            <a:fillRect/>
          </a:stretch>
        </p:blipFill>
        <p:spPr>
          <a:xfrm>
            <a:off x="4269057" y="4615334"/>
            <a:ext cx="117000" cy="116834"/>
          </a:xfrm>
          <a:prstGeom prst="rect">
            <a:avLst/>
          </a:prstGeom>
        </p:spPr>
      </p:pic>
      <p:sp>
        <p:nvSpPr>
          <p:cNvPr id="342" name="Rectangle 341">
            <a:extLst>
              <a:ext uri="{FF2B5EF4-FFF2-40B4-BE49-F238E27FC236}">
                <a16:creationId xmlns:a16="http://schemas.microsoft.com/office/drawing/2014/main" id="{6FBBE8E1-6A6D-4666-8359-2BF5D5D24B2A}"/>
              </a:ext>
            </a:extLst>
          </p:cNvPr>
          <p:cNvSpPr>
            <a:spLocks/>
          </p:cNvSpPr>
          <p:nvPr/>
        </p:nvSpPr>
        <p:spPr>
          <a:xfrm>
            <a:off x="2519548" y="5214096"/>
            <a:ext cx="2499776" cy="697353"/>
          </a:xfrm>
          <a:prstGeom prst="rect">
            <a:avLst/>
          </a:prstGeom>
          <a:solidFill>
            <a:schemeClr val="accent1"/>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dirty="0">
              <a:solidFill>
                <a:srgbClr val="000000"/>
              </a:solidFill>
              <a:latin typeface="+mj-lt"/>
              <a:cs typeface="Arial" panose="020B0604020202020204" pitchFamily="34" charset="0"/>
            </a:endParaRPr>
          </a:p>
        </p:txBody>
      </p:sp>
      <p:pic>
        <p:nvPicPr>
          <p:cNvPr id="343" name="CustomIcon">
            <a:extLst>
              <a:ext uri="{FF2B5EF4-FFF2-40B4-BE49-F238E27FC236}">
                <a16:creationId xmlns:a16="http://schemas.microsoft.com/office/drawing/2014/main" id="{BF5626E9-D77F-4A29-AEB8-CD6D3278F72D}"/>
              </a:ext>
            </a:extLst>
          </p:cNvPr>
          <p:cNvPicPr>
            <a:picLocks/>
          </p:cNvPicPr>
          <p:nvPr>
            <p:custDataLst>
              <p:tags r:id="rId13"/>
            </p:custDataLst>
          </p:nvPr>
        </p:nvPicPr>
        <p:blipFill>
          <a:blip r:embed="rId76">
            <a:extLst>
              <a:ext uri="{96DAC541-7B7A-43D3-8B79-37D633B846F1}">
                <asvg:svgBlip xmlns:asvg="http://schemas.microsoft.com/office/drawing/2016/SVG/main" r:embed="rId77"/>
              </a:ext>
            </a:extLst>
          </a:blip>
          <a:stretch>
            <a:fillRect/>
          </a:stretch>
        </p:blipFill>
        <p:spPr>
          <a:xfrm>
            <a:off x="3189409" y="5262689"/>
            <a:ext cx="114099" cy="116834"/>
          </a:xfrm>
          <a:prstGeom prst="rect">
            <a:avLst/>
          </a:prstGeom>
        </p:spPr>
      </p:pic>
      <p:pic>
        <p:nvPicPr>
          <p:cNvPr id="392" name="CustomIcon">
            <a:extLst>
              <a:ext uri="{FF2B5EF4-FFF2-40B4-BE49-F238E27FC236}">
                <a16:creationId xmlns:a16="http://schemas.microsoft.com/office/drawing/2014/main" id="{9278FE5E-915F-4990-9F75-27C2C969833A}"/>
              </a:ext>
            </a:extLst>
          </p:cNvPr>
          <p:cNvPicPr>
            <a:picLocks/>
          </p:cNvPicPr>
          <p:nvPr>
            <p:custDataLst>
              <p:tags r:id="rId14"/>
            </p:custDataLst>
          </p:nvPr>
        </p:nvPicPr>
        <p:blipFill>
          <a:blip r:embed="rId78" cstate="email">
            <a:extLst>
              <a:ext uri="{28A0092B-C50C-407E-A947-70E740481C1C}">
                <a14:useLocalDpi xmlns:a14="http://schemas.microsoft.com/office/drawing/2010/main"/>
              </a:ext>
              <a:ext uri="{96DAC541-7B7A-43D3-8B79-37D633B846F1}">
                <asvg:svgBlip xmlns:asvg="http://schemas.microsoft.com/office/drawing/2016/SVG/main" r:embed="rId79"/>
              </a:ext>
            </a:extLst>
          </a:blip>
          <a:stretch>
            <a:fillRect/>
          </a:stretch>
        </p:blipFill>
        <p:spPr>
          <a:xfrm>
            <a:off x="2580843" y="5262689"/>
            <a:ext cx="114099" cy="116834"/>
          </a:xfrm>
          <a:prstGeom prst="rect">
            <a:avLst/>
          </a:prstGeom>
        </p:spPr>
      </p:pic>
      <p:sp>
        <p:nvSpPr>
          <p:cNvPr id="393" name="TextBox 392">
            <a:extLst>
              <a:ext uri="{FF2B5EF4-FFF2-40B4-BE49-F238E27FC236}">
                <a16:creationId xmlns:a16="http://schemas.microsoft.com/office/drawing/2014/main" id="{3F1E7683-0B04-4280-9265-E0051A5BB152}"/>
              </a:ext>
            </a:extLst>
          </p:cNvPr>
          <p:cNvSpPr txBox="1">
            <a:spLocks/>
          </p:cNvSpPr>
          <p:nvPr/>
        </p:nvSpPr>
        <p:spPr>
          <a:xfrm>
            <a:off x="2556970" y="5421837"/>
            <a:ext cx="578209"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人的資本の基礎条件</a:t>
            </a:r>
          </a:p>
        </p:txBody>
      </p:sp>
      <p:sp>
        <p:nvSpPr>
          <p:cNvPr id="394" name="TextBox 393">
            <a:extLst>
              <a:ext uri="{FF2B5EF4-FFF2-40B4-BE49-F238E27FC236}">
                <a16:creationId xmlns:a16="http://schemas.microsoft.com/office/drawing/2014/main" id="{4422E130-E485-4E9F-AB94-25129081D52C}"/>
              </a:ext>
            </a:extLst>
          </p:cNvPr>
          <p:cNvSpPr txBox="1">
            <a:spLocks/>
          </p:cNvSpPr>
          <p:nvPr/>
        </p:nvSpPr>
        <p:spPr>
          <a:xfrm>
            <a:off x="3197206" y="5421837"/>
            <a:ext cx="541223" cy="333553"/>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遠隔地域におけるキャリア形成</a:t>
            </a:r>
          </a:p>
        </p:txBody>
      </p:sp>
      <p:sp>
        <p:nvSpPr>
          <p:cNvPr id="395" name="TextBox 394">
            <a:extLst>
              <a:ext uri="{FF2B5EF4-FFF2-40B4-BE49-F238E27FC236}">
                <a16:creationId xmlns:a16="http://schemas.microsoft.com/office/drawing/2014/main" id="{3DCA69E3-A0BB-4C4A-909A-9918FD02149F}"/>
              </a:ext>
            </a:extLst>
          </p:cNvPr>
          <p:cNvSpPr txBox="1">
            <a:spLocks/>
          </p:cNvSpPr>
          <p:nvPr/>
        </p:nvSpPr>
        <p:spPr>
          <a:xfrm>
            <a:off x="3837442" y="5421837"/>
            <a:ext cx="510587" cy="444737"/>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人材データに関する基準とシステム </a:t>
            </a:r>
            <a:endParaRPr kumimoji="0" lang="en-US" sz="850" dirty="0">
              <a:solidFill>
                <a:schemeClr val="bg1"/>
              </a:solidFill>
              <a:latin typeface="+mj-lt"/>
            </a:endParaRPr>
          </a:p>
        </p:txBody>
      </p:sp>
      <p:cxnSp>
        <p:nvCxnSpPr>
          <p:cNvPr id="397" name="Straight Connector 396">
            <a:extLst>
              <a:ext uri="{FF2B5EF4-FFF2-40B4-BE49-F238E27FC236}">
                <a16:creationId xmlns:a16="http://schemas.microsoft.com/office/drawing/2014/main" id="{63640B54-7AD4-498C-90EC-7B0DFCA20C31}"/>
              </a:ext>
            </a:extLst>
          </p:cNvPr>
          <p:cNvCxnSpPr>
            <a:cxnSpLocks/>
          </p:cNvCxnSpPr>
          <p:nvPr/>
        </p:nvCxnSpPr>
        <p:spPr>
          <a:xfrm>
            <a:off x="3144492" y="5262689"/>
            <a:ext cx="0" cy="600165"/>
          </a:xfrm>
          <a:prstGeom prst="line">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6742A679-18BF-4DE2-94A1-FB4A5E243D7B}"/>
              </a:ext>
            </a:extLst>
          </p:cNvPr>
          <p:cNvCxnSpPr>
            <a:cxnSpLocks/>
          </p:cNvCxnSpPr>
          <p:nvPr/>
        </p:nvCxnSpPr>
        <p:spPr>
          <a:xfrm>
            <a:off x="3769436" y="5262689"/>
            <a:ext cx="0" cy="600165"/>
          </a:xfrm>
          <a:prstGeom prst="line">
            <a:avLst/>
          </a:prstGeom>
          <a:ln w="31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9713A8F7-D893-473C-8F6C-D7CB04CDCD5E}"/>
              </a:ext>
            </a:extLst>
          </p:cNvPr>
          <p:cNvCxnSpPr>
            <a:cxnSpLocks/>
          </p:cNvCxnSpPr>
          <p:nvPr/>
        </p:nvCxnSpPr>
        <p:spPr>
          <a:xfrm>
            <a:off x="4394380" y="5262689"/>
            <a:ext cx="0" cy="600165"/>
          </a:xfrm>
          <a:prstGeom prst="line">
            <a:avLst/>
          </a:prstGeom>
          <a:ln w="31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17" name="CustomIcon">
            <a:extLst>
              <a:ext uri="{FF2B5EF4-FFF2-40B4-BE49-F238E27FC236}">
                <a16:creationId xmlns:a16="http://schemas.microsoft.com/office/drawing/2014/main" id="{11001B63-9680-4D9F-982E-C5B82C1ACEC9}"/>
              </a:ext>
            </a:extLst>
          </p:cNvPr>
          <p:cNvPicPr>
            <a:picLocks/>
          </p:cNvPicPr>
          <p:nvPr>
            <p:custDataLst>
              <p:tags r:id="rId15"/>
            </p:custDataLst>
          </p:nvPr>
        </p:nvPicPr>
        <p:blipFill>
          <a:blip r:embed="rId80">
            <a:extLst>
              <a:ext uri="{96DAC541-7B7A-43D3-8B79-37D633B846F1}">
                <asvg:svgBlip xmlns:asvg="http://schemas.microsoft.com/office/drawing/2016/SVG/main" r:embed="rId81"/>
              </a:ext>
            </a:extLst>
          </a:blip>
          <a:stretch>
            <a:fillRect/>
          </a:stretch>
        </p:blipFill>
        <p:spPr>
          <a:xfrm>
            <a:off x="3841494" y="5262689"/>
            <a:ext cx="114099" cy="116834"/>
          </a:xfrm>
          <a:prstGeom prst="rect">
            <a:avLst/>
          </a:prstGeom>
        </p:spPr>
      </p:pic>
      <p:pic>
        <p:nvPicPr>
          <p:cNvPr id="418" name="CustomIcon">
            <a:extLst>
              <a:ext uri="{FF2B5EF4-FFF2-40B4-BE49-F238E27FC236}">
                <a16:creationId xmlns:a16="http://schemas.microsoft.com/office/drawing/2014/main" id="{EB20C357-6052-4345-97FB-0C3E57D25E2E}"/>
              </a:ext>
            </a:extLst>
          </p:cNvPr>
          <p:cNvPicPr>
            <a:picLocks/>
          </p:cNvPicPr>
          <p:nvPr>
            <p:custDataLst>
              <p:tags r:id="rId16"/>
            </p:custDataLst>
          </p:nvPr>
        </p:nvPicPr>
        <p:blipFill>
          <a:blip r:embed="rId82">
            <a:extLst>
              <a:ext uri="{96DAC541-7B7A-43D3-8B79-37D633B846F1}">
                <asvg:svgBlip xmlns:asvg="http://schemas.microsoft.com/office/drawing/2016/SVG/main" r:embed="rId83"/>
              </a:ext>
            </a:extLst>
          </a:blip>
          <a:stretch>
            <a:fillRect/>
          </a:stretch>
        </p:blipFill>
        <p:spPr>
          <a:xfrm>
            <a:off x="4460059" y="5262689"/>
            <a:ext cx="114099" cy="116834"/>
          </a:xfrm>
          <a:prstGeom prst="rect">
            <a:avLst/>
          </a:prstGeom>
        </p:spPr>
      </p:pic>
      <p:sp>
        <p:nvSpPr>
          <p:cNvPr id="460" name="TextBox 459">
            <a:extLst>
              <a:ext uri="{FF2B5EF4-FFF2-40B4-BE49-F238E27FC236}">
                <a16:creationId xmlns:a16="http://schemas.microsoft.com/office/drawing/2014/main" id="{AAB71ADA-097D-4669-85CD-F671B5825BB6}"/>
              </a:ext>
            </a:extLst>
          </p:cNvPr>
          <p:cNvSpPr txBox="1">
            <a:spLocks/>
          </p:cNvSpPr>
          <p:nvPr/>
        </p:nvSpPr>
        <p:spPr>
          <a:xfrm>
            <a:off x="2519547" y="2373252"/>
            <a:ext cx="2499776"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2. </a:t>
            </a:r>
            <a:r>
              <a:rPr lang="ja" altLang="en-US" dirty="0"/>
              <a:t>人材育成 </a:t>
            </a:r>
          </a:p>
        </p:txBody>
      </p:sp>
      <p:sp>
        <p:nvSpPr>
          <p:cNvPr id="396" name="TextBox 395">
            <a:extLst>
              <a:ext uri="{FF2B5EF4-FFF2-40B4-BE49-F238E27FC236}">
                <a16:creationId xmlns:a16="http://schemas.microsoft.com/office/drawing/2014/main" id="{FB56A7FE-44DE-454A-A275-0152DA858487}"/>
              </a:ext>
            </a:extLst>
          </p:cNvPr>
          <p:cNvSpPr txBox="1">
            <a:spLocks/>
          </p:cNvSpPr>
          <p:nvPr/>
        </p:nvSpPr>
        <p:spPr>
          <a:xfrm>
            <a:off x="4477678" y="5421837"/>
            <a:ext cx="492651" cy="222369"/>
          </a:xfrm>
          <a:prstGeom prst="rect">
            <a:avLst/>
          </a:prstGeom>
          <a:ln>
            <a:noFill/>
          </a:ln>
        </p:spPr>
        <p:txBody>
          <a:bodyPr vert="horz" wrap="square" lIns="0" tIns="0" rIns="0" bIns="0" rtlCol="0" anchor="t" anchorCtr="0">
            <a:spAutoFit/>
          </a:bodyPr>
          <a:lstStyle>
            <a:defPPr>
              <a:defRPr lang="ja-JP"/>
            </a:defPPr>
            <a:lvl1pPr lvl="0" indent="0" defTabSz="742950">
              <a:lnSpc>
                <a:spcPct val="100000"/>
              </a:lnSpc>
              <a:spcBef>
                <a:spcPts val="244"/>
              </a:spcBef>
              <a:spcAft>
                <a:spcPts val="244"/>
              </a:spcAft>
              <a:buClr>
                <a:srgbClr val="FFFFFF"/>
              </a:buClr>
              <a:buSzPct val="100000"/>
              <a:buFont typeface="Segoe UI" panose="020B0502040204020203" pitchFamily="34" charset="0"/>
              <a:buChar char="​"/>
              <a:defRPr sz="731">
                <a:solidFill>
                  <a:schemeClr val="tx2"/>
                </a:solidFill>
                <a:latin typeface="+mj-lt"/>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85000"/>
              </a:lnSpc>
              <a:spcBef>
                <a:spcPts val="0"/>
              </a:spcBef>
              <a:spcAft>
                <a:spcPts val="0"/>
              </a:spcAft>
            </a:pPr>
            <a:r>
              <a:rPr sz="850" dirty="0" err="1">
                <a:solidFill>
                  <a:schemeClr val="bg1"/>
                </a:solidFill>
              </a:rPr>
              <a:t>パフォーマンス管理</a:t>
            </a:r>
            <a:endParaRPr sz="850" dirty="0">
              <a:solidFill>
                <a:schemeClr val="bg1"/>
              </a:solidFill>
            </a:endParaRPr>
          </a:p>
        </p:txBody>
      </p:sp>
      <p:cxnSp>
        <p:nvCxnSpPr>
          <p:cNvPr id="144" name="Straight Connector 143">
            <a:extLst>
              <a:ext uri="{FF2B5EF4-FFF2-40B4-BE49-F238E27FC236}">
                <a16:creationId xmlns:a16="http://schemas.microsoft.com/office/drawing/2014/main" id="{627F2B26-2B72-4CF2-B202-CD3B8D344E8B}"/>
              </a:ext>
            </a:extLst>
          </p:cNvPr>
          <p:cNvCxnSpPr>
            <a:cxnSpLocks/>
          </p:cNvCxnSpPr>
          <p:nvPr/>
        </p:nvCxnSpPr>
        <p:spPr>
          <a:xfrm>
            <a:off x="450725" y="2576823"/>
            <a:ext cx="9004554"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8" name="Group 247">
            <a:extLst>
              <a:ext uri="{FF2B5EF4-FFF2-40B4-BE49-F238E27FC236}">
                <a16:creationId xmlns:a16="http://schemas.microsoft.com/office/drawing/2014/main" id="{3B1A0938-7D84-4FD8-92F7-97C8ED18DDA3}"/>
              </a:ext>
            </a:extLst>
          </p:cNvPr>
          <p:cNvGrpSpPr/>
          <p:nvPr/>
        </p:nvGrpSpPr>
        <p:grpSpPr>
          <a:xfrm>
            <a:off x="7363014" y="3131008"/>
            <a:ext cx="1645004" cy="1447182"/>
            <a:chOff x="7635118" y="1201882"/>
            <a:chExt cx="2448345" cy="2169513"/>
          </a:xfrm>
        </p:grpSpPr>
        <p:sp>
          <p:nvSpPr>
            <p:cNvPr id="249" name="Freeform 48">
              <a:extLst>
                <a:ext uri="{FF2B5EF4-FFF2-40B4-BE49-F238E27FC236}">
                  <a16:creationId xmlns:a16="http://schemas.microsoft.com/office/drawing/2014/main" id="{B5CC50CF-25C3-4329-B1FD-B149BE93D883}"/>
                </a:ext>
              </a:extLst>
            </p:cNvPr>
            <p:cNvSpPr>
              <a:spLocks noEditPoints="1"/>
            </p:cNvSpPr>
            <p:nvPr/>
          </p:nvSpPr>
          <p:spPr bwMode="gray">
            <a:xfrm>
              <a:off x="7635118" y="1201882"/>
              <a:ext cx="2448345" cy="2169513"/>
            </a:xfrm>
            <a:custGeom>
              <a:avLst/>
              <a:gdLst>
                <a:gd name="T0" fmla="*/ 2147483647 w 5256"/>
                <a:gd name="T1" fmla="*/ 2147483647 h 4314"/>
                <a:gd name="T2" fmla="*/ 2147483647 w 5256"/>
                <a:gd name="T3" fmla="*/ 2147483647 h 4314"/>
                <a:gd name="T4" fmla="*/ 2147483647 w 5256"/>
                <a:gd name="T5" fmla="*/ 2147483647 h 4314"/>
                <a:gd name="T6" fmla="*/ 2147483647 w 5256"/>
                <a:gd name="T7" fmla="*/ 2147483647 h 4314"/>
                <a:gd name="T8" fmla="*/ 2147483647 w 5256"/>
                <a:gd name="T9" fmla="*/ 2147483647 h 4314"/>
                <a:gd name="T10" fmla="*/ 2147483647 w 5256"/>
                <a:gd name="T11" fmla="*/ 2147483647 h 4314"/>
                <a:gd name="T12" fmla="*/ 2147483647 w 5256"/>
                <a:gd name="T13" fmla="*/ 2147483647 h 4314"/>
                <a:gd name="T14" fmla="*/ 2147483647 w 5256"/>
                <a:gd name="T15" fmla="*/ 2147483647 h 4314"/>
                <a:gd name="T16" fmla="*/ 2147483647 w 5256"/>
                <a:gd name="T17" fmla="*/ 2147483647 h 4314"/>
                <a:gd name="T18" fmla="*/ 2147483647 w 5256"/>
                <a:gd name="T19" fmla="*/ 2147483647 h 4314"/>
                <a:gd name="T20" fmla="*/ 2147483647 w 5256"/>
                <a:gd name="T21" fmla="*/ 2147483647 h 4314"/>
                <a:gd name="T22" fmla="*/ 2147483647 w 5256"/>
                <a:gd name="T23" fmla="*/ 2147483647 h 4314"/>
                <a:gd name="T24" fmla="*/ 2147483647 w 5256"/>
                <a:gd name="T25" fmla="*/ 2147483647 h 4314"/>
                <a:gd name="T26" fmla="*/ 2147483647 w 5256"/>
                <a:gd name="T27" fmla="*/ 2147483647 h 4314"/>
                <a:gd name="T28" fmla="*/ 2147483647 w 5256"/>
                <a:gd name="T29" fmla="*/ 2147483647 h 4314"/>
                <a:gd name="T30" fmla="*/ 2147483647 w 5256"/>
                <a:gd name="T31" fmla="*/ 2147483647 h 4314"/>
                <a:gd name="T32" fmla="*/ 2147483647 w 5256"/>
                <a:gd name="T33" fmla="*/ 2147483647 h 4314"/>
                <a:gd name="T34" fmla="*/ 2147483647 w 5256"/>
                <a:gd name="T35" fmla="*/ 2147483647 h 4314"/>
                <a:gd name="T36" fmla="*/ 2147483647 w 5256"/>
                <a:gd name="T37" fmla="*/ 2147483647 h 4314"/>
                <a:gd name="T38" fmla="*/ 2147483647 w 5256"/>
                <a:gd name="T39" fmla="*/ 2147483647 h 4314"/>
                <a:gd name="T40" fmla="*/ 2147483647 w 5256"/>
                <a:gd name="T41" fmla="*/ 2147483647 h 4314"/>
                <a:gd name="T42" fmla="*/ 2147483647 w 5256"/>
                <a:gd name="T43" fmla="*/ 2147483647 h 4314"/>
                <a:gd name="T44" fmla="*/ 2147483647 w 5256"/>
                <a:gd name="T45" fmla="*/ 2147483647 h 4314"/>
                <a:gd name="T46" fmla="*/ 2147483647 w 5256"/>
                <a:gd name="T47" fmla="*/ 2147483647 h 4314"/>
                <a:gd name="T48" fmla="*/ 2147483647 w 5256"/>
                <a:gd name="T49" fmla="*/ 2147483647 h 4314"/>
                <a:gd name="T50" fmla="*/ 2147483647 w 5256"/>
                <a:gd name="T51" fmla="*/ 2147483647 h 4314"/>
                <a:gd name="T52" fmla="*/ 2147483647 w 5256"/>
                <a:gd name="T53" fmla="*/ 2147483647 h 4314"/>
                <a:gd name="T54" fmla="*/ 2147483647 w 5256"/>
                <a:gd name="T55" fmla="*/ 2147483647 h 4314"/>
                <a:gd name="T56" fmla="*/ 2147483647 w 5256"/>
                <a:gd name="T57" fmla="*/ 2147483647 h 4314"/>
                <a:gd name="T58" fmla="*/ 2147483647 w 5256"/>
                <a:gd name="T59" fmla="*/ 2147483647 h 4314"/>
                <a:gd name="T60" fmla="*/ 2147483647 w 5256"/>
                <a:gd name="T61" fmla="*/ 2147483647 h 4314"/>
                <a:gd name="T62" fmla="*/ 2147483647 w 5256"/>
                <a:gd name="T63" fmla="*/ 2147483647 h 4314"/>
                <a:gd name="T64" fmla="*/ 2147483647 w 5256"/>
                <a:gd name="T65" fmla="*/ 2147483647 h 4314"/>
                <a:gd name="T66" fmla="*/ 2147483647 w 5256"/>
                <a:gd name="T67" fmla="*/ 2147483647 h 4314"/>
                <a:gd name="T68" fmla="*/ 2147483647 w 5256"/>
                <a:gd name="T69" fmla="*/ 2147483647 h 4314"/>
                <a:gd name="T70" fmla="*/ 2147483647 w 5256"/>
                <a:gd name="T71" fmla="*/ 2147483647 h 4314"/>
                <a:gd name="T72" fmla="*/ 2147483647 w 5256"/>
                <a:gd name="T73" fmla="*/ 2147483647 h 4314"/>
                <a:gd name="T74" fmla="*/ 2147483647 w 5256"/>
                <a:gd name="T75" fmla="*/ 2147483647 h 4314"/>
                <a:gd name="T76" fmla="*/ 2147483647 w 5256"/>
                <a:gd name="T77" fmla="*/ 2147483647 h 4314"/>
                <a:gd name="T78" fmla="*/ 2147483647 w 5256"/>
                <a:gd name="T79" fmla="*/ 2147483647 h 4314"/>
                <a:gd name="T80" fmla="*/ 2147483647 w 5256"/>
                <a:gd name="T81" fmla="*/ 2147483647 h 4314"/>
                <a:gd name="T82" fmla="*/ 2147483647 w 5256"/>
                <a:gd name="T83" fmla="*/ 2147483647 h 4314"/>
                <a:gd name="T84" fmla="*/ 2147483647 w 5256"/>
                <a:gd name="T85" fmla="*/ 2147483647 h 4314"/>
                <a:gd name="T86" fmla="*/ 2147483647 w 5256"/>
                <a:gd name="T87" fmla="*/ 2147483647 h 4314"/>
                <a:gd name="T88" fmla="*/ 2147483647 w 5256"/>
                <a:gd name="T89" fmla="*/ 2147483647 h 4314"/>
                <a:gd name="T90" fmla="*/ 2147483647 w 5256"/>
                <a:gd name="T91" fmla="*/ 2147483647 h 4314"/>
                <a:gd name="T92" fmla="*/ 2147483647 w 5256"/>
                <a:gd name="T93" fmla="*/ 2147483647 h 4314"/>
                <a:gd name="T94" fmla="*/ 2147483647 w 5256"/>
                <a:gd name="T95" fmla="*/ 2147483647 h 4314"/>
                <a:gd name="T96" fmla="*/ 2147483647 w 5256"/>
                <a:gd name="T97" fmla="*/ 2147483647 h 4314"/>
                <a:gd name="T98" fmla="*/ 2147483647 w 5256"/>
                <a:gd name="T99" fmla="*/ 2147483647 h 4314"/>
                <a:gd name="T100" fmla="*/ 2147483647 w 5256"/>
                <a:gd name="T101" fmla="*/ 2147483647 h 4314"/>
                <a:gd name="T102" fmla="*/ 2147483647 w 5256"/>
                <a:gd name="T103" fmla="*/ 2147483647 h 4314"/>
                <a:gd name="T104" fmla="*/ 2147483647 w 5256"/>
                <a:gd name="T105" fmla="*/ 2147483647 h 4314"/>
                <a:gd name="T106" fmla="*/ 2147483647 w 5256"/>
                <a:gd name="T107" fmla="*/ 2147483647 h 4314"/>
                <a:gd name="T108" fmla="*/ 2147483647 w 5256"/>
                <a:gd name="T109" fmla="*/ 2147483647 h 4314"/>
                <a:gd name="T110" fmla="*/ 2147483647 w 5256"/>
                <a:gd name="T111" fmla="*/ 2147483647 h 4314"/>
                <a:gd name="T112" fmla="*/ 2147483647 w 5256"/>
                <a:gd name="T113" fmla="*/ 2147483647 h 4314"/>
                <a:gd name="T114" fmla="*/ 2147483647 w 5256"/>
                <a:gd name="T115" fmla="*/ 2147483647 h 4314"/>
                <a:gd name="T116" fmla="*/ 2147483647 w 5256"/>
                <a:gd name="T117" fmla="*/ 2147483647 h 4314"/>
                <a:gd name="T118" fmla="*/ 2147483647 w 5256"/>
                <a:gd name="T119" fmla="*/ 2147483647 h 4314"/>
                <a:gd name="T120" fmla="*/ 2147483647 w 5256"/>
                <a:gd name="T121" fmla="*/ 2147483647 h 4314"/>
                <a:gd name="T122" fmla="*/ 2147483647 w 5256"/>
                <a:gd name="T123" fmla="*/ 2147483647 h 4314"/>
                <a:gd name="T124" fmla="*/ 2147483647 w 5256"/>
                <a:gd name="T125" fmla="*/ 2147483647 h 43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256"/>
                <a:gd name="T190" fmla="*/ 0 h 4314"/>
                <a:gd name="T191" fmla="*/ 5256 w 5256"/>
                <a:gd name="T192" fmla="*/ 4314 h 43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256" h="4314">
                  <a:moveTo>
                    <a:pt x="1566" y="3978"/>
                  </a:moveTo>
                  <a:lnTo>
                    <a:pt x="1572" y="3978"/>
                  </a:lnTo>
                  <a:lnTo>
                    <a:pt x="1572" y="3972"/>
                  </a:lnTo>
                  <a:lnTo>
                    <a:pt x="1572" y="3966"/>
                  </a:lnTo>
                  <a:lnTo>
                    <a:pt x="1578" y="3966"/>
                  </a:lnTo>
                  <a:lnTo>
                    <a:pt x="1578" y="3972"/>
                  </a:lnTo>
                  <a:lnTo>
                    <a:pt x="1584" y="3972"/>
                  </a:lnTo>
                  <a:lnTo>
                    <a:pt x="1584" y="3978"/>
                  </a:lnTo>
                  <a:lnTo>
                    <a:pt x="1584" y="3984"/>
                  </a:lnTo>
                  <a:lnTo>
                    <a:pt x="1578" y="3990"/>
                  </a:lnTo>
                  <a:lnTo>
                    <a:pt x="1572" y="3984"/>
                  </a:lnTo>
                  <a:lnTo>
                    <a:pt x="1566" y="3978"/>
                  </a:lnTo>
                  <a:close/>
                  <a:moveTo>
                    <a:pt x="1620" y="3984"/>
                  </a:moveTo>
                  <a:lnTo>
                    <a:pt x="1626" y="3984"/>
                  </a:lnTo>
                  <a:lnTo>
                    <a:pt x="1632" y="3978"/>
                  </a:lnTo>
                  <a:lnTo>
                    <a:pt x="1638" y="3978"/>
                  </a:lnTo>
                  <a:lnTo>
                    <a:pt x="1638" y="3972"/>
                  </a:lnTo>
                  <a:lnTo>
                    <a:pt x="1644" y="3972"/>
                  </a:lnTo>
                  <a:lnTo>
                    <a:pt x="1644" y="3966"/>
                  </a:lnTo>
                  <a:lnTo>
                    <a:pt x="1644" y="3960"/>
                  </a:lnTo>
                  <a:lnTo>
                    <a:pt x="1638" y="3960"/>
                  </a:lnTo>
                  <a:lnTo>
                    <a:pt x="1626" y="3954"/>
                  </a:lnTo>
                  <a:lnTo>
                    <a:pt x="1620" y="3954"/>
                  </a:lnTo>
                  <a:lnTo>
                    <a:pt x="1626" y="3954"/>
                  </a:lnTo>
                  <a:lnTo>
                    <a:pt x="1632" y="3954"/>
                  </a:lnTo>
                  <a:lnTo>
                    <a:pt x="1638" y="3954"/>
                  </a:lnTo>
                  <a:lnTo>
                    <a:pt x="1644" y="3960"/>
                  </a:lnTo>
                  <a:lnTo>
                    <a:pt x="1650" y="3960"/>
                  </a:lnTo>
                  <a:lnTo>
                    <a:pt x="1650" y="3966"/>
                  </a:lnTo>
                  <a:lnTo>
                    <a:pt x="1644" y="3972"/>
                  </a:lnTo>
                  <a:lnTo>
                    <a:pt x="1644" y="3978"/>
                  </a:lnTo>
                  <a:lnTo>
                    <a:pt x="1650" y="3978"/>
                  </a:lnTo>
                  <a:lnTo>
                    <a:pt x="1650" y="3984"/>
                  </a:lnTo>
                  <a:lnTo>
                    <a:pt x="1650" y="3990"/>
                  </a:lnTo>
                  <a:lnTo>
                    <a:pt x="1650" y="3996"/>
                  </a:lnTo>
                  <a:lnTo>
                    <a:pt x="1650" y="3990"/>
                  </a:lnTo>
                  <a:lnTo>
                    <a:pt x="1644" y="3996"/>
                  </a:lnTo>
                  <a:lnTo>
                    <a:pt x="1644" y="4002"/>
                  </a:lnTo>
                  <a:lnTo>
                    <a:pt x="1650" y="4002"/>
                  </a:lnTo>
                  <a:lnTo>
                    <a:pt x="1656" y="4008"/>
                  </a:lnTo>
                  <a:lnTo>
                    <a:pt x="1656" y="4014"/>
                  </a:lnTo>
                  <a:lnTo>
                    <a:pt x="1656" y="4020"/>
                  </a:lnTo>
                  <a:lnTo>
                    <a:pt x="1650" y="4020"/>
                  </a:lnTo>
                  <a:lnTo>
                    <a:pt x="1650" y="4014"/>
                  </a:lnTo>
                  <a:lnTo>
                    <a:pt x="1644" y="4014"/>
                  </a:lnTo>
                  <a:lnTo>
                    <a:pt x="1638" y="4014"/>
                  </a:lnTo>
                  <a:lnTo>
                    <a:pt x="1638" y="4008"/>
                  </a:lnTo>
                  <a:lnTo>
                    <a:pt x="1632" y="4008"/>
                  </a:lnTo>
                  <a:lnTo>
                    <a:pt x="1632" y="4002"/>
                  </a:lnTo>
                  <a:lnTo>
                    <a:pt x="1626" y="4002"/>
                  </a:lnTo>
                  <a:lnTo>
                    <a:pt x="1626" y="3996"/>
                  </a:lnTo>
                  <a:lnTo>
                    <a:pt x="1620" y="3990"/>
                  </a:lnTo>
                  <a:lnTo>
                    <a:pt x="1620" y="3984"/>
                  </a:lnTo>
                  <a:close/>
                  <a:moveTo>
                    <a:pt x="36" y="1116"/>
                  </a:moveTo>
                  <a:lnTo>
                    <a:pt x="42" y="1116"/>
                  </a:lnTo>
                  <a:lnTo>
                    <a:pt x="42" y="1110"/>
                  </a:lnTo>
                  <a:lnTo>
                    <a:pt x="36" y="1110"/>
                  </a:lnTo>
                  <a:lnTo>
                    <a:pt x="42" y="1110"/>
                  </a:lnTo>
                  <a:lnTo>
                    <a:pt x="48" y="1110"/>
                  </a:lnTo>
                  <a:lnTo>
                    <a:pt x="54" y="1110"/>
                  </a:lnTo>
                  <a:lnTo>
                    <a:pt x="54" y="1116"/>
                  </a:lnTo>
                  <a:lnTo>
                    <a:pt x="60" y="1116"/>
                  </a:lnTo>
                  <a:lnTo>
                    <a:pt x="54" y="1122"/>
                  </a:lnTo>
                  <a:lnTo>
                    <a:pt x="48" y="1122"/>
                  </a:lnTo>
                  <a:lnTo>
                    <a:pt x="48" y="1116"/>
                  </a:lnTo>
                  <a:lnTo>
                    <a:pt x="48" y="1110"/>
                  </a:lnTo>
                  <a:lnTo>
                    <a:pt x="42" y="1110"/>
                  </a:lnTo>
                  <a:lnTo>
                    <a:pt x="42" y="1116"/>
                  </a:lnTo>
                  <a:lnTo>
                    <a:pt x="36" y="1116"/>
                  </a:lnTo>
                  <a:close/>
                  <a:moveTo>
                    <a:pt x="540" y="1728"/>
                  </a:moveTo>
                  <a:lnTo>
                    <a:pt x="540" y="1722"/>
                  </a:lnTo>
                  <a:lnTo>
                    <a:pt x="546" y="1716"/>
                  </a:lnTo>
                  <a:lnTo>
                    <a:pt x="546" y="1722"/>
                  </a:lnTo>
                  <a:lnTo>
                    <a:pt x="552" y="1722"/>
                  </a:lnTo>
                  <a:lnTo>
                    <a:pt x="546" y="1722"/>
                  </a:lnTo>
                  <a:lnTo>
                    <a:pt x="546" y="1728"/>
                  </a:lnTo>
                  <a:lnTo>
                    <a:pt x="546" y="1740"/>
                  </a:lnTo>
                  <a:lnTo>
                    <a:pt x="540" y="1734"/>
                  </a:lnTo>
                  <a:lnTo>
                    <a:pt x="540" y="1728"/>
                  </a:lnTo>
                  <a:close/>
                  <a:moveTo>
                    <a:pt x="3084" y="810"/>
                  </a:moveTo>
                  <a:lnTo>
                    <a:pt x="3120" y="816"/>
                  </a:lnTo>
                  <a:lnTo>
                    <a:pt x="3156" y="816"/>
                  </a:lnTo>
                  <a:lnTo>
                    <a:pt x="3192" y="822"/>
                  </a:lnTo>
                  <a:lnTo>
                    <a:pt x="3228" y="828"/>
                  </a:lnTo>
                  <a:lnTo>
                    <a:pt x="3264" y="828"/>
                  </a:lnTo>
                  <a:lnTo>
                    <a:pt x="3300" y="834"/>
                  </a:lnTo>
                  <a:lnTo>
                    <a:pt x="3312" y="834"/>
                  </a:lnTo>
                  <a:lnTo>
                    <a:pt x="3318" y="840"/>
                  </a:lnTo>
                  <a:lnTo>
                    <a:pt x="3324" y="852"/>
                  </a:lnTo>
                  <a:lnTo>
                    <a:pt x="3330" y="864"/>
                  </a:lnTo>
                  <a:lnTo>
                    <a:pt x="3336" y="870"/>
                  </a:lnTo>
                  <a:lnTo>
                    <a:pt x="3336" y="876"/>
                  </a:lnTo>
                  <a:lnTo>
                    <a:pt x="3336" y="882"/>
                  </a:lnTo>
                  <a:lnTo>
                    <a:pt x="3342" y="882"/>
                  </a:lnTo>
                  <a:lnTo>
                    <a:pt x="3342" y="894"/>
                  </a:lnTo>
                  <a:lnTo>
                    <a:pt x="3342" y="900"/>
                  </a:lnTo>
                  <a:lnTo>
                    <a:pt x="3336" y="906"/>
                  </a:lnTo>
                  <a:lnTo>
                    <a:pt x="3336" y="912"/>
                  </a:lnTo>
                  <a:lnTo>
                    <a:pt x="3336" y="918"/>
                  </a:lnTo>
                  <a:lnTo>
                    <a:pt x="3336" y="924"/>
                  </a:lnTo>
                  <a:lnTo>
                    <a:pt x="3342" y="930"/>
                  </a:lnTo>
                  <a:lnTo>
                    <a:pt x="3348" y="930"/>
                  </a:lnTo>
                  <a:lnTo>
                    <a:pt x="3348" y="936"/>
                  </a:lnTo>
                  <a:lnTo>
                    <a:pt x="3348" y="942"/>
                  </a:lnTo>
                  <a:lnTo>
                    <a:pt x="3360" y="954"/>
                  </a:lnTo>
                  <a:lnTo>
                    <a:pt x="3360" y="960"/>
                  </a:lnTo>
                  <a:lnTo>
                    <a:pt x="3372" y="960"/>
                  </a:lnTo>
                  <a:lnTo>
                    <a:pt x="3408" y="960"/>
                  </a:lnTo>
                  <a:lnTo>
                    <a:pt x="3444" y="960"/>
                  </a:lnTo>
                  <a:lnTo>
                    <a:pt x="3480" y="960"/>
                  </a:lnTo>
                  <a:lnTo>
                    <a:pt x="3516" y="960"/>
                  </a:lnTo>
                  <a:lnTo>
                    <a:pt x="3546" y="954"/>
                  </a:lnTo>
                  <a:lnTo>
                    <a:pt x="3546" y="960"/>
                  </a:lnTo>
                  <a:lnTo>
                    <a:pt x="3552" y="966"/>
                  </a:lnTo>
                  <a:lnTo>
                    <a:pt x="3558" y="966"/>
                  </a:lnTo>
                  <a:lnTo>
                    <a:pt x="3564" y="972"/>
                  </a:lnTo>
                  <a:lnTo>
                    <a:pt x="3558" y="972"/>
                  </a:lnTo>
                  <a:lnTo>
                    <a:pt x="3558" y="978"/>
                  </a:lnTo>
                  <a:lnTo>
                    <a:pt x="3558" y="984"/>
                  </a:lnTo>
                  <a:lnTo>
                    <a:pt x="3564" y="990"/>
                  </a:lnTo>
                  <a:lnTo>
                    <a:pt x="3564" y="996"/>
                  </a:lnTo>
                  <a:lnTo>
                    <a:pt x="3558" y="996"/>
                  </a:lnTo>
                  <a:lnTo>
                    <a:pt x="3552" y="996"/>
                  </a:lnTo>
                  <a:lnTo>
                    <a:pt x="3558" y="996"/>
                  </a:lnTo>
                  <a:lnTo>
                    <a:pt x="3552" y="996"/>
                  </a:lnTo>
                  <a:lnTo>
                    <a:pt x="3558" y="996"/>
                  </a:lnTo>
                  <a:lnTo>
                    <a:pt x="3564" y="996"/>
                  </a:lnTo>
                  <a:lnTo>
                    <a:pt x="3564" y="990"/>
                  </a:lnTo>
                  <a:lnTo>
                    <a:pt x="3570" y="990"/>
                  </a:lnTo>
                  <a:lnTo>
                    <a:pt x="3564" y="996"/>
                  </a:lnTo>
                  <a:lnTo>
                    <a:pt x="3564" y="1002"/>
                  </a:lnTo>
                  <a:lnTo>
                    <a:pt x="3558" y="1008"/>
                  </a:lnTo>
                  <a:lnTo>
                    <a:pt x="3558" y="1014"/>
                  </a:lnTo>
                  <a:lnTo>
                    <a:pt x="3564" y="1014"/>
                  </a:lnTo>
                  <a:lnTo>
                    <a:pt x="3564" y="1020"/>
                  </a:lnTo>
                  <a:lnTo>
                    <a:pt x="3570" y="1026"/>
                  </a:lnTo>
                  <a:lnTo>
                    <a:pt x="3576" y="1032"/>
                  </a:lnTo>
                  <a:lnTo>
                    <a:pt x="3582" y="1032"/>
                  </a:lnTo>
                  <a:lnTo>
                    <a:pt x="3582" y="1044"/>
                  </a:lnTo>
                  <a:lnTo>
                    <a:pt x="3588" y="1044"/>
                  </a:lnTo>
                  <a:lnTo>
                    <a:pt x="3582" y="1044"/>
                  </a:lnTo>
                  <a:lnTo>
                    <a:pt x="3582" y="1050"/>
                  </a:lnTo>
                  <a:lnTo>
                    <a:pt x="3582" y="1056"/>
                  </a:lnTo>
                  <a:lnTo>
                    <a:pt x="3582" y="1062"/>
                  </a:lnTo>
                  <a:lnTo>
                    <a:pt x="3582" y="1068"/>
                  </a:lnTo>
                  <a:lnTo>
                    <a:pt x="3582" y="1080"/>
                  </a:lnTo>
                  <a:lnTo>
                    <a:pt x="3588" y="1080"/>
                  </a:lnTo>
                  <a:lnTo>
                    <a:pt x="3594" y="1086"/>
                  </a:lnTo>
                  <a:lnTo>
                    <a:pt x="3600" y="1092"/>
                  </a:lnTo>
                  <a:lnTo>
                    <a:pt x="3606" y="1092"/>
                  </a:lnTo>
                  <a:lnTo>
                    <a:pt x="3612" y="1092"/>
                  </a:lnTo>
                  <a:lnTo>
                    <a:pt x="3618" y="1092"/>
                  </a:lnTo>
                  <a:lnTo>
                    <a:pt x="3618" y="1098"/>
                  </a:lnTo>
                  <a:lnTo>
                    <a:pt x="3624" y="1098"/>
                  </a:lnTo>
                  <a:lnTo>
                    <a:pt x="3618" y="1104"/>
                  </a:lnTo>
                  <a:lnTo>
                    <a:pt x="3618" y="1098"/>
                  </a:lnTo>
                  <a:lnTo>
                    <a:pt x="3624" y="1098"/>
                  </a:lnTo>
                  <a:lnTo>
                    <a:pt x="3618" y="1098"/>
                  </a:lnTo>
                  <a:lnTo>
                    <a:pt x="3612" y="1098"/>
                  </a:lnTo>
                  <a:lnTo>
                    <a:pt x="3612" y="1104"/>
                  </a:lnTo>
                  <a:lnTo>
                    <a:pt x="3612" y="1110"/>
                  </a:lnTo>
                  <a:lnTo>
                    <a:pt x="3618" y="1110"/>
                  </a:lnTo>
                  <a:lnTo>
                    <a:pt x="3618" y="1116"/>
                  </a:lnTo>
                  <a:lnTo>
                    <a:pt x="3624" y="1122"/>
                  </a:lnTo>
                  <a:lnTo>
                    <a:pt x="3630" y="1122"/>
                  </a:lnTo>
                  <a:lnTo>
                    <a:pt x="3630" y="1128"/>
                  </a:lnTo>
                  <a:lnTo>
                    <a:pt x="3630" y="1134"/>
                  </a:lnTo>
                  <a:lnTo>
                    <a:pt x="3636" y="1134"/>
                  </a:lnTo>
                  <a:lnTo>
                    <a:pt x="3642" y="1140"/>
                  </a:lnTo>
                  <a:lnTo>
                    <a:pt x="3642" y="1146"/>
                  </a:lnTo>
                  <a:lnTo>
                    <a:pt x="3642" y="1152"/>
                  </a:lnTo>
                  <a:lnTo>
                    <a:pt x="3642" y="1158"/>
                  </a:lnTo>
                  <a:lnTo>
                    <a:pt x="3642" y="1164"/>
                  </a:lnTo>
                  <a:lnTo>
                    <a:pt x="3636" y="1164"/>
                  </a:lnTo>
                  <a:lnTo>
                    <a:pt x="3630" y="1170"/>
                  </a:lnTo>
                  <a:lnTo>
                    <a:pt x="3630" y="1164"/>
                  </a:lnTo>
                  <a:lnTo>
                    <a:pt x="3636" y="1164"/>
                  </a:lnTo>
                  <a:lnTo>
                    <a:pt x="3636" y="1158"/>
                  </a:lnTo>
                  <a:lnTo>
                    <a:pt x="3630" y="1158"/>
                  </a:lnTo>
                  <a:lnTo>
                    <a:pt x="3636" y="1152"/>
                  </a:lnTo>
                  <a:lnTo>
                    <a:pt x="3636" y="1146"/>
                  </a:lnTo>
                  <a:lnTo>
                    <a:pt x="3630" y="1146"/>
                  </a:lnTo>
                  <a:lnTo>
                    <a:pt x="3630" y="1140"/>
                  </a:lnTo>
                  <a:lnTo>
                    <a:pt x="3624" y="1146"/>
                  </a:lnTo>
                  <a:lnTo>
                    <a:pt x="3624" y="1158"/>
                  </a:lnTo>
                  <a:lnTo>
                    <a:pt x="3618" y="1158"/>
                  </a:lnTo>
                  <a:lnTo>
                    <a:pt x="3618" y="1164"/>
                  </a:lnTo>
                  <a:lnTo>
                    <a:pt x="3618" y="1170"/>
                  </a:lnTo>
                  <a:lnTo>
                    <a:pt x="3612" y="1170"/>
                  </a:lnTo>
                  <a:lnTo>
                    <a:pt x="3618" y="1176"/>
                  </a:lnTo>
                  <a:lnTo>
                    <a:pt x="3618" y="1170"/>
                  </a:lnTo>
                  <a:lnTo>
                    <a:pt x="3624" y="1170"/>
                  </a:lnTo>
                  <a:lnTo>
                    <a:pt x="3624" y="1164"/>
                  </a:lnTo>
                  <a:lnTo>
                    <a:pt x="3618" y="1164"/>
                  </a:lnTo>
                  <a:lnTo>
                    <a:pt x="3624" y="1164"/>
                  </a:lnTo>
                  <a:lnTo>
                    <a:pt x="3624" y="1170"/>
                  </a:lnTo>
                  <a:lnTo>
                    <a:pt x="3624" y="1176"/>
                  </a:lnTo>
                  <a:lnTo>
                    <a:pt x="3624" y="1182"/>
                  </a:lnTo>
                  <a:lnTo>
                    <a:pt x="3624" y="1176"/>
                  </a:lnTo>
                  <a:lnTo>
                    <a:pt x="3630" y="1176"/>
                  </a:lnTo>
                  <a:lnTo>
                    <a:pt x="3630" y="1170"/>
                  </a:lnTo>
                  <a:lnTo>
                    <a:pt x="3636" y="1176"/>
                  </a:lnTo>
                  <a:lnTo>
                    <a:pt x="3630" y="1176"/>
                  </a:lnTo>
                  <a:lnTo>
                    <a:pt x="3630" y="1182"/>
                  </a:lnTo>
                  <a:lnTo>
                    <a:pt x="3630" y="1188"/>
                  </a:lnTo>
                  <a:lnTo>
                    <a:pt x="3636" y="1182"/>
                  </a:lnTo>
                  <a:lnTo>
                    <a:pt x="3642" y="1176"/>
                  </a:lnTo>
                  <a:lnTo>
                    <a:pt x="3642" y="1182"/>
                  </a:lnTo>
                  <a:lnTo>
                    <a:pt x="3636" y="1182"/>
                  </a:lnTo>
                  <a:lnTo>
                    <a:pt x="3636" y="1188"/>
                  </a:lnTo>
                  <a:lnTo>
                    <a:pt x="3630" y="1188"/>
                  </a:lnTo>
                  <a:lnTo>
                    <a:pt x="3630" y="1194"/>
                  </a:lnTo>
                  <a:lnTo>
                    <a:pt x="3636" y="1194"/>
                  </a:lnTo>
                  <a:lnTo>
                    <a:pt x="3636" y="1200"/>
                  </a:lnTo>
                  <a:lnTo>
                    <a:pt x="3630" y="1200"/>
                  </a:lnTo>
                  <a:lnTo>
                    <a:pt x="3630" y="1194"/>
                  </a:lnTo>
                  <a:lnTo>
                    <a:pt x="3630" y="1200"/>
                  </a:lnTo>
                  <a:lnTo>
                    <a:pt x="3636" y="1200"/>
                  </a:lnTo>
                  <a:lnTo>
                    <a:pt x="3642" y="1200"/>
                  </a:lnTo>
                  <a:lnTo>
                    <a:pt x="3642" y="1194"/>
                  </a:lnTo>
                  <a:lnTo>
                    <a:pt x="3648" y="1194"/>
                  </a:lnTo>
                  <a:lnTo>
                    <a:pt x="3642" y="1194"/>
                  </a:lnTo>
                  <a:lnTo>
                    <a:pt x="3642" y="1200"/>
                  </a:lnTo>
                  <a:lnTo>
                    <a:pt x="3642" y="1206"/>
                  </a:lnTo>
                  <a:lnTo>
                    <a:pt x="3642" y="1212"/>
                  </a:lnTo>
                  <a:lnTo>
                    <a:pt x="3648" y="1206"/>
                  </a:lnTo>
                  <a:lnTo>
                    <a:pt x="3648" y="1200"/>
                  </a:lnTo>
                  <a:lnTo>
                    <a:pt x="3642" y="1206"/>
                  </a:lnTo>
                  <a:lnTo>
                    <a:pt x="3648" y="1200"/>
                  </a:lnTo>
                  <a:lnTo>
                    <a:pt x="3654" y="1200"/>
                  </a:lnTo>
                  <a:lnTo>
                    <a:pt x="3654" y="1194"/>
                  </a:lnTo>
                  <a:lnTo>
                    <a:pt x="3660" y="1194"/>
                  </a:lnTo>
                  <a:lnTo>
                    <a:pt x="3666" y="1194"/>
                  </a:lnTo>
                  <a:lnTo>
                    <a:pt x="3666" y="1200"/>
                  </a:lnTo>
                  <a:lnTo>
                    <a:pt x="3672" y="1200"/>
                  </a:lnTo>
                  <a:lnTo>
                    <a:pt x="3672" y="1206"/>
                  </a:lnTo>
                  <a:lnTo>
                    <a:pt x="3678" y="1206"/>
                  </a:lnTo>
                  <a:lnTo>
                    <a:pt x="3678" y="1212"/>
                  </a:lnTo>
                  <a:lnTo>
                    <a:pt x="3684" y="1212"/>
                  </a:lnTo>
                  <a:lnTo>
                    <a:pt x="3690" y="1218"/>
                  </a:lnTo>
                  <a:lnTo>
                    <a:pt x="3696" y="1218"/>
                  </a:lnTo>
                  <a:lnTo>
                    <a:pt x="3702" y="1218"/>
                  </a:lnTo>
                  <a:lnTo>
                    <a:pt x="3708" y="1218"/>
                  </a:lnTo>
                  <a:lnTo>
                    <a:pt x="3714" y="1218"/>
                  </a:lnTo>
                  <a:lnTo>
                    <a:pt x="3720" y="1218"/>
                  </a:lnTo>
                  <a:lnTo>
                    <a:pt x="3726" y="1218"/>
                  </a:lnTo>
                  <a:lnTo>
                    <a:pt x="3732" y="1218"/>
                  </a:lnTo>
                  <a:lnTo>
                    <a:pt x="3732" y="1224"/>
                  </a:lnTo>
                  <a:lnTo>
                    <a:pt x="3732" y="1230"/>
                  </a:lnTo>
                  <a:lnTo>
                    <a:pt x="3738" y="1230"/>
                  </a:lnTo>
                  <a:lnTo>
                    <a:pt x="3744" y="1236"/>
                  </a:lnTo>
                  <a:lnTo>
                    <a:pt x="3744" y="1242"/>
                  </a:lnTo>
                  <a:lnTo>
                    <a:pt x="3744" y="1248"/>
                  </a:lnTo>
                  <a:lnTo>
                    <a:pt x="3738" y="1248"/>
                  </a:lnTo>
                  <a:lnTo>
                    <a:pt x="3744" y="1248"/>
                  </a:lnTo>
                  <a:lnTo>
                    <a:pt x="3744" y="1242"/>
                  </a:lnTo>
                  <a:lnTo>
                    <a:pt x="3738" y="1242"/>
                  </a:lnTo>
                  <a:lnTo>
                    <a:pt x="3738" y="1248"/>
                  </a:lnTo>
                  <a:lnTo>
                    <a:pt x="3738" y="1242"/>
                  </a:lnTo>
                  <a:lnTo>
                    <a:pt x="3738" y="1236"/>
                  </a:lnTo>
                  <a:lnTo>
                    <a:pt x="3738" y="1242"/>
                  </a:lnTo>
                  <a:lnTo>
                    <a:pt x="3732" y="1242"/>
                  </a:lnTo>
                  <a:lnTo>
                    <a:pt x="3726" y="1242"/>
                  </a:lnTo>
                  <a:lnTo>
                    <a:pt x="3720" y="1242"/>
                  </a:lnTo>
                  <a:lnTo>
                    <a:pt x="3714" y="1242"/>
                  </a:lnTo>
                  <a:lnTo>
                    <a:pt x="3714" y="1248"/>
                  </a:lnTo>
                  <a:lnTo>
                    <a:pt x="3708" y="1248"/>
                  </a:lnTo>
                  <a:lnTo>
                    <a:pt x="3714" y="1242"/>
                  </a:lnTo>
                  <a:lnTo>
                    <a:pt x="3708" y="1242"/>
                  </a:lnTo>
                  <a:lnTo>
                    <a:pt x="3708" y="1248"/>
                  </a:lnTo>
                  <a:lnTo>
                    <a:pt x="3702" y="1242"/>
                  </a:lnTo>
                  <a:lnTo>
                    <a:pt x="3696" y="1248"/>
                  </a:lnTo>
                  <a:lnTo>
                    <a:pt x="3702" y="1248"/>
                  </a:lnTo>
                  <a:lnTo>
                    <a:pt x="3702" y="1254"/>
                  </a:lnTo>
                  <a:lnTo>
                    <a:pt x="3708" y="1254"/>
                  </a:lnTo>
                  <a:lnTo>
                    <a:pt x="3714" y="1254"/>
                  </a:lnTo>
                  <a:lnTo>
                    <a:pt x="3714" y="1260"/>
                  </a:lnTo>
                  <a:lnTo>
                    <a:pt x="3720" y="1260"/>
                  </a:lnTo>
                  <a:lnTo>
                    <a:pt x="3720" y="1254"/>
                  </a:lnTo>
                  <a:lnTo>
                    <a:pt x="3720" y="1248"/>
                  </a:lnTo>
                  <a:lnTo>
                    <a:pt x="3726" y="1254"/>
                  </a:lnTo>
                  <a:lnTo>
                    <a:pt x="3726" y="1248"/>
                  </a:lnTo>
                  <a:lnTo>
                    <a:pt x="3726" y="1254"/>
                  </a:lnTo>
                  <a:lnTo>
                    <a:pt x="3732" y="1254"/>
                  </a:lnTo>
                  <a:lnTo>
                    <a:pt x="3732" y="1260"/>
                  </a:lnTo>
                  <a:lnTo>
                    <a:pt x="3726" y="1260"/>
                  </a:lnTo>
                  <a:lnTo>
                    <a:pt x="3720" y="1260"/>
                  </a:lnTo>
                  <a:lnTo>
                    <a:pt x="3720" y="1266"/>
                  </a:lnTo>
                  <a:lnTo>
                    <a:pt x="3720" y="1272"/>
                  </a:lnTo>
                  <a:lnTo>
                    <a:pt x="3714" y="1278"/>
                  </a:lnTo>
                  <a:lnTo>
                    <a:pt x="3720" y="1278"/>
                  </a:lnTo>
                  <a:lnTo>
                    <a:pt x="3720" y="1272"/>
                  </a:lnTo>
                  <a:lnTo>
                    <a:pt x="3726" y="1272"/>
                  </a:lnTo>
                  <a:lnTo>
                    <a:pt x="3732" y="1272"/>
                  </a:lnTo>
                  <a:lnTo>
                    <a:pt x="3732" y="1266"/>
                  </a:lnTo>
                  <a:lnTo>
                    <a:pt x="3738" y="1266"/>
                  </a:lnTo>
                  <a:lnTo>
                    <a:pt x="3738" y="1272"/>
                  </a:lnTo>
                  <a:lnTo>
                    <a:pt x="3744" y="1272"/>
                  </a:lnTo>
                  <a:lnTo>
                    <a:pt x="3738" y="1272"/>
                  </a:lnTo>
                  <a:lnTo>
                    <a:pt x="3738" y="1278"/>
                  </a:lnTo>
                  <a:lnTo>
                    <a:pt x="3744" y="1278"/>
                  </a:lnTo>
                  <a:lnTo>
                    <a:pt x="3738" y="1278"/>
                  </a:lnTo>
                  <a:lnTo>
                    <a:pt x="3738" y="1284"/>
                  </a:lnTo>
                  <a:lnTo>
                    <a:pt x="3744" y="1290"/>
                  </a:lnTo>
                  <a:lnTo>
                    <a:pt x="3738" y="1296"/>
                  </a:lnTo>
                  <a:lnTo>
                    <a:pt x="3738" y="1302"/>
                  </a:lnTo>
                  <a:lnTo>
                    <a:pt x="3744" y="1302"/>
                  </a:lnTo>
                  <a:lnTo>
                    <a:pt x="3738" y="1302"/>
                  </a:lnTo>
                  <a:lnTo>
                    <a:pt x="3738" y="1308"/>
                  </a:lnTo>
                  <a:lnTo>
                    <a:pt x="3744" y="1308"/>
                  </a:lnTo>
                  <a:lnTo>
                    <a:pt x="3738" y="1308"/>
                  </a:lnTo>
                  <a:lnTo>
                    <a:pt x="3744" y="1308"/>
                  </a:lnTo>
                  <a:lnTo>
                    <a:pt x="3750" y="1308"/>
                  </a:lnTo>
                  <a:lnTo>
                    <a:pt x="3744" y="1314"/>
                  </a:lnTo>
                  <a:lnTo>
                    <a:pt x="3750" y="1314"/>
                  </a:lnTo>
                  <a:lnTo>
                    <a:pt x="3750" y="1308"/>
                  </a:lnTo>
                  <a:lnTo>
                    <a:pt x="3756" y="1308"/>
                  </a:lnTo>
                  <a:lnTo>
                    <a:pt x="3762" y="1308"/>
                  </a:lnTo>
                  <a:lnTo>
                    <a:pt x="3762" y="1302"/>
                  </a:lnTo>
                  <a:lnTo>
                    <a:pt x="3762" y="1308"/>
                  </a:lnTo>
                  <a:lnTo>
                    <a:pt x="3762" y="1314"/>
                  </a:lnTo>
                  <a:lnTo>
                    <a:pt x="3756" y="1314"/>
                  </a:lnTo>
                  <a:lnTo>
                    <a:pt x="3756" y="1320"/>
                  </a:lnTo>
                  <a:lnTo>
                    <a:pt x="3756" y="1314"/>
                  </a:lnTo>
                  <a:lnTo>
                    <a:pt x="3750" y="1314"/>
                  </a:lnTo>
                  <a:lnTo>
                    <a:pt x="3750" y="1320"/>
                  </a:lnTo>
                  <a:lnTo>
                    <a:pt x="3750" y="1326"/>
                  </a:lnTo>
                  <a:lnTo>
                    <a:pt x="3756" y="1326"/>
                  </a:lnTo>
                  <a:lnTo>
                    <a:pt x="3750" y="1326"/>
                  </a:lnTo>
                  <a:lnTo>
                    <a:pt x="3750" y="1320"/>
                  </a:lnTo>
                  <a:lnTo>
                    <a:pt x="3756" y="1326"/>
                  </a:lnTo>
                  <a:lnTo>
                    <a:pt x="3756" y="1320"/>
                  </a:lnTo>
                  <a:lnTo>
                    <a:pt x="3756" y="1326"/>
                  </a:lnTo>
                  <a:lnTo>
                    <a:pt x="3762" y="1326"/>
                  </a:lnTo>
                  <a:lnTo>
                    <a:pt x="3762" y="1320"/>
                  </a:lnTo>
                  <a:lnTo>
                    <a:pt x="3768" y="1320"/>
                  </a:lnTo>
                  <a:lnTo>
                    <a:pt x="3768" y="1314"/>
                  </a:lnTo>
                  <a:lnTo>
                    <a:pt x="3768" y="1320"/>
                  </a:lnTo>
                  <a:lnTo>
                    <a:pt x="3768" y="1326"/>
                  </a:lnTo>
                  <a:lnTo>
                    <a:pt x="3774" y="1326"/>
                  </a:lnTo>
                  <a:lnTo>
                    <a:pt x="3780" y="1320"/>
                  </a:lnTo>
                  <a:lnTo>
                    <a:pt x="3780" y="1326"/>
                  </a:lnTo>
                  <a:lnTo>
                    <a:pt x="3786" y="1326"/>
                  </a:lnTo>
                  <a:lnTo>
                    <a:pt x="3792" y="1326"/>
                  </a:lnTo>
                  <a:lnTo>
                    <a:pt x="3792" y="1320"/>
                  </a:lnTo>
                  <a:lnTo>
                    <a:pt x="3786" y="1320"/>
                  </a:lnTo>
                  <a:lnTo>
                    <a:pt x="3786" y="1314"/>
                  </a:lnTo>
                  <a:lnTo>
                    <a:pt x="3786" y="1308"/>
                  </a:lnTo>
                  <a:lnTo>
                    <a:pt x="3792" y="1308"/>
                  </a:lnTo>
                  <a:lnTo>
                    <a:pt x="3798" y="1314"/>
                  </a:lnTo>
                  <a:lnTo>
                    <a:pt x="3804" y="1314"/>
                  </a:lnTo>
                  <a:lnTo>
                    <a:pt x="3804" y="1308"/>
                  </a:lnTo>
                  <a:lnTo>
                    <a:pt x="3804" y="1314"/>
                  </a:lnTo>
                  <a:lnTo>
                    <a:pt x="3798" y="1320"/>
                  </a:lnTo>
                  <a:lnTo>
                    <a:pt x="3798" y="1326"/>
                  </a:lnTo>
                  <a:lnTo>
                    <a:pt x="3804" y="1326"/>
                  </a:lnTo>
                  <a:lnTo>
                    <a:pt x="3804" y="1332"/>
                  </a:lnTo>
                  <a:lnTo>
                    <a:pt x="3810" y="1338"/>
                  </a:lnTo>
                  <a:lnTo>
                    <a:pt x="3828" y="1332"/>
                  </a:lnTo>
                  <a:lnTo>
                    <a:pt x="3834" y="1332"/>
                  </a:lnTo>
                  <a:lnTo>
                    <a:pt x="3828" y="1332"/>
                  </a:lnTo>
                  <a:lnTo>
                    <a:pt x="3828" y="1338"/>
                  </a:lnTo>
                  <a:lnTo>
                    <a:pt x="3828" y="1332"/>
                  </a:lnTo>
                  <a:lnTo>
                    <a:pt x="3828" y="1338"/>
                  </a:lnTo>
                  <a:lnTo>
                    <a:pt x="3822" y="1338"/>
                  </a:lnTo>
                  <a:lnTo>
                    <a:pt x="3810" y="1338"/>
                  </a:lnTo>
                  <a:lnTo>
                    <a:pt x="3810" y="1344"/>
                  </a:lnTo>
                  <a:lnTo>
                    <a:pt x="3816" y="1344"/>
                  </a:lnTo>
                  <a:lnTo>
                    <a:pt x="3816" y="1350"/>
                  </a:lnTo>
                  <a:lnTo>
                    <a:pt x="3822" y="1350"/>
                  </a:lnTo>
                  <a:lnTo>
                    <a:pt x="3822" y="1356"/>
                  </a:lnTo>
                  <a:lnTo>
                    <a:pt x="3822" y="1362"/>
                  </a:lnTo>
                  <a:lnTo>
                    <a:pt x="3828" y="1368"/>
                  </a:lnTo>
                  <a:lnTo>
                    <a:pt x="3834" y="1368"/>
                  </a:lnTo>
                  <a:lnTo>
                    <a:pt x="3840" y="1374"/>
                  </a:lnTo>
                  <a:lnTo>
                    <a:pt x="3834" y="1374"/>
                  </a:lnTo>
                  <a:lnTo>
                    <a:pt x="3834" y="1368"/>
                  </a:lnTo>
                  <a:lnTo>
                    <a:pt x="3834" y="1374"/>
                  </a:lnTo>
                  <a:lnTo>
                    <a:pt x="3840" y="1374"/>
                  </a:lnTo>
                  <a:lnTo>
                    <a:pt x="3840" y="1380"/>
                  </a:lnTo>
                  <a:lnTo>
                    <a:pt x="3846" y="1380"/>
                  </a:lnTo>
                  <a:lnTo>
                    <a:pt x="3852" y="1386"/>
                  </a:lnTo>
                  <a:lnTo>
                    <a:pt x="3858" y="1386"/>
                  </a:lnTo>
                  <a:lnTo>
                    <a:pt x="3864" y="1392"/>
                  </a:lnTo>
                  <a:lnTo>
                    <a:pt x="3870" y="1392"/>
                  </a:lnTo>
                  <a:lnTo>
                    <a:pt x="3876" y="1392"/>
                  </a:lnTo>
                  <a:lnTo>
                    <a:pt x="3888" y="1392"/>
                  </a:lnTo>
                  <a:lnTo>
                    <a:pt x="3894" y="1398"/>
                  </a:lnTo>
                  <a:lnTo>
                    <a:pt x="3900" y="1404"/>
                  </a:lnTo>
                  <a:lnTo>
                    <a:pt x="3906" y="1410"/>
                  </a:lnTo>
                  <a:lnTo>
                    <a:pt x="3906" y="1416"/>
                  </a:lnTo>
                  <a:lnTo>
                    <a:pt x="3912" y="1416"/>
                  </a:lnTo>
                  <a:lnTo>
                    <a:pt x="3912" y="1422"/>
                  </a:lnTo>
                  <a:lnTo>
                    <a:pt x="3918" y="1422"/>
                  </a:lnTo>
                  <a:lnTo>
                    <a:pt x="3918" y="1428"/>
                  </a:lnTo>
                  <a:lnTo>
                    <a:pt x="3924" y="1434"/>
                  </a:lnTo>
                  <a:lnTo>
                    <a:pt x="3930" y="1434"/>
                  </a:lnTo>
                  <a:lnTo>
                    <a:pt x="3930" y="1440"/>
                  </a:lnTo>
                  <a:lnTo>
                    <a:pt x="3936" y="1446"/>
                  </a:lnTo>
                  <a:lnTo>
                    <a:pt x="3942" y="1452"/>
                  </a:lnTo>
                  <a:lnTo>
                    <a:pt x="3936" y="1452"/>
                  </a:lnTo>
                  <a:lnTo>
                    <a:pt x="3936" y="1446"/>
                  </a:lnTo>
                  <a:lnTo>
                    <a:pt x="3930" y="1446"/>
                  </a:lnTo>
                  <a:lnTo>
                    <a:pt x="3930" y="1440"/>
                  </a:lnTo>
                  <a:lnTo>
                    <a:pt x="3924" y="1440"/>
                  </a:lnTo>
                  <a:lnTo>
                    <a:pt x="3918" y="1440"/>
                  </a:lnTo>
                  <a:lnTo>
                    <a:pt x="3912" y="1440"/>
                  </a:lnTo>
                  <a:lnTo>
                    <a:pt x="3906" y="1434"/>
                  </a:lnTo>
                  <a:lnTo>
                    <a:pt x="3906" y="1428"/>
                  </a:lnTo>
                  <a:lnTo>
                    <a:pt x="3900" y="1422"/>
                  </a:lnTo>
                  <a:lnTo>
                    <a:pt x="3900" y="1428"/>
                  </a:lnTo>
                  <a:lnTo>
                    <a:pt x="3894" y="1434"/>
                  </a:lnTo>
                  <a:lnTo>
                    <a:pt x="3900" y="1440"/>
                  </a:lnTo>
                  <a:lnTo>
                    <a:pt x="3894" y="1446"/>
                  </a:lnTo>
                  <a:lnTo>
                    <a:pt x="3900" y="1446"/>
                  </a:lnTo>
                  <a:lnTo>
                    <a:pt x="3900" y="1452"/>
                  </a:lnTo>
                  <a:lnTo>
                    <a:pt x="3900" y="1458"/>
                  </a:lnTo>
                  <a:lnTo>
                    <a:pt x="3900" y="1464"/>
                  </a:lnTo>
                  <a:lnTo>
                    <a:pt x="3900" y="1470"/>
                  </a:lnTo>
                  <a:lnTo>
                    <a:pt x="3900" y="1476"/>
                  </a:lnTo>
                  <a:lnTo>
                    <a:pt x="3900" y="1482"/>
                  </a:lnTo>
                  <a:lnTo>
                    <a:pt x="3906" y="1482"/>
                  </a:lnTo>
                  <a:lnTo>
                    <a:pt x="3906" y="1488"/>
                  </a:lnTo>
                  <a:lnTo>
                    <a:pt x="3912" y="1494"/>
                  </a:lnTo>
                  <a:lnTo>
                    <a:pt x="3918" y="1500"/>
                  </a:lnTo>
                  <a:lnTo>
                    <a:pt x="3918" y="1488"/>
                  </a:lnTo>
                  <a:lnTo>
                    <a:pt x="3918" y="1494"/>
                  </a:lnTo>
                  <a:lnTo>
                    <a:pt x="3918" y="1500"/>
                  </a:lnTo>
                  <a:lnTo>
                    <a:pt x="3924" y="1500"/>
                  </a:lnTo>
                  <a:lnTo>
                    <a:pt x="3924" y="1488"/>
                  </a:lnTo>
                  <a:lnTo>
                    <a:pt x="3930" y="1488"/>
                  </a:lnTo>
                  <a:lnTo>
                    <a:pt x="3924" y="1506"/>
                  </a:lnTo>
                  <a:lnTo>
                    <a:pt x="3930" y="1506"/>
                  </a:lnTo>
                  <a:lnTo>
                    <a:pt x="3936" y="1506"/>
                  </a:lnTo>
                  <a:lnTo>
                    <a:pt x="3942" y="1512"/>
                  </a:lnTo>
                  <a:lnTo>
                    <a:pt x="3948" y="1518"/>
                  </a:lnTo>
                  <a:lnTo>
                    <a:pt x="3948" y="1524"/>
                  </a:lnTo>
                  <a:lnTo>
                    <a:pt x="3948" y="1530"/>
                  </a:lnTo>
                  <a:lnTo>
                    <a:pt x="3948" y="1536"/>
                  </a:lnTo>
                  <a:lnTo>
                    <a:pt x="3948" y="1542"/>
                  </a:lnTo>
                  <a:lnTo>
                    <a:pt x="3948" y="1548"/>
                  </a:lnTo>
                  <a:lnTo>
                    <a:pt x="3948" y="1554"/>
                  </a:lnTo>
                  <a:lnTo>
                    <a:pt x="3948" y="1560"/>
                  </a:lnTo>
                  <a:lnTo>
                    <a:pt x="3948" y="1566"/>
                  </a:lnTo>
                  <a:lnTo>
                    <a:pt x="3942" y="1566"/>
                  </a:lnTo>
                  <a:lnTo>
                    <a:pt x="3942" y="1572"/>
                  </a:lnTo>
                  <a:lnTo>
                    <a:pt x="3936" y="1578"/>
                  </a:lnTo>
                  <a:lnTo>
                    <a:pt x="3936" y="1572"/>
                  </a:lnTo>
                  <a:lnTo>
                    <a:pt x="3930" y="1572"/>
                  </a:lnTo>
                  <a:lnTo>
                    <a:pt x="3930" y="1578"/>
                  </a:lnTo>
                  <a:lnTo>
                    <a:pt x="3930" y="1584"/>
                  </a:lnTo>
                  <a:lnTo>
                    <a:pt x="3930" y="1596"/>
                  </a:lnTo>
                  <a:lnTo>
                    <a:pt x="3924" y="1596"/>
                  </a:lnTo>
                  <a:lnTo>
                    <a:pt x="3924" y="1602"/>
                  </a:lnTo>
                  <a:lnTo>
                    <a:pt x="3924" y="1608"/>
                  </a:lnTo>
                  <a:lnTo>
                    <a:pt x="3918" y="1608"/>
                  </a:lnTo>
                  <a:lnTo>
                    <a:pt x="3918" y="1602"/>
                  </a:lnTo>
                  <a:lnTo>
                    <a:pt x="3918" y="1596"/>
                  </a:lnTo>
                  <a:lnTo>
                    <a:pt x="3912" y="1590"/>
                  </a:lnTo>
                  <a:lnTo>
                    <a:pt x="3912" y="1584"/>
                  </a:lnTo>
                  <a:lnTo>
                    <a:pt x="3906" y="1584"/>
                  </a:lnTo>
                  <a:lnTo>
                    <a:pt x="3906" y="1578"/>
                  </a:lnTo>
                  <a:lnTo>
                    <a:pt x="3906" y="1572"/>
                  </a:lnTo>
                  <a:lnTo>
                    <a:pt x="3906" y="1566"/>
                  </a:lnTo>
                  <a:lnTo>
                    <a:pt x="3900" y="1566"/>
                  </a:lnTo>
                  <a:lnTo>
                    <a:pt x="3894" y="1566"/>
                  </a:lnTo>
                  <a:lnTo>
                    <a:pt x="3894" y="1572"/>
                  </a:lnTo>
                  <a:lnTo>
                    <a:pt x="3888" y="1578"/>
                  </a:lnTo>
                  <a:lnTo>
                    <a:pt x="3888" y="1584"/>
                  </a:lnTo>
                  <a:lnTo>
                    <a:pt x="3882" y="1584"/>
                  </a:lnTo>
                  <a:lnTo>
                    <a:pt x="3882" y="1590"/>
                  </a:lnTo>
                  <a:lnTo>
                    <a:pt x="3888" y="1590"/>
                  </a:lnTo>
                  <a:lnTo>
                    <a:pt x="3888" y="1596"/>
                  </a:lnTo>
                  <a:lnTo>
                    <a:pt x="3888" y="1602"/>
                  </a:lnTo>
                  <a:lnTo>
                    <a:pt x="3888" y="1608"/>
                  </a:lnTo>
                  <a:lnTo>
                    <a:pt x="3882" y="1614"/>
                  </a:lnTo>
                  <a:lnTo>
                    <a:pt x="3882" y="1620"/>
                  </a:lnTo>
                  <a:lnTo>
                    <a:pt x="3888" y="1620"/>
                  </a:lnTo>
                  <a:lnTo>
                    <a:pt x="3894" y="1620"/>
                  </a:lnTo>
                  <a:lnTo>
                    <a:pt x="3894" y="1614"/>
                  </a:lnTo>
                  <a:lnTo>
                    <a:pt x="3894" y="1608"/>
                  </a:lnTo>
                  <a:lnTo>
                    <a:pt x="3894" y="1614"/>
                  </a:lnTo>
                  <a:lnTo>
                    <a:pt x="3900" y="1614"/>
                  </a:lnTo>
                  <a:lnTo>
                    <a:pt x="3900" y="1620"/>
                  </a:lnTo>
                  <a:lnTo>
                    <a:pt x="3906" y="1620"/>
                  </a:lnTo>
                  <a:lnTo>
                    <a:pt x="3912" y="1620"/>
                  </a:lnTo>
                  <a:lnTo>
                    <a:pt x="3912" y="1626"/>
                  </a:lnTo>
                  <a:lnTo>
                    <a:pt x="3912" y="1632"/>
                  </a:lnTo>
                  <a:lnTo>
                    <a:pt x="3918" y="1638"/>
                  </a:lnTo>
                  <a:lnTo>
                    <a:pt x="3912" y="1638"/>
                  </a:lnTo>
                  <a:lnTo>
                    <a:pt x="3906" y="1638"/>
                  </a:lnTo>
                  <a:lnTo>
                    <a:pt x="3906" y="1644"/>
                  </a:lnTo>
                  <a:lnTo>
                    <a:pt x="3912" y="1650"/>
                  </a:lnTo>
                  <a:lnTo>
                    <a:pt x="3912" y="1656"/>
                  </a:lnTo>
                  <a:lnTo>
                    <a:pt x="3918" y="1656"/>
                  </a:lnTo>
                  <a:lnTo>
                    <a:pt x="3918" y="1662"/>
                  </a:lnTo>
                  <a:lnTo>
                    <a:pt x="3930" y="1680"/>
                  </a:lnTo>
                  <a:lnTo>
                    <a:pt x="3936" y="1680"/>
                  </a:lnTo>
                  <a:lnTo>
                    <a:pt x="3936" y="1686"/>
                  </a:lnTo>
                  <a:lnTo>
                    <a:pt x="3936" y="1692"/>
                  </a:lnTo>
                  <a:lnTo>
                    <a:pt x="3942" y="1698"/>
                  </a:lnTo>
                  <a:lnTo>
                    <a:pt x="3942" y="1704"/>
                  </a:lnTo>
                  <a:lnTo>
                    <a:pt x="3948" y="1704"/>
                  </a:lnTo>
                  <a:lnTo>
                    <a:pt x="3942" y="1710"/>
                  </a:lnTo>
                  <a:lnTo>
                    <a:pt x="3948" y="1716"/>
                  </a:lnTo>
                  <a:lnTo>
                    <a:pt x="3942" y="1716"/>
                  </a:lnTo>
                  <a:lnTo>
                    <a:pt x="3942" y="1710"/>
                  </a:lnTo>
                  <a:lnTo>
                    <a:pt x="3942" y="1704"/>
                  </a:lnTo>
                  <a:lnTo>
                    <a:pt x="3942" y="1710"/>
                  </a:lnTo>
                  <a:lnTo>
                    <a:pt x="3942" y="1704"/>
                  </a:lnTo>
                  <a:lnTo>
                    <a:pt x="3936" y="1698"/>
                  </a:lnTo>
                  <a:lnTo>
                    <a:pt x="3930" y="1698"/>
                  </a:lnTo>
                  <a:lnTo>
                    <a:pt x="3930" y="1692"/>
                  </a:lnTo>
                  <a:lnTo>
                    <a:pt x="3924" y="1692"/>
                  </a:lnTo>
                  <a:lnTo>
                    <a:pt x="3924" y="1686"/>
                  </a:lnTo>
                  <a:lnTo>
                    <a:pt x="3918" y="1686"/>
                  </a:lnTo>
                  <a:lnTo>
                    <a:pt x="3912" y="1686"/>
                  </a:lnTo>
                  <a:lnTo>
                    <a:pt x="3918" y="1686"/>
                  </a:lnTo>
                  <a:lnTo>
                    <a:pt x="3918" y="1692"/>
                  </a:lnTo>
                  <a:lnTo>
                    <a:pt x="3918" y="1698"/>
                  </a:lnTo>
                  <a:lnTo>
                    <a:pt x="3924" y="1698"/>
                  </a:lnTo>
                  <a:lnTo>
                    <a:pt x="3924" y="1704"/>
                  </a:lnTo>
                  <a:lnTo>
                    <a:pt x="3930" y="1704"/>
                  </a:lnTo>
                  <a:lnTo>
                    <a:pt x="3930" y="1698"/>
                  </a:lnTo>
                  <a:lnTo>
                    <a:pt x="3930" y="1704"/>
                  </a:lnTo>
                  <a:lnTo>
                    <a:pt x="3936" y="1710"/>
                  </a:lnTo>
                  <a:lnTo>
                    <a:pt x="3930" y="1710"/>
                  </a:lnTo>
                  <a:lnTo>
                    <a:pt x="3930" y="1716"/>
                  </a:lnTo>
                  <a:lnTo>
                    <a:pt x="3936" y="1716"/>
                  </a:lnTo>
                  <a:lnTo>
                    <a:pt x="3936" y="1722"/>
                  </a:lnTo>
                  <a:lnTo>
                    <a:pt x="3942" y="1722"/>
                  </a:lnTo>
                  <a:lnTo>
                    <a:pt x="3942" y="1728"/>
                  </a:lnTo>
                  <a:lnTo>
                    <a:pt x="3942" y="1734"/>
                  </a:lnTo>
                  <a:lnTo>
                    <a:pt x="3948" y="1734"/>
                  </a:lnTo>
                  <a:lnTo>
                    <a:pt x="3954" y="1734"/>
                  </a:lnTo>
                  <a:lnTo>
                    <a:pt x="3954" y="1740"/>
                  </a:lnTo>
                  <a:lnTo>
                    <a:pt x="3954" y="1746"/>
                  </a:lnTo>
                  <a:lnTo>
                    <a:pt x="3960" y="1746"/>
                  </a:lnTo>
                  <a:lnTo>
                    <a:pt x="3960" y="1752"/>
                  </a:lnTo>
                  <a:lnTo>
                    <a:pt x="3966" y="1758"/>
                  </a:lnTo>
                  <a:lnTo>
                    <a:pt x="3972" y="1758"/>
                  </a:lnTo>
                  <a:lnTo>
                    <a:pt x="3972" y="1764"/>
                  </a:lnTo>
                  <a:lnTo>
                    <a:pt x="3972" y="1770"/>
                  </a:lnTo>
                  <a:lnTo>
                    <a:pt x="3978" y="1770"/>
                  </a:lnTo>
                  <a:lnTo>
                    <a:pt x="3972" y="1764"/>
                  </a:lnTo>
                  <a:lnTo>
                    <a:pt x="3972" y="1758"/>
                  </a:lnTo>
                  <a:lnTo>
                    <a:pt x="3972" y="1764"/>
                  </a:lnTo>
                  <a:lnTo>
                    <a:pt x="3972" y="1758"/>
                  </a:lnTo>
                  <a:lnTo>
                    <a:pt x="3972" y="1752"/>
                  </a:lnTo>
                  <a:lnTo>
                    <a:pt x="3966" y="1752"/>
                  </a:lnTo>
                  <a:lnTo>
                    <a:pt x="3966" y="1746"/>
                  </a:lnTo>
                  <a:lnTo>
                    <a:pt x="3972" y="1746"/>
                  </a:lnTo>
                  <a:lnTo>
                    <a:pt x="3972" y="1752"/>
                  </a:lnTo>
                  <a:lnTo>
                    <a:pt x="3978" y="1758"/>
                  </a:lnTo>
                  <a:lnTo>
                    <a:pt x="3984" y="1758"/>
                  </a:lnTo>
                  <a:lnTo>
                    <a:pt x="3984" y="1764"/>
                  </a:lnTo>
                  <a:lnTo>
                    <a:pt x="3990" y="1764"/>
                  </a:lnTo>
                  <a:lnTo>
                    <a:pt x="3996" y="1770"/>
                  </a:lnTo>
                  <a:lnTo>
                    <a:pt x="3996" y="1776"/>
                  </a:lnTo>
                  <a:lnTo>
                    <a:pt x="4002" y="1782"/>
                  </a:lnTo>
                  <a:lnTo>
                    <a:pt x="4002" y="1788"/>
                  </a:lnTo>
                  <a:lnTo>
                    <a:pt x="4002" y="1794"/>
                  </a:lnTo>
                  <a:lnTo>
                    <a:pt x="4002" y="1800"/>
                  </a:lnTo>
                  <a:lnTo>
                    <a:pt x="4002" y="1806"/>
                  </a:lnTo>
                  <a:lnTo>
                    <a:pt x="4002" y="1812"/>
                  </a:lnTo>
                  <a:lnTo>
                    <a:pt x="4002" y="1818"/>
                  </a:lnTo>
                  <a:lnTo>
                    <a:pt x="4002" y="1824"/>
                  </a:lnTo>
                  <a:lnTo>
                    <a:pt x="4008" y="1824"/>
                  </a:lnTo>
                  <a:lnTo>
                    <a:pt x="4008" y="1830"/>
                  </a:lnTo>
                  <a:lnTo>
                    <a:pt x="4008" y="1836"/>
                  </a:lnTo>
                  <a:lnTo>
                    <a:pt x="4008" y="1842"/>
                  </a:lnTo>
                  <a:lnTo>
                    <a:pt x="4008" y="1848"/>
                  </a:lnTo>
                  <a:lnTo>
                    <a:pt x="4008" y="1854"/>
                  </a:lnTo>
                  <a:lnTo>
                    <a:pt x="4008" y="1860"/>
                  </a:lnTo>
                  <a:lnTo>
                    <a:pt x="4008" y="1866"/>
                  </a:lnTo>
                  <a:lnTo>
                    <a:pt x="4014" y="1866"/>
                  </a:lnTo>
                  <a:lnTo>
                    <a:pt x="4014" y="1860"/>
                  </a:lnTo>
                  <a:lnTo>
                    <a:pt x="4020" y="1866"/>
                  </a:lnTo>
                  <a:lnTo>
                    <a:pt x="4020" y="1872"/>
                  </a:lnTo>
                  <a:lnTo>
                    <a:pt x="4026" y="1872"/>
                  </a:lnTo>
                  <a:lnTo>
                    <a:pt x="4026" y="1878"/>
                  </a:lnTo>
                  <a:lnTo>
                    <a:pt x="4032" y="1884"/>
                  </a:lnTo>
                  <a:lnTo>
                    <a:pt x="4032" y="1896"/>
                  </a:lnTo>
                  <a:lnTo>
                    <a:pt x="4032" y="1902"/>
                  </a:lnTo>
                  <a:lnTo>
                    <a:pt x="4038" y="1908"/>
                  </a:lnTo>
                  <a:lnTo>
                    <a:pt x="4044" y="1908"/>
                  </a:lnTo>
                  <a:lnTo>
                    <a:pt x="4044" y="1914"/>
                  </a:lnTo>
                  <a:lnTo>
                    <a:pt x="4050" y="1914"/>
                  </a:lnTo>
                  <a:lnTo>
                    <a:pt x="4044" y="1920"/>
                  </a:lnTo>
                  <a:lnTo>
                    <a:pt x="4050" y="1920"/>
                  </a:lnTo>
                  <a:lnTo>
                    <a:pt x="4050" y="1926"/>
                  </a:lnTo>
                  <a:lnTo>
                    <a:pt x="4050" y="1932"/>
                  </a:lnTo>
                  <a:lnTo>
                    <a:pt x="4050" y="1938"/>
                  </a:lnTo>
                  <a:lnTo>
                    <a:pt x="4050" y="1944"/>
                  </a:lnTo>
                  <a:lnTo>
                    <a:pt x="4056" y="1944"/>
                  </a:lnTo>
                  <a:lnTo>
                    <a:pt x="4056" y="1950"/>
                  </a:lnTo>
                  <a:lnTo>
                    <a:pt x="4056" y="1944"/>
                  </a:lnTo>
                  <a:lnTo>
                    <a:pt x="4062" y="1944"/>
                  </a:lnTo>
                  <a:lnTo>
                    <a:pt x="4068" y="1944"/>
                  </a:lnTo>
                  <a:lnTo>
                    <a:pt x="4074" y="1956"/>
                  </a:lnTo>
                  <a:lnTo>
                    <a:pt x="4086" y="1968"/>
                  </a:lnTo>
                  <a:lnTo>
                    <a:pt x="4098" y="1986"/>
                  </a:lnTo>
                  <a:lnTo>
                    <a:pt x="4110" y="1986"/>
                  </a:lnTo>
                  <a:lnTo>
                    <a:pt x="4134" y="1992"/>
                  </a:lnTo>
                  <a:lnTo>
                    <a:pt x="4134" y="1998"/>
                  </a:lnTo>
                  <a:lnTo>
                    <a:pt x="4134" y="2010"/>
                  </a:lnTo>
                  <a:lnTo>
                    <a:pt x="4134" y="2034"/>
                  </a:lnTo>
                  <a:lnTo>
                    <a:pt x="4134" y="2064"/>
                  </a:lnTo>
                  <a:lnTo>
                    <a:pt x="4158" y="2082"/>
                  </a:lnTo>
                  <a:lnTo>
                    <a:pt x="4188" y="2100"/>
                  </a:lnTo>
                  <a:lnTo>
                    <a:pt x="4212" y="2124"/>
                  </a:lnTo>
                  <a:lnTo>
                    <a:pt x="4236" y="2136"/>
                  </a:lnTo>
                  <a:lnTo>
                    <a:pt x="4284" y="2172"/>
                  </a:lnTo>
                  <a:lnTo>
                    <a:pt x="4332" y="2394"/>
                  </a:lnTo>
                  <a:lnTo>
                    <a:pt x="5094" y="2526"/>
                  </a:lnTo>
                  <a:lnTo>
                    <a:pt x="5130" y="2490"/>
                  </a:lnTo>
                  <a:lnTo>
                    <a:pt x="5136" y="2490"/>
                  </a:lnTo>
                  <a:lnTo>
                    <a:pt x="5148" y="2472"/>
                  </a:lnTo>
                  <a:lnTo>
                    <a:pt x="5154" y="2484"/>
                  </a:lnTo>
                  <a:lnTo>
                    <a:pt x="5172" y="2514"/>
                  </a:lnTo>
                  <a:lnTo>
                    <a:pt x="5190" y="2544"/>
                  </a:lnTo>
                  <a:lnTo>
                    <a:pt x="5208" y="2568"/>
                  </a:lnTo>
                  <a:lnTo>
                    <a:pt x="5214" y="2586"/>
                  </a:lnTo>
                  <a:lnTo>
                    <a:pt x="5220" y="2598"/>
                  </a:lnTo>
                  <a:lnTo>
                    <a:pt x="5226" y="2610"/>
                  </a:lnTo>
                  <a:lnTo>
                    <a:pt x="5244" y="2640"/>
                  </a:lnTo>
                  <a:lnTo>
                    <a:pt x="5250" y="2652"/>
                  </a:lnTo>
                  <a:lnTo>
                    <a:pt x="5256" y="2658"/>
                  </a:lnTo>
                  <a:lnTo>
                    <a:pt x="5250" y="2670"/>
                  </a:lnTo>
                  <a:lnTo>
                    <a:pt x="5238" y="2700"/>
                  </a:lnTo>
                  <a:lnTo>
                    <a:pt x="5226" y="2730"/>
                  </a:lnTo>
                  <a:lnTo>
                    <a:pt x="5214" y="2754"/>
                  </a:lnTo>
                  <a:lnTo>
                    <a:pt x="5214" y="2766"/>
                  </a:lnTo>
                  <a:lnTo>
                    <a:pt x="5202" y="2796"/>
                  </a:lnTo>
                  <a:lnTo>
                    <a:pt x="5184" y="2826"/>
                  </a:lnTo>
                  <a:lnTo>
                    <a:pt x="5178" y="2844"/>
                  </a:lnTo>
                  <a:lnTo>
                    <a:pt x="5172" y="2856"/>
                  </a:lnTo>
                  <a:lnTo>
                    <a:pt x="5166" y="2874"/>
                  </a:lnTo>
                  <a:lnTo>
                    <a:pt x="5160" y="2886"/>
                  </a:lnTo>
                  <a:lnTo>
                    <a:pt x="5148" y="2922"/>
                  </a:lnTo>
                  <a:lnTo>
                    <a:pt x="5136" y="2952"/>
                  </a:lnTo>
                  <a:lnTo>
                    <a:pt x="5136" y="2964"/>
                  </a:lnTo>
                  <a:lnTo>
                    <a:pt x="5124" y="2982"/>
                  </a:lnTo>
                  <a:lnTo>
                    <a:pt x="5112" y="3012"/>
                  </a:lnTo>
                  <a:lnTo>
                    <a:pt x="5100" y="3048"/>
                  </a:lnTo>
                  <a:lnTo>
                    <a:pt x="5094" y="3066"/>
                  </a:lnTo>
                  <a:lnTo>
                    <a:pt x="5082" y="3096"/>
                  </a:lnTo>
                  <a:lnTo>
                    <a:pt x="5070" y="3126"/>
                  </a:lnTo>
                  <a:lnTo>
                    <a:pt x="5058" y="3156"/>
                  </a:lnTo>
                  <a:lnTo>
                    <a:pt x="5052" y="3174"/>
                  </a:lnTo>
                  <a:lnTo>
                    <a:pt x="5034" y="3180"/>
                  </a:lnTo>
                  <a:lnTo>
                    <a:pt x="5004" y="3192"/>
                  </a:lnTo>
                  <a:lnTo>
                    <a:pt x="4968" y="3198"/>
                  </a:lnTo>
                  <a:lnTo>
                    <a:pt x="4950" y="3210"/>
                  </a:lnTo>
                  <a:lnTo>
                    <a:pt x="4944" y="3210"/>
                  </a:lnTo>
                  <a:lnTo>
                    <a:pt x="4938" y="3210"/>
                  </a:lnTo>
                  <a:lnTo>
                    <a:pt x="4902" y="3222"/>
                  </a:lnTo>
                  <a:lnTo>
                    <a:pt x="4878" y="3228"/>
                  </a:lnTo>
                  <a:lnTo>
                    <a:pt x="4872" y="3234"/>
                  </a:lnTo>
                  <a:lnTo>
                    <a:pt x="4866" y="3234"/>
                  </a:lnTo>
                  <a:lnTo>
                    <a:pt x="4860" y="3240"/>
                  </a:lnTo>
                  <a:lnTo>
                    <a:pt x="4854" y="3240"/>
                  </a:lnTo>
                  <a:lnTo>
                    <a:pt x="4836" y="3246"/>
                  </a:lnTo>
                  <a:lnTo>
                    <a:pt x="4812" y="3252"/>
                  </a:lnTo>
                  <a:lnTo>
                    <a:pt x="4806" y="3252"/>
                  </a:lnTo>
                  <a:lnTo>
                    <a:pt x="4806" y="3258"/>
                  </a:lnTo>
                  <a:lnTo>
                    <a:pt x="4800" y="3258"/>
                  </a:lnTo>
                  <a:lnTo>
                    <a:pt x="4794" y="3258"/>
                  </a:lnTo>
                  <a:lnTo>
                    <a:pt x="4788" y="3264"/>
                  </a:lnTo>
                  <a:lnTo>
                    <a:pt x="4782" y="3264"/>
                  </a:lnTo>
                  <a:lnTo>
                    <a:pt x="4776" y="3264"/>
                  </a:lnTo>
                  <a:lnTo>
                    <a:pt x="4770" y="3270"/>
                  </a:lnTo>
                  <a:lnTo>
                    <a:pt x="4770" y="3264"/>
                  </a:lnTo>
                  <a:lnTo>
                    <a:pt x="4770" y="3270"/>
                  </a:lnTo>
                  <a:lnTo>
                    <a:pt x="4764" y="3270"/>
                  </a:lnTo>
                  <a:lnTo>
                    <a:pt x="4758" y="3270"/>
                  </a:lnTo>
                  <a:lnTo>
                    <a:pt x="4752" y="3270"/>
                  </a:lnTo>
                  <a:lnTo>
                    <a:pt x="4752" y="3276"/>
                  </a:lnTo>
                  <a:lnTo>
                    <a:pt x="4746" y="3276"/>
                  </a:lnTo>
                  <a:lnTo>
                    <a:pt x="4740" y="3276"/>
                  </a:lnTo>
                  <a:lnTo>
                    <a:pt x="4734" y="3276"/>
                  </a:lnTo>
                  <a:lnTo>
                    <a:pt x="4734" y="3282"/>
                  </a:lnTo>
                  <a:lnTo>
                    <a:pt x="4728" y="3282"/>
                  </a:lnTo>
                  <a:lnTo>
                    <a:pt x="4716" y="3282"/>
                  </a:lnTo>
                  <a:lnTo>
                    <a:pt x="4716" y="3288"/>
                  </a:lnTo>
                  <a:lnTo>
                    <a:pt x="4710" y="3288"/>
                  </a:lnTo>
                  <a:lnTo>
                    <a:pt x="4686" y="3294"/>
                  </a:lnTo>
                  <a:lnTo>
                    <a:pt x="4680" y="3294"/>
                  </a:lnTo>
                  <a:lnTo>
                    <a:pt x="4662" y="3300"/>
                  </a:lnTo>
                  <a:lnTo>
                    <a:pt x="4656" y="3306"/>
                  </a:lnTo>
                  <a:lnTo>
                    <a:pt x="4632" y="3312"/>
                  </a:lnTo>
                  <a:lnTo>
                    <a:pt x="4626" y="3312"/>
                  </a:lnTo>
                  <a:lnTo>
                    <a:pt x="4620" y="3318"/>
                  </a:lnTo>
                  <a:lnTo>
                    <a:pt x="4614" y="3318"/>
                  </a:lnTo>
                  <a:lnTo>
                    <a:pt x="4590" y="3324"/>
                  </a:lnTo>
                  <a:lnTo>
                    <a:pt x="4554" y="3336"/>
                  </a:lnTo>
                  <a:lnTo>
                    <a:pt x="4542" y="3342"/>
                  </a:lnTo>
                  <a:lnTo>
                    <a:pt x="4530" y="3348"/>
                  </a:lnTo>
                  <a:lnTo>
                    <a:pt x="4524" y="3348"/>
                  </a:lnTo>
                  <a:lnTo>
                    <a:pt x="4488" y="3360"/>
                  </a:lnTo>
                  <a:lnTo>
                    <a:pt x="4464" y="3366"/>
                  </a:lnTo>
                  <a:lnTo>
                    <a:pt x="4458" y="3372"/>
                  </a:lnTo>
                  <a:lnTo>
                    <a:pt x="4422" y="3384"/>
                  </a:lnTo>
                  <a:lnTo>
                    <a:pt x="4392" y="3390"/>
                  </a:lnTo>
                  <a:lnTo>
                    <a:pt x="4356" y="3402"/>
                  </a:lnTo>
                  <a:lnTo>
                    <a:pt x="4344" y="3408"/>
                  </a:lnTo>
                  <a:lnTo>
                    <a:pt x="4338" y="3408"/>
                  </a:lnTo>
                  <a:lnTo>
                    <a:pt x="4332" y="3414"/>
                  </a:lnTo>
                  <a:lnTo>
                    <a:pt x="4326" y="3414"/>
                  </a:lnTo>
                  <a:lnTo>
                    <a:pt x="4320" y="3414"/>
                  </a:lnTo>
                  <a:lnTo>
                    <a:pt x="4314" y="3420"/>
                  </a:lnTo>
                  <a:lnTo>
                    <a:pt x="4308" y="3420"/>
                  </a:lnTo>
                  <a:lnTo>
                    <a:pt x="4302" y="3420"/>
                  </a:lnTo>
                  <a:lnTo>
                    <a:pt x="4302" y="3426"/>
                  </a:lnTo>
                  <a:lnTo>
                    <a:pt x="4296" y="3426"/>
                  </a:lnTo>
                  <a:lnTo>
                    <a:pt x="4290" y="3426"/>
                  </a:lnTo>
                  <a:lnTo>
                    <a:pt x="4284" y="3426"/>
                  </a:lnTo>
                  <a:lnTo>
                    <a:pt x="4278" y="3432"/>
                  </a:lnTo>
                  <a:lnTo>
                    <a:pt x="4266" y="3432"/>
                  </a:lnTo>
                  <a:lnTo>
                    <a:pt x="4248" y="3438"/>
                  </a:lnTo>
                  <a:lnTo>
                    <a:pt x="4212" y="3444"/>
                  </a:lnTo>
                  <a:lnTo>
                    <a:pt x="4182" y="3456"/>
                  </a:lnTo>
                  <a:lnTo>
                    <a:pt x="4146" y="3462"/>
                  </a:lnTo>
                  <a:lnTo>
                    <a:pt x="4110" y="3468"/>
                  </a:lnTo>
                  <a:lnTo>
                    <a:pt x="4104" y="3468"/>
                  </a:lnTo>
                  <a:lnTo>
                    <a:pt x="4080" y="3474"/>
                  </a:lnTo>
                  <a:lnTo>
                    <a:pt x="4062" y="3480"/>
                  </a:lnTo>
                  <a:lnTo>
                    <a:pt x="4044" y="3480"/>
                  </a:lnTo>
                  <a:lnTo>
                    <a:pt x="4014" y="3492"/>
                  </a:lnTo>
                  <a:lnTo>
                    <a:pt x="3978" y="3498"/>
                  </a:lnTo>
                  <a:lnTo>
                    <a:pt x="3966" y="3498"/>
                  </a:lnTo>
                  <a:lnTo>
                    <a:pt x="3948" y="3504"/>
                  </a:lnTo>
                  <a:lnTo>
                    <a:pt x="3942" y="3504"/>
                  </a:lnTo>
                  <a:lnTo>
                    <a:pt x="3912" y="3510"/>
                  </a:lnTo>
                  <a:lnTo>
                    <a:pt x="3876" y="3522"/>
                  </a:lnTo>
                  <a:lnTo>
                    <a:pt x="3846" y="3528"/>
                  </a:lnTo>
                  <a:lnTo>
                    <a:pt x="3810" y="3534"/>
                  </a:lnTo>
                  <a:lnTo>
                    <a:pt x="3798" y="3540"/>
                  </a:lnTo>
                  <a:lnTo>
                    <a:pt x="3774" y="3546"/>
                  </a:lnTo>
                  <a:lnTo>
                    <a:pt x="3768" y="3546"/>
                  </a:lnTo>
                  <a:lnTo>
                    <a:pt x="3762" y="3546"/>
                  </a:lnTo>
                  <a:lnTo>
                    <a:pt x="3750" y="3552"/>
                  </a:lnTo>
                  <a:lnTo>
                    <a:pt x="3744" y="3552"/>
                  </a:lnTo>
                  <a:lnTo>
                    <a:pt x="3714" y="3558"/>
                  </a:lnTo>
                  <a:lnTo>
                    <a:pt x="3708" y="3558"/>
                  </a:lnTo>
                  <a:lnTo>
                    <a:pt x="3678" y="3564"/>
                  </a:lnTo>
                  <a:lnTo>
                    <a:pt x="3642" y="3576"/>
                  </a:lnTo>
                  <a:lnTo>
                    <a:pt x="3636" y="3576"/>
                  </a:lnTo>
                  <a:lnTo>
                    <a:pt x="3630" y="3576"/>
                  </a:lnTo>
                  <a:lnTo>
                    <a:pt x="3606" y="3582"/>
                  </a:lnTo>
                  <a:lnTo>
                    <a:pt x="3600" y="3582"/>
                  </a:lnTo>
                  <a:lnTo>
                    <a:pt x="3576" y="3588"/>
                  </a:lnTo>
                  <a:lnTo>
                    <a:pt x="3558" y="3594"/>
                  </a:lnTo>
                  <a:lnTo>
                    <a:pt x="3540" y="3600"/>
                  </a:lnTo>
                  <a:lnTo>
                    <a:pt x="3534" y="3600"/>
                  </a:lnTo>
                  <a:lnTo>
                    <a:pt x="3528" y="3600"/>
                  </a:lnTo>
                  <a:lnTo>
                    <a:pt x="3510" y="3606"/>
                  </a:lnTo>
                  <a:lnTo>
                    <a:pt x="3504" y="3606"/>
                  </a:lnTo>
                  <a:lnTo>
                    <a:pt x="3498" y="3606"/>
                  </a:lnTo>
                  <a:lnTo>
                    <a:pt x="3480" y="3612"/>
                  </a:lnTo>
                  <a:lnTo>
                    <a:pt x="3474" y="3612"/>
                  </a:lnTo>
                  <a:lnTo>
                    <a:pt x="3444" y="3618"/>
                  </a:lnTo>
                  <a:lnTo>
                    <a:pt x="3426" y="3624"/>
                  </a:lnTo>
                  <a:lnTo>
                    <a:pt x="3420" y="3630"/>
                  </a:lnTo>
                  <a:lnTo>
                    <a:pt x="3414" y="3636"/>
                  </a:lnTo>
                  <a:lnTo>
                    <a:pt x="3390" y="3660"/>
                  </a:lnTo>
                  <a:lnTo>
                    <a:pt x="3366" y="3684"/>
                  </a:lnTo>
                  <a:lnTo>
                    <a:pt x="3360" y="3690"/>
                  </a:lnTo>
                  <a:lnTo>
                    <a:pt x="3342" y="3708"/>
                  </a:lnTo>
                  <a:lnTo>
                    <a:pt x="3318" y="3732"/>
                  </a:lnTo>
                  <a:lnTo>
                    <a:pt x="3306" y="3744"/>
                  </a:lnTo>
                  <a:lnTo>
                    <a:pt x="3294" y="3756"/>
                  </a:lnTo>
                  <a:lnTo>
                    <a:pt x="3288" y="3762"/>
                  </a:lnTo>
                  <a:lnTo>
                    <a:pt x="3276" y="3774"/>
                  </a:lnTo>
                  <a:lnTo>
                    <a:pt x="3270" y="3786"/>
                  </a:lnTo>
                  <a:lnTo>
                    <a:pt x="3246" y="3804"/>
                  </a:lnTo>
                  <a:lnTo>
                    <a:pt x="3246" y="3810"/>
                  </a:lnTo>
                  <a:lnTo>
                    <a:pt x="3222" y="3828"/>
                  </a:lnTo>
                  <a:lnTo>
                    <a:pt x="3222" y="3834"/>
                  </a:lnTo>
                  <a:lnTo>
                    <a:pt x="3216" y="3840"/>
                  </a:lnTo>
                  <a:lnTo>
                    <a:pt x="3198" y="3852"/>
                  </a:lnTo>
                  <a:lnTo>
                    <a:pt x="3174" y="3876"/>
                  </a:lnTo>
                  <a:lnTo>
                    <a:pt x="3150" y="3900"/>
                  </a:lnTo>
                  <a:lnTo>
                    <a:pt x="3126" y="3930"/>
                  </a:lnTo>
                  <a:lnTo>
                    <a:pt x="3126" y="3936"/>
                  </a:lnTo>
                  <a:lnTo>
                    <a:pt x="3102" y="3954"/>
                  </a:lnTo>
                  <a:lnTo>
                    <a:pt x="3090" y="3972"/>
                  </a:lnTo>
                  <a:lnTo>
                    <a:pt x="3084" y="3978"/>
                  </a:lnTo>
                  <a:lnTo>
                    <a:pt x="3060" y="4002"/>
                  </a:lnTo>
                  <a:lnTo>
                    <a:pt x="3036" y="4026"/>
                  </a:lnTo>
                  <a:lnTo>
                    <a:pt x="3024" y="4038"/>
                  </a:lnTo>
                  <a:lnTo>
                    <a:pt x="3012" y="4050"/>
                  </a:lnTo>
                  <a:lnTo>
                    <a:pt x="2988" y="4074"/>
                  </a:lnTo>
                  <a:lnTo>
                    <a:pt x="2976" y="4086"/>
                  </a:lnTo>
                  <a:lnTo>
                    <a:pt x="2970" y="4092"/>
                  </a:lnTo>
                  <a:lnTo>
                    <a:pt x="2964" y="4098"/>
                  </a:lnTo>
                  <a:lnTo>
                    <a:pt x="2952" y="4116"/>
                  </a:lnTo>
                  <a:lnTo>
                    <a:pt x="2946" y="4116"/>
                  </a:lnTo>
                  <a:lnTo>
                    <a:pt x="2940" y="4122"/>
                  </a:lnTo>
                  <a:lnTo>
                    <a:pt x="2916" y="4152"/>
                  </a:lnTo>
                  <a:lnTo>
                    <a:pt x="2904" y="4158"/>
                  </a:lnTo>
                  <a:lnTo>
                    <a:pt x="2892" y="4176"/>
                  </a:lnTo>
                  <a:lnTo>
                    <a:pt x="2886" y="4176"/>
                  </a:lnTo>
                  <a:lnTo>
                    <a:pt x="2880" y="4182"/>
                  </a:lnTo>
                  <a:lnTo>
                    <a:pt x="2868" y="4200"/>
                  </a:lnTo>
                  <a:lnTo>
                    <a:pt x="2856" y="4212"/>
                  </a:lnTo>
                  <a:lnTo>
                    <a:pt x="2760" y="4314"/>
                  </a:lnTo>
                  <a:lnTo>
                    <a:pt x="2766" y="4212"/>
                  </a:lnTo>
                  <a:lnTo>
                    <a:pt x="2766" y="4182"/>
                  </a:lnTo>
                  <a:lnTo>
                    <a:pt x="2766" y="4152"/>
                  </a:lnTo>
                  <a:lnTo>
                    <a:pt x="2766" y="4122"/>
                  </a:lnTo>
                  <a:lnTo>
                    <a:pt x="2706" y="4092"/>
                  </a:lnTo>
                  <a:lnTo>
                    <a:pt x="2436" y="3942"/>
                  </a:lnTo>
                  <a:lnTo>
                    <a:pt x="2406" y="3924"/>
                  </a:lnTo>
                  <a:lnTo>
                    <a:pt x="2280" y="3852"/>
                  </a:lnTo>
                  <a:lnTo>
                    <a:pt x="2256" y="3852"/>
                  </a:lnTo>
                  <a:lnTo>
                    <a:pt x="2232" y="3852"/>
                  </a:lnTo>
                  <a:lnTo>
                    <a:pt x="2220" y="3846"/>
                  </a:lnTo>
                  <a:lnTo>
                    <a:pt x="2220" y="3852"/>
                  </a:lnTo>
                  <a:lnTo>
                    <a:pt x="2220" y="3858"/>
                  </a:lnTo>
                  <a:lnTo>
                    <a:pt x="2214" y="3864"/>
                  </a:lnTo>
                  <a:lnTo>
                    <a:pt x="2202" y="3852"/>
                  </a:lnTo>
                  <a:lnTo>
                    <a:pt x="2190" y="3852"/>
                  </a:lnTo>
                  <a:lnTo>
                    <a:pt x="2184" y="3852"/>
                  </a:lnTo>
                  <a:lnTo>
                    <a:pt x="2178" y="3864"/>
                  </a:lnTo>
                  <a:lnTo>
                    <a:pt x="2178" y="3870"/>
                  </a:lnTo>
                  <a:lnTo>
                    <a:pt x="2166" y="3876"/>
                  </a:lnTo>
                  <a:lnTo>
                    <a:pt x="2148" y="3876"/>
                  </a:lnTo>
                  <a:lnTo>
                    <a:pt x="2148" y="3870"/>
                  </a:lnTo>
                  <a:lnTo>
                    <a:pt x="2148" y="3864"/>
                  </a:lnTo>
                  <a:lnTo>
                    <a:pt x="2142" y="3864"/>
                  </a:lnTo>
                  <a:lnTo>
                    <a:pt x="2136" y="3864"/>
                  </a:lnTo>
                  <a:lnTo>
                    <a:pt x="2130" y="3864"/>
                  </a:lnTo>
                  <a:lnTo>
                    <a:pt x="2130" y="3858"/>
                  </a:lnTo>
                  <a:lnTo>
                    <a:pt x="2124" y="3858"/>
                  </a:lnTo>
                  <a:lnTo>
                    <a:pt x="2118" y="3858"/>
                  </a:lnTo>
                  <a:lnTo>
                    <a:pt x="2112" y="3858"/>
                  </a:lnTo>
                  <a:lnTo>
                    <a:pt x="2106" y="3858"/>
                  </a:lnTo>
                  <a:lnTo>
                    <a:pt x="2100" y="3858"/>
                  </a:lnTo>
                  <a:lnTo>
                    <a:pt x="2100" y="3852"/>
                  </a:lnTo>
                  <a:lnTo>
                    <a:pt x="2094" y="3852"/>
                  </a:lnTo>
                  <a:lnTo>
                    <a:pt x="2094" y="3846"/>
                  </a:lnTo>
                  <a:lnTo>
                    <a:pt x="2088" y="3846"/>
                  </a:lnTo>
                  <a:lnTo>
                    <a:pt x="2076" y="3834"/>
                  </a:lnTo>
                  <a:lnTo>
                    <a:pt x="2076" y="3828"/>
                  </a:lnTo>
                  <a:lnTo>
                    <a:pt x="2070" y="3828"/>
                  </a:lnTo>
                  <a:lnTo>
                    <a:pt x="2058" y="3822"/>
                  </a:lnTo>
                  <a:lnTo>
                    <a:pt x="2052" y="3810"/>
                  </a:lnTo>
                  <a:lnTo>
                    <a:pt x="2046" y="3810"/>
                  </a:lnTo>
                  <a:lnTo>
                    <a:pt x="2040" y="3810"/>
                  </a:lnTo>
                  <a:lnTo>
                    <a:pt x="2034" y="3804"/>
                  </a:lnTo>
                  <a:lnTo>
                    <a:pt x="2028" y="3804"/>
                  </a:lnTo>
                  <a:lnTo>
                    <a:pt x="2022" y="3804"/>
                  </a:lnTo>
                  <a:lnTo>
                    <a:pt x="2016" y="3804"/>
                  </a:lnTo>
                  <a:lnTo>
                    <a:pt x="2010" y="3804"/>
                  </a:lnTo>
                  <a:lnTo>
                    <a:pt x="2004" y="3810"/>
                  </a:lnTo>
                  <a:lnTo>
                    <a:pt x="1998" y="3816"/>
                  </a:lnTo>
                  <a:lnTo>
                    <a:pt x="1992" y="3822"/>
                  </a:lnTo>
                  <a:lnTo>
                    <a:pt x="1992" y="3828"/>
                  </a:lnTo>
                  <a:lnTo>
                    <a:pt x="1986" y="3834"/>
                  </a:lnTo>
                  <a:lnTo>
                    <a:pt x="1986" y="3846"/>
                  </a:lnTo>
                  <a:lnTo>
                    <a:pt x="1986" y="3852"/>
                  </a:lnTo>
                  <a:lnTo>
                    <a:pt x="1986" y="3858"/>
                  </a:lnTo>
                  <a:lnTo>
                    <a:pt x="1992" y="3858"/>
                  </a:lnTo>
                  <a:lnTo>
                    <a:pt x="1998" y="3864"/>
                  </a:lnTo>
                  <a:lnTo>
                    <a:pt x="2004" y="3864"/>
                  </a:lnTo>
                  <a:lnTo>
                    <a:pt x="2004" y="3870"/>
                  </a:lnTo>
                  <a:lnTo>
                    <a:pt x="2010" y="3870"/>
                  </a:lnTo>
                  <a:lnTo>
                    <a:pt x="2010" y="3876"/>
                  </a:lnTo>
                  <a:lnTo>
                    <a:pt x="2004" y="3876"/>
                  </a:lnTo>
                  <a:lnTo>
                    <a:pt x="1998" y="3882"/>
                  </a:lnTo>
                  <a:lnTo>
                    <a:pt x="1992" y="3882"/>
                  </a:lnTo>
                  <a:lnTo>
                    <a:pt x="1986" y="3882"/>
                  </a:lnTo>
                  <a:lnTo>
                    <a:pt x="1980" y="3888"/>
                  </a:lnTo>
                  <a:lnTo>
                    <a:pt x="1974" y="3888"/>
                  </a:lnTo>
                  <a:lnTo>
                    <a:pt x="1980" y="3894"/>
                  </a:lnTo>
                  <a:lnTo>
                    <a:pt x="1980" y="3900"/>
                  </a:lnTo>
                  <a:lnTo>
                    <a:pt x="1974" y="3900"/>
                  </a:lnTo>
                  <a:lnTo>
                    <a:pt x="1974" y="3906"/>
                  </a:lnTo>
                  <a:lnTo>
                    <a:pt x="1968" y="3912"/>
                  </a:lnTo>
                  <a:lnTo>
                    <a:pt x="1968" y="3918"/>
                  </a:lnTo>
                  <a:lnTo>
                    <a:pt x="1962" y="3924"/>
                  </a:lnTo>
                  <a:lnTo>
                    <a:pt x="1962" y="3930"/>
                  </a:lnTo>
                  <a:lnTo>
                    <a:pt x="1968" y="3930"/>
                  </a:lnTo>
                  <a:lnTo>
                    <a:pt x="1968" y="3942"/>
                  </a:lnTo>
                  <a:lnTo>
                    <a:pt x="1968" y="3948"/>
                  </a:lnTo>
                  <a:lnTo>
                    <a:pt x="1968" y="3960"/>
                  </a:lnTo>
                  <a:lnTo>
                    <a:pt x="1968" y="3966"/>
                  </a:lnTo>
                  <a:lnTo>
                    <a:pt x="1962" y="3972"/>
                  </a:lnTo>
                  <a:lnTo>
                    <a:pt x="1956" y="3972"/>
                  </a:lnTo>
                  <a:lnTo>
                    <a:pt x="1956" y="3978"/>
                  </a:lnTo>
                  <a:lnTo>
                    <a:pt x="1956" y="3984"/>
                  </a:lnTo>
                  <a:lnTo>
                    <a:pt x="1962" y="3984"/>
                  </a:lnTo>
                  <a:lnTo>
                    <a:pt x="1968" y="3990"/>
                  </a:lnTo>
                  <a:lnTo>
                    <a:pt x="1974" y="3990"/>
                  </a:lnTo>
                  <a:lnTo>
                    <a:pt x="1974" y="3996"/>
                  </a:lnTo>
                  <a:lnTo>
                    <a:pt x="1980" y="3996"/>
                  </a:lnTo>
                  <a:lnTo>
                    <a:pt x="1980" y="4002"/>
                  </a:lnTo>
                  <a:lnTo>
                    <a:pt x="1986" y="4002"/>
                  </a:lnTo>
                  <a:lnTo>
                    <a:pt x="1986" y="4008"/>
                  </a:lnTo>
                  <a:lnTo>
                    <a:pt x="1986" y="4014"/>
                  </a:lnTo>
                  <a:lnTo>
                    <a:pt x="1986" y="4020"/>
                  </a:lnTo>
                  <a:lnTo>
                    <a:pt x="1980" y="4020"/>
                  </a:lnTo>
                  <a:lnTo>
                    <a:pt x="1974" y="4020"/>
                  </a:lnTo>
                  <a:lnTo>
                    <a:pt x="1974" y="4026"/>
                  </a:lnTo>
                  <a:lnTo>
                    <a:pt x="1974" y="4032"/>
                  </a:lnTo>
                  <a:lnTo>
                    <a:pt x="1974" y="4038"/>
                  </a:lnTo>
                  <a:lnTo>
                    <a:pt x="1974" y="4044"/>
                  </a:lnTo>
                  <a:lnTo>
                    <a:pt x="1968" y="4044"/>
                  </a:lnTo>
                  <a:lnTo>
                    <a:pt x="1962" y="4044"/>
                  </a:lnTo>
                  <a:lnTo>
                    <a:pt x="1956" y="4038"/>
                  </a:lnTo>
                  <a:lnTo>
                    <a:pt x="1950" y="4038"/>
                  </a:lnTo>
                  <a:lnTo>
                    <a:pt x="1950" y="4044"/>
                  </a:lnTo>
                  <a:lnTo>
                    <a:pt x="1950" y="4050"/>
                  </a:lnTo>
                  <a:lnTo>
                    <a:pt x="1950" y="4056"/>
                  </a:lnTo>
                  <a:lnTo>
                    <a:pt x="1944" y="4062"/>
                  </a:lnTo>
                  <a:lnTo>
                    <a:pt x="1944" y="4068"/>
                  </a:lnTo>
                  <a:lnTo>
                    <a:pt x="1944" y="4074"/>
                  </a:lnTo>
                  <a:lnTo>
                    <a:pt x="1938" y="4074"/>
                  </a:lnTo>
                  <a:lnTo>
                    <a:pt x="1932" y="4074"/>
                  </a:lnTo>
                  <a:lnTo>
                    <a:pt x="1932" y="4080"/>
                  </a:lnTo>
                  <a:lnTo>
                    <a:pt x="1926" y="4080"/>
                  </a:lnTo>
                  <a:lnTo>
                    <a:pt x="1920" y="4080"/>
                  </a:lnTo>
                  <a:lnTo>
                    <a:pt x="1914" y="4080"/>
                  </a:lnTo>
                  <a:lnTo>
                    <a:pt x="1908" y="4080"/>
                  </a:lnTo>
                  <a:lnTo>
                    <a:pt x="1908" y="4086"/>
                  </a:lnTo>
                  <a:lnTo>
                    <a:pt x="1902" y="4086"/>
                  </a:lnTo>
                  <a:lnTo>
                    <a:pt x="1902" y="4092"/>
                  </a:lnTo>
                  <a:lnTo>
                    <a:pt x="1896" y="4092"/>
                  </a:lnTo>
                  <a:lnTo>
                    <a:pt x="1896" y="4098"/>
                  </a:lnTo>
                  <a:lnTo>
                    <a:pt x="1902" y="4104"/>
                  </a:lnTo>
                  <a:lnTo>
                    <a:pt x="1896" y="4110"/>
                  </a:lnTo>
                  <a:lnTo>
                    <a:pt x="1890" y="4110"/>
                  </a:lnTo>
                  <a:lnTo>
                    <a:pt x="1884" y="4116"/>
                  </a:lnTo>
                  <a:lnTo>
                    <a:pt x="1878" y="4116"/>
                  </a:lnTo>
                  <a:lnTo>
                    <a:pt x="1872" y="4116"/>
                  </a:lnTo>
                  <a:lnTo>
                    <a:pt x="1866" y="4116"/>
                  </a:lnTo>
                  <a:lnTo>
                    <a:pt x="1866" y="4122"/>
                  </a:lnTo>
                  <a:lnTo>
                    <a:pt x="1860" y="4116"/>
                  </a:lnTo>
                  <a:lnTo>
                    <a:pt x="1854" y="4116"/>
                  </a:lnTo>
                  <a:lnTo>
                    <a:pt x="1854" y="4122"/>
                  </a:lnTo>
                  <a:lnTo>
                    <a:pt x="1848" y="4116"/>
                  </a:lnTo>
                  <a:lnTo>
                    <a:pt x="1848" y="4110"/>
                  </a:lnTo>
                  <a:lnTo>
                    <a:pt x="1848" y="4104"/>
                  </a:lnTo>
                  <a:lnTo>
                    <a:pt x="1854" y="4098"/>
                  </a:lnTo>
                  <a:lnTo>
                    <a:pt x="1854" y="4092"/>
                  </a:lnTo>
                  <a:lnTo>
                    <a:pt x="1848" y="4086"/>
                  </a:lnTo>
                  <a:lnTo>
                    <a:pt x="1842" y="4080"/>
                  </a:lnTo>
                  <a:lnTo>
                    <a:pt x="1842" y="4074"/>
                  </a:lnTo>
                  <a:lnTo>
                    <a:pt x="1842" y="4068"/>
                  </a:lnTo>
                  <a:lnTo>
                    <a:pt x="1836" y="4062"/>
                  </a:lnTo>
                  <a:lnTo>
                    <a:pt x="1842" y="4062"/>
                  </a:lnTo>
                  <a:lnTo>
                    <a:pt x="1842" y="4056"/>
                  </a:lnTo>
                  <a:lnTo>
                    <a:pt x="1842" y="4050"/>
                  </a:lnTo>
                  <a:lnTo>
                    <a:pt x="1842" y="4044"/>
                  </a:lnTo>
                  <a:lnTo>
                    <a:pt x="1842" y="4038"/>
                  </a:lnTo>
                  <a:lnTo>
                    <a:pt x="1848" y="4038"/>
                  </a:lnTo>
                  <a:lnTo>
                    <a:pt x="1842" y="4038"/>
                  </a:lnTo>
                  <a:lnTo>
                    <a:pt x="1842" y="4032"/>
                  </a:lnTo>
                  <a:lnTo>
                    <a:pt x="1842" y="4026"/>
                  </a:lnTo>
                  <a:lnTo>
                    <a:pt x="1836" y="4026"/>
                  </a:lnTo>
                  <a:lnTo>
                    <a:pt x="1836" y="4020"/>
                  </a:lnTo>
                  <a:lnTo>
                    <a:pt x="1842" y="4020"/>
                  </a:lnTo>
                  <a:lnTo>
                    <a:pt x="1842" y="4026"/>
                  </a:lnTo>
                  <a:lnTo>
                    <a:pt x="1842" y="4020"/>
                  </a:lnTo>
                  <a:lnTo>
                    <a:pt x="1836" y="4020"/>
                  </a:lnTo>
                  <a:lnTo>
                    <a:pt x="1836" y="4014"/>
                  </a:lnTo>
                  <a:lnTo>
                    <a:pt x="1830" y="4014"/>
                  </a:lnTo>
                  <a:lnTo>
                    <a:pt x="1830" y="4008"/>
                  </a:lnTo>
                  <a:lnTo>
                    <a:pt x="1824" y="4008"/>
                  </a:lnTo>
                  <a:lnTo>
                    <a:pt x="1824" y="4002"/>
                  </a:lnTo>
                  <a:lnTo>
                    <a:pt x="1818" y="3996"/>
                  </a:lnTo>
                  <a:lnTo>
                    <a:pt x="1812" y="3996"/>
                  </a:lnTo>
                  <a:lnTo>
                    <a:pt x="1806" y="3996"/>
                  </a:lnTo>
                  <a:lnTo>
                    <a:pt x="1806" y="3990"/>
                  </a:lnTo>
                  <a:lnTo>
                    <a:pt x="1806" y="3984"/>
                  </a:lnTo>
                  <a:lnTo>
                    <a:pt x="1800" y="3984"/>
                  </a:lnTo>
                  <a:lnTo>
                    <a:pt x="1800" y="3978"/>
                  </a:lnTo>
                  <a:lnTo>
                    <a:pt x="1806" y="3978"/>
                  </a:lnTo>
                  <a:lnTo>
                    <a:pt x="1806" y="3972"/>
                  </a:lnTo>
                  <a:lnTo>
                    <a:pt x="1800" y="3972"/>
                  </a:lnTo>
                  <a:lnTo>
                    <a:pt x="1806" y="3972"/>
                  </a:lnTo>
                  <a:lnTo>
                    <a:pt x="1800" y="3966"/>
                  </a:lnTo>
                  <a:lnTo>
                    <a:pt x="1800" y="3960"/>
                  </a:lnTo>
                  <a:lnTo>
                    <a:pt x="1806" y="3960"/>
                  </a:lnTo>
                  <a:lnTo>
                    <a:pt x="1806" y="3954"/>
                  </a:lnTo>
                  <a:lnTo>
                    <a:pt x="1800" y="3954"/>
                  </a:lnTo>
                  <a:lnTo>
                    <a:pt x="1800" y="3948"/>
                  </a:lnTo>
                  <a:lnTo>
                    <a:pt x="1794" y="3948"/>
                  </a:lnTo>
                  <a:lnTo>
                    <a:pt x="1794" y="3942"/>
                  </a:lnTo>
                  <a:lnTo>
                    <a:pt x="1788" y="3942"/>
                  </a:lnTo>
                  <a:lnTo>
                    <a:pt x="1782" y="3942"/>
                  </a:lnTo>
                  <a:lnTo>
                    <a:pt x="1776" y="3936"/>
                  </a:lnTo>
                  <a:lnTo>
                    <a:pt x="1776" y="3930"/>
                  </a:lnTo>
                  <a:lnTo>
                    <a:pt x="1770" y="3930"/>
                  </a:lnTo>
                  <a:lnTo>
                    <a:pt x="1770" y="3924"/>
                  </a:lnTo>
                  <a:lnTo>
                    <a:pt x="1770" y="3918"/>
                  </a:lnTo>
                  <a:lnTo>
                    <a:pt x="1770" y="3912"/>
                  </a:lnTo>
                  <a:lnTo>
                    <a:pt x="1770" y="3918"/>
                  </a:lnTo>
                  <a:lnTo>
                    <a:pt x="1764" y="3912"/>
                  </a:lnTo>
                  <a:lnTo>
                    <a:pt x="1770" y="3912"/>
                  </a:lnTo>
                  <a:lnTo>
                    <a:pt x="1764" y="3912"/>
                  </a:lnTo>
                  <a:lnTo>
                    <a:pt x="1764" y="3906"/>
                  </a:lnTo>
                  <a:lnTo>
                    <a:pt x="1758" y="3906"/>
                  </a:lnTo>
                  <a:lnTo>
                    <a:pt x="1758" y="3912"/>
                  </a:lnTo>
                  <a:lnTo>
                    <a:pt x="1764" y="3912"/>
                  </a:lnTo>
                  <a:lnTo>
                    <a:pt x="1764" y="3918"/>
                  </a:lnTo>
                  <a:lnTo>
                    <a:pt x="1764" y="3924"/>
                  </a:lnTo>
                  <a:lnTo>
                    <a:pt x="1758" y="3924"/>
                  </a:lnTo>
                  <a:lnTo>
                    <a:pt x="1758" y="3930"/>
                  </a:lnTo>
                  <a:lnTo>
                    <a:pt x="1758" y="3936"/>
                  </a:lnTo>
                  <a:lnTo>
                    <a:pt x="1758" y="3942"/>
                  </a:lnTo>
                  <a:lnTo>
                    <a:pt x="1758" y="3948"/>
                  </a:lnTo>
                  <a:lnTo>
                    <a:pt x="1758" y="3942"/>
                  </a:lnTo>
                  <a:lnTo>
                    <a:pt x="1758" y="3936"/>
                  </a:lnTo>
                  <a:lnTo>
                    <a:pt x="1758" y="3930"/>
                  </a:lnTo>
                  <a:lnTo>
                    <a:pt x="1758" y="3924"/>
                  </a:lnTo>
                  <a:lnTo>
                    <a:pt x="1758" y="3918"/>
                  </a:lnTo>
                  <a:lnTo>
                    <a:pt x="1752" y="3906"/>
                  </a:lnTo>
                  <a:lnTo>
                    <a:pt x="1752" y="3900"/>
                  </a:lnTo>
                  <a:lnTo>
                    <a:pt x="1752" y="3894"/>
                  </a:lnTo>
                  <a:lnTo>
                    <a:pt x="1752" y="3882"/>
                  </a:lnTo>
                  <a:lnTo>
                    <a:pt x="1752" y="3876"/>
                  </a:lnTo>
                  <a:lnTo>
                    <a:pt x="1752" y="3870"/>
                  </a:lnTo>
                  <a:lnTo>
                    <a:pt x="1752" y="3864"/>
                  </a:lnTo>
                  <a:lnTo>
                    <a:pt x="1752" y="3870"/>
                  </a:lnTo>
                  <a:lnTo>
                    <a:pt x="1746" y="3870"/>
                  </a:lnTo>
                  <a:lnTo>
                    <a:pt x="1746" y="3864"/>
                  </a:lnTo>
                  <a:lnTo>
                    <a:pt x="1746" y="3858"/>
                  </a:lnTo>
                  <a:lnTo>
                    <a:pt x="1752" y="3852"/>
                  </a:lnTo>
                  <a:lnTo>
                    <a:pt x="1752" y="3846"/>
                  </a:lnTo>
                  <a:lnTo>
                    <a:pt x="1752" y="3840"/>
                  </a:lnTo>
                  <a:lnTo>
                    <a:pt x="1746" y="3834"/>
                  </a:lnTo>
                  <a:lnTo>
                    <a:pt x="1740" y="3834"/>
                  </a:lnTo>
                  <a:lnTo>
                    <a:pt x="1740" y="3840"/>
                  </a:lnTo>
                  <a:lnTo>
                    <a:pt x="1740" y="3834"/>
                  </a:lnTo>
                  <a:lnTo>
                    <a:pt x="1734" y="3828"/>
                  </a:lnTo>
                  <a:lnTo>
                    <a:pt x="1740" y="3828"/>
                  </a:lnTo>
                  <a:lnTo>
                    <a:pt x="1734" y="3828"/>
                  </a:lnTo>
                  <a:lnTo>
                    <a:pt x="1734" y="3822"/>
                  </a:lnTo>
                  <a:lnTo>
                    <a:pt x="1728" y="3822"/>
                  </a:lnTo>
                  <a:lnTo>
                    <a:pt x="1728" y="3816"/>
                  </a:lnTo>
                  <a:lnTo>
                    <a:pt x="1722" y="3816"/>
                  </a:lnTo>
                  <a:lnTo>
                    <a:pt x="1722" y="3810"/>
                  </a:lnTo>
                  <a:lnTo>
                    <a:pt x="1716" y="3810"/>
                  </a:lnTo>
                  <a:lnTo>
                    <a:pt x="1716" y="3804"/>
                  </a:lnTo>
                  <a:lnTo>
                    <a:pt x="1710" y="3804"/>
                  </a:lnTo>
                  <a:lnTo>
                    <a:pt x="1710" y="3810"/>
                  </a:lnTo>
                  <a:lnTo>
                    <a:pt x="1710" y="3804"/>
                  </a:lnTo>
                  <a:lnTo>
                    <a:pt x="1710" y="3810"/>
                  </a:lnTo>
                  <a:lnTo>
                    <a:pt x="1704" y="3804"/>
                  </a:lnTo>
                  <a:lnTo>
                    <a:pt x="1710" y="3798"/>
                  </a:lnTo>
                  <a:lnTo>
                    <a:pt x="1704" y="3798"/>
                  </a:lnTo>
                  <a:lnTo>
                    <a:pt x="1698" y="3786"/>
                  </a:lnTo>
                  <a:lnTo>
                    <a:pt x="1692" y="3780"/>
                  </a:lnTo>
                  <a:lnTo>
                    <a:pt x="1686" y="3780"/>
                  </a:lnTo>
                  <a:lnTo>
                    <a:pt x="1680" y="3774"/>
                  </a:lnTo>
                  <a:lnTo>
                    <a:pt x="1674" y="3774"/>
                  </a:lnTo>
                  <a:lnTo>
                    <a:pt x="1674" y="3768"/>
                  </a:lnTo>
                  <a:lnTo>
                    <a:pt x="1668" y="3768"/>
                  </a:lnTo>
                  <a:lnTo>
                    <a:pt x="1662" y="3768"/>
                  </a:lnTo>
                  <a:lnTo>
                    <a:pt x="1662" y="3762"/>
                  </a:lnTo>
                  <a:lnTo>
                    <a:pt x="1656" y="3762"/>
                  </a:lnTo>
                  <a:lnTo>
                    <a:pt x="1656" y="3756"/>
                  </a:lnTo>
                  <a:lnTo>
                    <a:pt x="1650" y="3756"/>
                  </a:lnTo>
                  <a:lnTo>
                    <a:pt x="1650" y="3750"/>
                  </a:lnTo>
                  <a:lnTo>
                    <a:pt x="1644" y="3744"/>
                  </a:lnTo>
                  <a:lnTo>
                    <a:pt x="1650" y="3744"/>
                  </a:lnTo>
                  <a:lnTo>
                    <a:pt x="1644" y="3744"/>
                  </a:lnTo>
                  <a:lnTo>
                    <a:pt x="1638" y="3744"/>
                  </a:lnTo>
                  <a:lnTo>
                    <a:pt x="1632" y="3744"/>
                  </a:lnTo>
                  <a:lnTo>
                    <a:pt x="1626" y="3738"/>
                  </a:lnTo>
                  <a:lnTo>
                    <a:pt x="1626" y="3732"/>
                  </a:lnTo>
                  <a:lnTo>
                    <a:pt x="1620" y="3732"/>
                  </a:lnTo>
                  <a:lnTo>
                    <a:pt x="1620" y="3726"/>
                  </a:lnTo>
                  <a:lnTo>
                    <a:pt x="1614" y="3726"/>
                  </a:lnTo>
                  <a:lnTo>
                    <a:pt x="1602" y="3714"/>
                  </a:lnTo>
                  <a:lnTo>
                    <a:pt x="1602" y="3708"/>
                  </a:lnTo>
                  <a:lnTo>
                    <a:pt x="1596" y="3708"/>
                  </a:lnTo>
                  <a:lnTo>
                    <a:pt x="1596" y="3702"/>
                  </a:lnTo>
                  <a:lnTo>
                    <a:pt x="1590" y="3702"/>
                  </a:lnTo>
                  <a:lnTo>
                    <a:pt x="1596" y="3702"/>
                  </a:lnTo>
                  <a:lnTo>
                    <a:pt x="1596" y="3696"/>
                  </a:lnTo>
                  <a:lnTo>
                    <a:pt x="1590" y="3696"/>
                  </a:lnTo>
                  <a:lnTo>
                    <a:pt x="1584" y="3696"/>
                  </a:lnTo>
                  <a:lnTo>
                    <a:pt x="1584" y="3690"/>
                  </a:lnTo>
                  <a:lnTo>
                    <a:pt x="1590" y="3690"/>
                  </a:lnTo>
                  <a:lnTo>
                    <a:pt x="1590" y="3684"/>
                  </a:lnTo>
                  <a:lnTo>
                    <a:pt x="1590" y="3678"/>
                  </a:lnTo>
                  <a:lnTo>
                    <a:pt x="1584" y="3678"/>
                  </a:lnTo>
                  <a:lnTo>
                    <a:pt x="1578" y="3678"/>
                  </a:lnTo>
                  <a:lnTo>
                    <a:pt x="1578" y="3672"/>
                  </a:lnTo>
                  <a:lnTo>
                    <a:pt x="1572" y="3672"/>
                  </a:lnTo>
                  <a:lnTo>
                    <a:pt x="1572" y="3666"/>
                  </a:lnTo>
                  <a:lnTo>
                    <a:pt x="1572" y="3660"/>
                  </a:lnTo>
                  <a:lnTo>
                    <a:pt x="1572" y="3654"/>
                  </a:lnTo>
                  <a:lnTo>
                    <a:pt x="1566" y="3654"/>
                  </a:lnTo>
                  <a:lnTo>
                    <a:pt x="1566" y="3648"/>
                  </a:lnTo>
                  <a:lnTo>
                    <a:pt x="1572" y="3648"/>
                  </a:lnTo>
                  <a:lnTo>
                    <a:pt x="1566" y="3648"/>
                  </a:lnTo>
                  <a:lnTo>
                    <a:pt x="1566" y="3642"/>
                  </a:lnTo>
                  <a:lnTo>
                    <a:pt x="1560" y="3642"/>
                  </a:lnTo>
                  <a:lnTo>
                    <a:pt x="1566" y="3636"/>
                  </a:lnTo>
                  <a:lnTo>
                    <a:pt x="1560" y="3636"/>
                  </a:lnTo>
                  <a:lnTo>
                    <a:pt x="1560" y="3630"/>
                  </a:lnTo>
                  <a:lnTo>
                    <a:pt x="1560" y="3636"/>
                  </a:lnTo>
                  <a:lnTo>
                    <a:pt x="1554" y="3636"/>
                  </a:lnTo>
                  <a:lnTo>
                    <a:pt x="1554" y="3630"/>
                  </a:lnTo>
                  <a:lnTo>
                    <a:pt x="1560" y="3624"/>
                  </a:lnTo>
                  <a:lnTo>
                    <a:pt x="1554" y="3624"/>
                  </a:lnTo>
                  <a:lnTo>
                    <a:pt x="1560" y="3624"/>
                  </a:lnTo>
                  <a:lnTo>
                    <a:pt x="1560" y="3618"/>
                  </a:lnTo>
                  <a:lnTo>
                    <a:pt x="1554" y="3624"/>
                  </a:lnTo>
                  <a:lnTo>
                    <a:pt x="1554" y="3618"/>
                  </a:lnTo>
                  <a:lnTo>
                    <a:pt x="1548" y="3618"/>
                  </a:lnTo>
                  <a:lnTo>
                    <a:pt x="1548" y="3612"/>
                  </a:lnTo>
                  <a:lnTo>
                    <a:pt x="1554" y="3612"/>
                  </a:lnTo>
                  <a:lnTo>
                    <a:pt x="1548" y="3612"/>
                  </a:lnTo>
                  <a:lnTo>
                    <a:pt x="1548" y="3606"/>
                  </a:lnTo>
                  <a:lnTo>
                    <a:pt x="1542" y="3600"/>
                  </a:lnTo>
                  <a:lnTo>
                    <a:pt x="1542" y="3594"/>
                  </a:lnTo>
                  <a:lnTo>
                    <a:pt x="1542" y="3588"/>
                  </a:lnTo>
                  <a:lnTo>
                    <a:pt x="1548" y="3588"/>
                  </a:lnTo>
                  <a:lnTo>
                    <a:pt x="1548" y="3582"/>
                  </a:lnTo>
                  <a:lnTo>
                    <a:pt x="1542" y="3582"/>
                  </a:lnTo>
                  <a:lnTo>
                    <a:pt x="1542" y="3576"/>
                  </a:lnTo>
                  <a:lnTo>
                    <a:pt x="1542" y="3570"/>
                  </a:lnTo>
                  <a:lnTo>
                    <a:pt x="1536" y="3570"/>
                  </a:lnTo>
                  <a:lnTo>
                    <a:pt x="1542" y="3570"/>
                  </a:lnTo>
                  <a:lnTo>
                    <a:pt x="1542" y="3576"/>
                  </a:lnTo>
                  <a:lnTo>
                    <a:pt x="1536" y="3570"/>
                  </a:lnTo>
                  <a:lnTo>
                    <a:pt x="1542" y="3564"/>
                  </a:lnTo>
                  <a:lnTo>
                    <a:pt x="1536" y="3564"/>
                  </a:lnTo>
                  <a:lnTo>
                    <a:pt x="1536" y="3558"/>
                  </a:lnTo>
                  <a:lnTo>
                    <a:pt x="1530" y="3558"/>
                  </a:lnTo>
                  <a:lnTo>
                    <a:pt x="1530" y="3552"/>
                  </a:lnTo>
                  <a:lnTo>
                    <a:pt x="1524" y="3552"/>
                  </a:lnTo>
                  <a:lnTo>
                    <a:pt x="1524" y="3546"/>
                  </a:lnTo>
                  <a:lnTo>
                    <a:pt x="1524" y="3540"/>
                  </a:lnTo>
                  <a:lnTo>
                    <a:pt x="1524" y="3546"/>
                  </a:lnTo>
                  <a:lnTo>
                    <a:pt x="1518" y="3546"/>
                  </a:lnTo>
                  <a:lnTo>
                    <a:pt x="1518" y="3540"/>
                  </a:lnTo>
                  <a:lnTo>
                    <a:pt x="1518" y="3546"/>
                  </a:lnTo>
                  <a:lnTo>
                    <a:pt x="1512" y="3546"/>
                  </a:lnTo>
                  <a:lnTo>
                    <a:pt x="1512" y="3540"/>
                  </a:lnTo>
                  <a:lnTo>
                    <a:pt x="1512" y="3546"/>
                  </a:lnTo>
                  <a:lnTo>
                    <a:pt x="1512" y="3540"/>
                  </a:lnTo>
                  <a:lnTo>
                    <a:pt x="1506" y="3546"/>
                  </a:lnTo>
                  <a:lnTo>
                    <a:pt x="1506" y="3540"/>
                  </a:lnTo>
                  <a:lnTo>
                    <a:pt x="1500" y="3540"/>
                  </a:lnTo>
                  <a:lnTo>
                    <a:pt x="1500" y="3534"/>
                  </a:lnTo>
                  <a:lnTo>
                    <a:pt x="1500" y="3528"/>
                  </a:lnTo>
                  <a:lnTo>
                    <a:pt x="1494" y="3528"/>
                  </a:lnTo>
                  <a:lnTo>
                    <a:pt x="1494" y="3522"/>
                  </a:lnTo>
                  <a:lnTo>
                    <a:pt x="1494" y="3516"/>
                  </a:lnTo>
                  <a:lnTo>
                    <a:pt x="1488" y="3516"/>
                  </a:lnTo>
                  <a:lnTo>
                    <a:pt x="1488" y="3510"/>
                  </a:lnTo>
                  <a:lnTo>
                    <a:pt x="1488" y="3504"/>
                  </a:lnTo>
                  <a:lnTo>
                    <a:pt x="1494" y="3498"/>
                  </a:lnTo>
                  <a:lnTo>
                    <a:pt x="1488" y="3498"/>
                  </a:lnTo>
                  <a:lnTo>
                    <a:pt x="1494" y="3498"/>
                  </a:lnTo>
                  <a:lnTo>
                    <a:pt x="1494" y="3492"/>
                  </a:lnTo>
                  <a:lnTo>
                    <a:pt x="1494" y="3486"/>
                  </a:lnTo>
                  <a:lnTo>
                    <a:pt x="1500" y="3480"/>
                  </a:lnTo>
                  <a:lnTo>
                    <a:pt x="1500" y="3474"/>
                  </a:lnTo>
                  <a:lnTo>
                    <a:pt x="1494" y="3474"/>
                  </a:lnTo>
                  <a:lnTo>
                    <a:pt x="1488" y="3468"/>
                  </a:lnTo>
                  <a:lnTo>
                    <a:pt x="1482" y="3468"/>
                  </a:lnTo>
                  <a:lnTo>
                    <a:pt x="1476" y="3462"/>
                  </a:lnTo>
                  <a:lnTo>
                    <a:pt x="1476" y="3456"/>
                  </a:lnTo>
                  <a:lnTo>
                    <a:pt x="1476" y="3450"/>
                  </a:lnTo>
                  <a:lnTo>
                    <a:pt x="1470" y="3444"/>
                  </a:lnTo>
                  <a:lnTo>
                    <a:pt x="1476" y="3444"/>
                  </a:lnTo>
                  <a:lnTo>
                    <a:pt x="1476" y="3438"/>
                  </a:lnTo>
                  <a:lnTo>
                    <a:pt x="1476" y="3432"/>
                  </a:lnTo>
                  <a:lnTo>
                    <a:pt x="1482" y="3432"/>
                  </a:lnTo>
                  <a:lnTo>
                    <a:pt x="1482" y="3426"/>
                  </a:lnTo>
                  <a:lnTo>
                    <a:pt x="1482" y="3420"/>
                  </a:lnTo>
                  <a:lnTo>
                    <a:pt x="1482" y="3414"/>
                  </a:lnTo>
                  <a:lnTo>
                    <a:pt x="1476" y="3408"/>
                  </a:lnTo>
                  <a:lnTo>
                    <a:pt x="1470" y="3408"/>
                  </a:lnTo>
                  <a:lnTo>
                    <a:pt x="1464" y="3408"/>
                  </a:lnTo>
                  <a:lnTo>
                    <a:pt x="1464" y="3402"/>
                  </a:lnTo>
                  <a:lnTo>
                    <a:pt x="1458" y="3402"/>
                  </a:lnTo>
                  <a:lnTo>
                    <a:pt x="1458" y="3396"/>
                  </a:lnTo>
                  <a:lnTo>
                    <a:pt x="1458" y="3390"/>
                  </a:lnTo>
                  <a:lnTo>
                    <a:pt x="1458" y="3384"/>
                  </a:lnTo>
                  <a:lnTo>
                    <a:pt x="1452" y="3384"/>
                  </a:lnTo>
                  <a:lnTo>
                    <a:pt x="1458" y="3378"/>
                  </a:lnTo>
                  <a:lnTo>
                    <a:pt x="1452" y="3378"/>
                  </a:lnTo>
                  <a:lnTo>
                    <a:pt x="1458" y="3378"/>
                  </a:lnTo>
                  <a:lnTo>
                    <a:pt x="1458" y="3372"/>
                  </a:lnTo>
                  <a:lnTo>
                    <a:pt x="1452" y="3360"/>
                  </a:lnTo>
                  <a:lnTo>
                    <a:pt x="1446" y="3360"/>
                  </a:lnTo>
                  <a:lnTo>
                    <a:pt x="1446" y="3354"/>
                  </a:lnTo>
                  <a:lnTo>
                    <a:pt x="1446" y="3348"/>
                  </a:lnTo>
                  <a:lnTo>
                    <a:pt x="1440" y="3348"/>
                  </a:lnTo>
                  <a:lnTo>
                    <a:pt x="1434" y="3342"/>
                  </a:lnTo>
                  <a:lnTo>
                    <a:pt x="1434" y="3336"/>
                  </a:lnTo>
                  <a:lnTo>
                    <a:pt x="1434" y="3330"/>
                  </a:lnTo>
                  <a:lnTo>
                    <a:pt x="1434" y="3324"/>
                  </a:lnTo>
                  <a:lnTo>
                    <a:pt x="1434" y="3318"/>
                  </a:lnTo>
                  <a:lnTo>
                    <a:pt x="1440" y="3318"/>
                  </a:lnTo>
                  <a:lnTo>
                    <a:pt x="1440" y="3312"/>
                  </a:lnTo>
                  <a:lnTo>
                    <a:pt x="1440" y="3306"/>
                  </a:lnTo>
                  <a:lnTo>
                    <a:pt x="1434" y="3306"/>
                  </a:lnTo>
                  <a:lnTo>
                    <a:pt x="1434" y="3300"/>
                  </a:lnTo>
                  <a:lnTo>
                    <a:pt x="1428" y="3300"/>
                  </a:lnTo>
                  <a:lnTo>
                    <a:pt x="1428" y="3294"/>
                  </a:lnTo>
                  <a:lnTo>
                    <a:pt x="1422" y="3294"/>
                  </a:lnTo>
                  <a:lnTo>
                    <a:pt x="1416" y="3294"/>
                  </a:lnTo>
                  <a:lnTo>
                    <a:pt x="1410" y="3288"/>
                  </a:lnTo>
                  <a:lnTo>
                    <a:pt x="1404" y="3288"/>
                  </a:lnTo>
                  <a:lnTo>
                    <a:pt x="1398" y="3288"/>
                  </a:lnTo>
                  <a:lnTo>
                    <a:pt x="1398" y="3282"/>
                  </a:lnTo>
                  <a:lnTo>
                    <a:pt x="1398" y="3276"/>
                  </a:lnTo>
                  <a:lnTo>
                    <a:pt x="1392" y="3276"/>
                  </a:lnTo>
                  <a:lnTo>
                    <a:pt x="1398" y="3276"/>
                  </a:lnTo>
                  <a:lnTo>
                    <a:pt x="1398" y="3282"/>
                  </a:lnTo>
                  <a:lnTo>
                    <a:pt x="1398" y="3276"/>
                  </a:lnTo>
                  <a:lnTo>
                    <a:pt x="1404" y="3270"/>
                  </a:lnTo>
                  <a:lnTo>
                    <a:pt x="1398" y="3270"/>
                  </a:lnTo>
                  <a:lnTo>
                    <a:pt x="1404" y="3264"/>
                  </a:lnTo>
                  <a:lnTo>
                    <a:pt x="1404" y="3258"/>
                  </a:lnTo>
                  <a:lnTo>
                    <a:pt x="1404" y="3252"/>
                  </a:lnTo>
                  <a:lnTo>
                    <a:pt x="1398" y="3252"/>
                  </a:lnTo>
                  <a:lnTo>
                    <a:pt x="1398" y="3246"/>
                  </a:lnTo>
                  <a:lnTo>
                    <a:pt x="1398" y="3240"/>
                  </a:lnTo>
                  <a:lnTo>
                    <a:pt x="1392" y="3240"/>
                  </a:lnTo>
                  <a:lnTo>
                    <a:pt x="1392" y="3234"/>
                  </a:lnTo>
                  <a:lnTo>
                    <a:pt x="1386" y="3228"/>
                  </a:lnTo>
                  <a:lnTo>
                    <a:pt x="1380" y="3228"/>
                  </a:lnTo>
                  <a:lnTo>
                    <a:pt x="1374" y="3234"/>
                  </a:lnTo>
                  <a:lnTo>
                    <a:pt x="1368" y="3234"/>
                  </a:lnTo>
                  <a:lnTo>
                    <a:pt x="1368" y="3228"/>
                  </a:lnTo>
                  <a:lnTo>
                    <a:pt x="1362" y="3228"/>
                  </a:lnTo>
                  <a:lnTo>
                    <a:pt x="1362" y="3234"/>
                  </a:lnTo>
                  <a:lnTo>
                    <a:pt x="1368" y="3240"/>
                  </a:lnTo>
                  <a:lnTo>
                    <a:pt x="1374" y="3240"/>
                  </a:lnTo>
                  <a:lnTo>
                    <a:pt x="1368" y="3240"/>
                  </a:lnTo>
                  <a:lnTo>
                    <a:pt x="1362" y="3240"/>
                  </a:lnTo>
                  <a:lnTo>
                    <a:pt x="1362" y="3234"/>
                  </a:lnTo>
                  <a:lnTo>
                    <a:pt x="1362" y="3228"/>
                  </a:lnTo>
                  <a:lnTo>
                    <a:pt x="1356" y="3228"/>
                  </a:lnTo>
                  <a:lnTo>
                    <a:pt x="1356" y="3222"/>
                  </a:lnTo>
                  <a:lnTo>
                    <a:pt x="1350" y="3222"/>
                  </a:lnTo>
                  <a:lnTo>
                    <a:pt x="1350" y="3216"/>
                  </a:lnTo>
                  <a:lnTo>
                    <a:pt x="1350" y="3210"/>
                  </a:lnTo>
                  <a:lnTo>
                    <a:pt x="1350" y="3204"/>
                  </a:lnTo>
                  <a:lnTo>
                    <a:pt x="1344" y="3204"/>
                  </a:lnTo>
                  <a:lnTo>
                    <a:pt x="1338" y="3198"/>
                  </a:lnTo>
                  <a:lnTo>
                    <a:pt x="1338" y="3192"/>
                  </a:lnTo>
                  <a:lnTo>
                    <a:pt x="1344" y="3192"/>
                  </a:lnTo>
                  <a:lnTo>
                    <a:pt x="1338" y="3186"/>
                  </a:lnTo>
                  <a:lnTo>
                    <a:pt x="1338" y="3180"/>
                  </a:lnTo>
                  <a:lnTo>
                    <a:pt x="1332" y="3180"/>
                  </a:lnTo>
                  <a:lnTo>
                    <a:pt x="1326" y="3174"/>
                  </a:lnTo>
                  <a:lnTo>
                    <a:pt x="1320" y="3174"/>
                  </a:lnTo>
                  <a:lnTo>
                    <a:pt x="1314" y="3168"/>
                  </a:lnTo>
                  <a:lnTo>
                    <a:pt x="1314" y="3162"/>
                  </a:lnTo>
                  <a:lnTo>
                    <a:pt x="1308" y="3162"/>
                  </a:lnTo>
                  <a:lnTo>
                    <a:pt x="1302" y="3156"/>
                  </a:lnTo>
                  <a:lnTo>
                    <a:pt x="1296" y="3156"/>
                  </a:lnTo>
                  <a:lnTo>
                    <a:pt x="1290" y="3156"/>
                  </a:lnTo>
                  <a:lnTo>
                    <a:pt x="1290" y="3150"/>
                  </a:lnTo>
                  <a:lnTo>
                    <a:pt x="1284" y="3150"/>
                  </a:lnTo>
                  <a:lnTo>
                    <a:pt x="1278" y="3150"/>
                  </a:lnTo>
                  <a:lnTo>
                    <a:pt x="1278" y="3144"/>
                  </a:lnTo>
                  <a:lnTo>
                    <a:pt x="1272" y="3144"/>
                  </a:lnTo>
                  <a:lnTo>
                    <a:pt x="1272" y="3138"/>
                  </a:lnTo>
                  <a:lnTo>
                    <a:pt x="1266" y="3138"/>
                  </a:lnTo>
                  <a:lnTo>
                    <a:pt x="1266" y="3132"/>
                  </a:lnTo>
                  <a:lnTo>
                    <a:pt x="1266" y="3126"/>
                  </a:lnTo>
                  <a:lnTo>
                    <a:pt x="1260" y="3126"/>
                  </a:lnTo>
                  <a:lnTo>
                    <a:pt x="1254" y="3126"/>
                  </a:lnTo>
                  <a:lnTo>
                    <a:pt x="1248" y="3126"/>
                  </a:lnTo>
                  <a:lnTo>
                    <a:pt x="1248" y="3120"/>
                  </a:lnTo>
                  <a:lnTo>
                    <a:pt x="1242" y="3120"/>
                  </a:lnTo>
                  <a:lnTo>
                    <a:pt x="1242" y="3114"/>
                  </a:lnTo>
                  <a:lnTo>
                    <a:pt x="1242" y="3120"/>
                  </a:lnTo>
                  <a:lnTo>
                    <a:pt x="1242" y="3114"/>
                  </a:lnTo>
                  <a:lnTo>
                    <a:pt x="1236" y="3114"/>
                  </a:lnTo>
                  <a:lnTo>
                    <a:pt x="1242" y="3114"/>
                  </a:lnTo>
                  <a:lnTo>
                    <a:pt x="1236" y="3108"/>
                  </a:lnTo>
                  <a:lnTo>
                    <a:pt x="1236" y="3102"/>
                  </a:lnTo>
                  <a:lnTo>
                    <a:pt x="1230" y="3102"/>
                  </a:lnTo>
                  <a:lnTo>
                    <a:pt x="1224" y="3102"/>
                  </a:lnTo>
                  <a:lnTo>
                    <a:pt x="1218" y="3102"/>
                  </a:lnTo>
                  <a:lnTo>
                    <a:pt x="1212" y="3102"/>
                  </a:lnTo>
                  <a:lnTo>
                    <a:pt x="1212" y="3108"/>
                  </a:lnTo>
                  <a:lnTo>
                    <a:pt x="1206" y="3108"/>
                  </a:lnTo>
                  <a:lnTo>
                    <a:pt x="1200" y="3102"/>
                  </a:lnTo>
                  <a:lnTo>
                    <a:pt x="1194" y="3102"/>
                  </a:lnTo>
                  <a:lnTo>
                    <a:pt x="1194" y="3096"/>
                  </a:lnTo>
                  <a:lnTo>
                    <a:pt x="1188" y="3096"/>
                  </a:lnTo>
                  <a:lnTo>
                    <a:pt x="1188" y="3102"/>
                  </a:lnTo>
                  <a:lnTo>
                    <a:pt x="1188" y="3096"/>
                  </a:lnTo>
                  <a:lnTo>
                    <a:pt x="1182" y="3096"/>
                  </a:lnTo>
                  <a:lnTo>
                    <a:pt x="1188" y="3096"/>
                  </a:lnTo>
                  <a:lnTo>
                    <a:pt x="1182" y="3102"/>
                  </a:lnTo>
                  <a:lnTo>
                    <a:pt x="1188" y="3102"/>
                  </a:lnTo>
                  <a:lnTo>
                    <a:pt x="1194" y="3102"/>
                  </a:lnTo>
                  <a:lnTo>
                    <a:pt x="1194" y="3108"/>
                  </a:lnTo>
                  <a:lnTo>
                    <a:pt x="1188" y="3108"/>
                  </a:lnTo>
                  <a:lnTo>
                    <a:pt x="1182" y="3102"/>
                  </a:lnTo>
                  <a:lnTo>
                    <a:pt x="1176" y="3096"/>
                  </a:lnTo>
                  <a:lnTo>
                    <a:pt x="1170" y="3096"/>
                  </a:lnTo>
                  <a:lnTo>
                    <a:pt x="1158" y="3084"/>
                  </a:lnTo>
                  <a:lnTo>
                    <a:pt x="1152" y="3078"/>
                  </a:lnTo>
                  <a:lnTo>
                    <a:pt x="1146" y="3078"/>
                  </a:lnTo>
                  <a:lnTo>
                    <a:pt x="1140" y="3078"/>
                  </a:lnTo>
                  <a:lnTo>
                    <a:pt x="1140" y="3072"/>
                  </a:lnTo>
                  <a:lnTo>
                    <a:pt x="1134" y="3066"/>
                  </a:lnTo>
                  <a:lnTo>
                    <a:pt x="1134" y="3060"/>
                  </a:lnTo>
                  <a:lnTo>
                    <a:pt x="1128" y="3066"/>
                  </a:lnTo>
                  <a:lnTo>
                    <a:pt x="1128" y="3060"/>
                  </a:lnTo>
                  <a:lnTo>
                    <a:pt x="1122" y="3060"/>
                  </a:lnTo>
                  <a:lnTo>
                    <a:pt x="1128" y="3054"/>
                  </a:lnTo>
                  <a:lnTo>
                    <a:pt x="1122" y="3054"/>
                  </a:lnTo>
                  <a:lnTo>
                    <a:pt x="1122" y="3048"/>
                  </a:lnTo>
                  <a:lnTo>
                    <a:pt x="1122" y="3042"/>
                  </a:lnTo>
                  <a:lnTo>
                    <a:pt x="1116" y="3042"/>
                  </a:lnTo>
                  <a:lnTo>
                    <a:pt x="1116" y="3036"/>
                  </a:lnTo>
                  <a:lnTo>
                    <a:pt x="1110" y="3036"/>
                  </a:lnTo>
                  <a:lnTo>
                    <a:pt x="1116" y="3036"/>
                  </a:lnTo>
                  <a:lnTo>
                    <a:pt x="1116" y="3030"/>
                  </a:lnTo>
                  <a:lnTo>
                    <a:pt x="1110" y="3024"/>
                  </a:lnTo>
                  <a:lnTo>
                    <a:pt x="1104" y="3024"/>
                  </a:lnTo>
                  <a:lnTo>
                    <a:pt x="1104" y="3018"/>
                  </a:lnTo>
                  <a:lnTo>
                    <a:pt x="1098" y="3012"/>
                  </a:lnTo>
                  <a:lnTo>
                    <a:pt x="1092" y="3006"/>
                  </a:lnTo>
                  <a:lnTo>
                    <a:pt x="1092" y="3000"/>
                  </a:lnTo>
                  <a:lnTo>
                    <a:pt x="1086" y="2994"/>
                  </a:lnTo>
                  <a:lnTo>
                    <a:pt x="1086" y="2988"/>
                  </a:lnTo>
                  <a:lnTo>
                    <a:pt x="1092" y="2988"/>
                  </a:lnTo>
                  <a:lnTo>
                    <a:pt x="1092" y="2982"/>
                  </a:lnTo>
                  <a:lnTo>
                    <a:pt x="1086" y="2982"/>
                  </a:lnTo>
                  <a:lnTo>
                    <a:pt x="1086" y="2976"/>
                  </a:lnTo>
                  <a:lnTo>
                    <a:pt x="1080" y="2976"/>
                  </a:lnTo>
                  <a:lnTo>
                    <a:pt x="1080" y="2970"/>
                  </a:lnTo>
                  <a:lnTo>
                    <a:pt x="1074" y="2970"/>
                  </a:lnTo>
                  <a:lnTo>
                    <a:pt x="1080" y="2976"/>
                  </a:lnTo>
                  <a:lnTo>
                    <a:pt x="1080" y="2982"/>
                  </a:lnTo>
                  <a:lnTo>
                    <a:pt x="1086" y="2982"/>
                  </a:lnTo>
                  <a:lnTo>
                    <a:pt x="1086" y="2988"/>
                  </a:lnTo>
                  <a:lnTo>
                    <a:pt x="1080" y="2982"/>
                  </a:lnTo>
                  <a:lnTo>
                    <a:pt x="1074" y="2970"/>
                  </a:lnTo>
                  <a:lnTo>
                    <a:pt x="1074" y="2964"/>
                  </a:lnTo>
                  <a:lnTo>
                    <a:pt x="1074" y="2970"/>
                  </a:lnTo>
                  <a:lnTo>
                    <a:pt x="1080" y="2970"/>
                  </a:lnTo>
                  <a:lnTo>
                    <a:pt x="1080" y="2964"/>
                  </a:lnTo>
                  <a:lnTo>
                    <a:pt x="1080" y="2958"/>
                  </a:lnTo>
                  <a:lnTo>
                    <a:pt x="1074" y="2958"/>
                  </a:lnTo>
                  <a:lnTo>
                    <a:pt x="1074" y="2964"/>
                  </a:lnTo>
                  <a:lnTo>
                    <a:pt x="1068" y="2964"/>
                  </a:lnTo>
                  <a:lnTo>
                    <a:pt x="1068" y="2958"/>
                  </a:lnTo>
                  <a:lnTo>
                    <a:pt x="1062" y="2958"/>
                  </a:lnTo>
                  <a:lnTo>
                    <a:pt x="1062" y="2952"/>
                  </a:lnTo>
                  <a:lnTo>
                    <a:pt x="1056" y="2952"/>
                  </a:lnTo>
                  <a:lnTo>
                    <a:pt x="1056" y="2946"/>
                  </a:lnTo>
                  <a:lnTo>
                    <a:pt x="1062" y="2946"/>
                  </a:lnTo>
                  <a:lnTo>
                    <a:pt x="1062" y="2940"/>
                  </a:lnTo>
                  <a:lnTo>
                    <a:pt x="1056" y="2940"/>
                  </a:lnTo>
                  <a:lnTo>
                    <a:pt x="1056" y="2934"/>
                  </a:lnTo>
                  <a:lnTo>
                    <a:pt x="1050" y="2934"/>
                  </a:lnTo>
                  <a:lnTo>
                    <a:pt x="1044" y="2934"/>
                  </a:lnTo>
                  <a:lnTo>
                    <a:pt x="1044" y="2928"/>
                  </a:lnTo>
                  <a:lnTo>
                    <a:pt x="1038" y="2928"/>
                  </a:lnTo>
                  <a:lnTo>
                    <a:pt x="1038" y="2922"/>
                  </a:lnTo>
                  <a:lnTo>
                    <a:pt x="1038" y="2916"/>
                  </a:lnTo>
                  <a:lnTo>
                    <a:pt x="1038" y="2910"/>
                  </a:lnTo>
                  <a:lnTo>
                    <a:pt x="1032" y="2910"/>
                  </a:lnTo>
                  <a:lnTo>
                    <a:pt x="1038" y="2910"/>
                  </a:lnTo>
                  <a:lnTo>
                    <a:pt x="1032" y="2904"/>
                  </a:lnTo>
                  <a:lnTo>
                    <a:pt x="1032" y="2898"/>
                  </a:lnTo>
                  <a:lnTo>
                    <a:pt x="1026" y="2898"/>
                  </a:lnTo>
                  <a:lnTo>
                    <a:pt x="1026" y="2892"/>
                  </a:lnTo>
                  <a:lnTo>
                    <a:pt x="1026" y="2898"/>
                  </a:lnTo>
                  <a:lnTo>
                    <a:pt x="1026" y="2892"/>
                  </a:lnTo>
                  <a:lnTo>
                    <a:pt x="1020" y="2892"/>
                  </a:lnTo>
                  <a:lnTo>
                    <a:pt x="1020" y="2886"/>
                  </a:lnTo>
                  <a:lnTo>
                    <a:pt x="1014" y="2880"/>
                  </a:lnTo>
                  <a:lnTo>
                    <a:pt x="1020" y="2880"/>
                  </a:lnTo>
                  <a:lnTo>
                    <a:pt x="1020" y="2874"/>
                  </a:lnTo>
                  <a:lnTo>
                    <a:pt x="1020" y="2868"/>
                  </a:lnTo>
                  <a:lnTo>
                    <a:pt x="1014" y="2868"/>
                  </a:lnTo>
                  <a:lnTo>
                    <a:pt x="1014" y="2874"/>
                  </a:lnTo>
                  <a:lnTo>
                    <a:pt x="1014" y="2868"/>
                  </a:lnTo>
                  <a:lnTo>
                    <a:pt x="1014" y="2862"/>
                  </a:lnTo>
                  <a:lnTo>
                    <a:pt x="1014" y="2856"/>
                  </a:lnTo>
                  <a:lnTo>
                    <a:pt x="1008" y="2856"/>
                  </a:lnTo>
                  <a:lnTo>
                    <a:pt x="1008" y="2850"/>
                  </a:lnTo>
                  <a:lnTo>
                    <a:pt x="1002" y="2850"/>
                  </a:lnTo>
                  <a:lnTo>
                    <a:pt x="1008" y="2844"/>
                  </a:lnTo>
                  <a:lnTo>
                    <a:pt x="1002" y="2844"/>
                  </a:lnTo>
                  <a:lnTo>
                    <a:pt x="1002" y="2838"/>
                  </a:lnTo>
                  <a:lnTo>
                    <a:pt x="1002" y="2832"/>
                  </a:lnTo>
                  <a:lnTo>
                    <a:pt x="1008" y="2832"/>
                  </a:lnTo>
                  <a:lnTo>
                    <a:pt x="1008" y="2826"/>
                  </a:lnTo>
                  <a:lnTo>
                    <a:pt x="1008" y="2820"/>
                  </a:lnTo>
                  <a:lnTo>
                    <a:pt x="1008" y="2826"/>
                  </a:lnTo>
                  <a:lnTo>
                    <a:pt x="1014" y="2826"/>
                  </a:lnTo>
                  <a:lnTo>
                    <a:pt x="1014" y="2820"/>
                  </a:lnTo>
                  <a:lnTo>
                    <a:pt x="1020" y="2820"/>
                  </a:lnTo>
                  <a:lnTo>
                    <a:pt x="1020" y="2814"/>
                  </a:lnTo>
                  <a:lnTo>
                    <a:pt x="1026" y="2808"/>
                  </a:lnTo>
                  <a:lnTo>
                    <a:pt x="1020" y="2808"/>
                  </a:lnTo>
                  <a:lnTo>
                    <a:pt x="1020" y="2802"/>
                  </a:lnTo>
                  <a:lnTo>
                    <a:pt x="1020" y="2796"/>
                  </a:lnTo>
                  <a:lnTo>
                    <a:pt x="1014" y="2796"/>
                  </a:lnTo>
                  <a:lnTo>
                    <a:pt x="1020" y="2796"/>
                  </a:lnTo>
                  <a:lnTo>
                    <a:pt x="1020" y="2790"/>
                  </a:lnTo>
                  <a:lnTo>
                    <a:pt x="1020" y="2784"/>
                  </a:lnTo>
                  <a:lnTo>
                    <a:pt x="1014" y="2778"/>
                  </a:lnTo>
                  <a:lnTo>
                    <a:pt x="1020" y="2778"/>
                  </a:lnTo>
                  <a:lnTo>
                    <a:pt x="1014" y="2778"/>
                  </a:lnTo>
                  <a:lnTo>
                    <a:pt x="1008" y="2778"/>
                  </a:lnTo>
                  <a:lnTo>
                    <a:pt x="1008" y="2772"/>
                  </a:lnTo>
                  <a:lnTo>
                    <a:pt x="1008" y="2766"/>
                  </a:lnTo>
                  <a:lnTo>
                    <a:pt x="1008" y="2760"/>
                  </a:lnTo>
                  <a:lnTo>
                    <a:pt x="1008" y="2754"/>
                  </a:lnTo>
                  <a:lnTo>
                    <a:pt x="1002" y="2754"/>
                  </a:lnTo>
                  <a:lnTo>
                    <a:pt x="1008" y="2748"/>
                  </a:lnTo>
                  <a:lnTo>
                    <a:pt x="1002" y="2748"/>
                  </a:lnTo>
                  <a:lnTo>
                    <a:pt x="1002" y="2742"/>
                  </a:lnTo>
                  <a:lnTo>
                    <a:pt x="1002" y="2736"/>
                  </a:lnTo>
                  <a:lnTo>
                    <a:pt x="1002" y="2730"/>
                  </a:lnTo>
                  <a:lnTo>
                    <a:pt x="1008" y="2730"/>
                  </a:lnTo>
                  <a:lnTo>
                    <a:pt x="1008" y="2724"/>
                  </a:lnTo>
                  <a:lnTo>
                    <a:pt x="1014" y="2724"/>
                  </a:lnTo>
                  <a:lnTo>
                    <a:pt x="1014" y="2718"/>
                  </a:lnTo>
                  <a:lnTo>
                    <a:pt x="1020" y="2718"/>
                  </a:lnTo>
                  <a:lnTo>
                    <a:pt x="1014" y="2718"/>
                  </a:lnTo>
                  <a:lnTo>
                    <a:pt x="1014" y="2724"/>
                  </a:lnTo>
                  <a:lnTo>
                    <a:pt x="1008" y="2724"/>
                  </a:lnTo>
                  <a:lnTo>
                    <a:pt x="1008" y="2730"/>
                  </a:lnTo>
                  <a:lnTo>
                    <a:pt x="1002" y="2730"/>
                  </a:lnTo>
                  <a:lnTo>
                    <a:pt x="1002" y="2724"/>
                  </a:lnTo>
                  <a:lnTo>
                    <a:pt x="996" y="2724"/>
                  </a:lnTo>
                  <a:lnTo>
                    <a:pt x="996" y="2718"/>
                  </a:lnTo>
                  <a:lnTo>
                    <a:pt x="990" y="2706"/>
                  </a:lnTo>
                  <a:lnTo>
                    <a:pt x="984" y="2700"/>
                  </a:lnTo>
                  <a:lnTo>
                    <a:pt x="978" y="2694"/>
                  </a:lnTo>
                  <a:lnTo>
                    <a:pt x="978" y="2688"/>
                  </a:lnTo>
                  <a:lnTo>
                    <a:pt x="972" y="2682"/>
                  </a:lnTo>
                  <a:lnTo>
                    <a:pt x="972" y="2676"/>
                  </a:lnTo>
                  <a:lnTo>
                    <a:pt x="978" y="2682"/>
                  </a:lnTo>
                  <a:lnTo>
                    <a:pt x="984" y="2682"/>
                  </a:lnTo>
                  <a:lnTo>
                    <a:pt x="978" y="2688"/>
                  </a:lnTo>
                  <a:lnTo>
                    <a:pt x="984" y="2688"/>
                  </a:lnTo>
                  <a:lnTo>
                    <a:pt x="990" y="2694"/>
                  </a:lnTo>
                  <a:lnTo>
                    <a:pt x="990" y="2700"/>
                  </a:lnTo>
                  <a:lnTo>
                    <a:pt x="996" y="2700"/>
                  </a:lnTo>
                  <a:lnTo>
                    <a:pt x="996" y="2694"/>
                  </a:lnTo>
                  <a:lnTo>
                    <a:pt x="990" y="2694"/>
                  </a:lnTo>
                  <a:lnTo>
                    <a:pt x="996" y="2700"/>
                  </a:lnTo>
                  <a:lnTo>
                    <a:pt x="990" y="2700"/>
                  </a:lnTo>
                  <a:lnTo>
                    <a:pt x="990" y="2694"/>
                  </a:lnTo>
                  <a:lnTo>
                    <a:pt x="990" y="2688"/>
                  </a:lnTo>
                  <a:lnTo>
                    <a:pt x="990" y="2682"/>
                  </a:lnTo>
                  <a:lnTo>
                    <a:pt x="984" y="2682"/>
                  </a:lnTo>
                  <a:lnTo>
                    <a:pt x="990" y="2682"/>
                  </a:lnTo>
                  <a:lnTo>
                    <a:pt x="990" y="2676"/>
                  </a:lnTo>
                  <a:lnTo>
                    <a:pt x="984" y="2676"/>
                  </a:lnTo>
                  <a:lnTo>
                    <a:pt x="984" y="2670"/>
                  </a:lnTo>
                  <a:lnTo>
                    <a:pt x="984" y="2664"/>
                  </a:lnTo>
                  <a:lnTo>
                    <a:pt x="984" y="2658"/>
                  </a:lnTo>
                  <a:lnTo>
                    <a:pt x="990" y="2658"/>
                  </a:lnTo>
                  <a:lnTo>
                    <a:pt x="990" y="2652"/>
                  </a:lnTo>
                  <a:lnTo>
                    <a:pt x="990" y="2646"/>
                  </a:lnTo>
                  <a:lnTo>
                    <a:pt x="996" y="2640"/>
                  </a:lnTo>
                  <a:lnTo>
                    <a:pt x="1002" y="2640"/>
                  </a:lnTo>
                  <a:lnTo>
                    <a:pt x="1002" y="2634"/>
                  </a:lnTo>
                  <a:lnTo>
                    <a:pt x="1002" y="2628"/>
                  </a:lnTo>
                  <a:lnTo>
                    <a:pt x="1002" y="2622"/>
                  </a:lnTo>
                  <a:lnTo>
                    <a:pt x="1008" y="2616"/>
                  </a:lnTo>
                  <a:lnTo>
                    <a:pt x="1002" y="2616"/>
                  </a:lnTo>
                  <a:lnTo>
                    <a:pt x="1002" y="2622"/>
                  </a:lnTo>
                  <a:lnTo>
                    <a:pt x="996" y="2628"/>
                  </a:lnTo>
                  <a:lnTo>
                    <a:pt x="996" y="2634"/>
                  </a:lnTo>
                  <a:lnTo>
                    <a:pt x="996" y="2628"/>
                  </a:lnTo>
                  <a:lnTo>
                    <a:pt x="996" y="2622"/>
                  </a:lnTo>
                  <a:lnTo>
                    <a:pt x="1002" y="2616"/>
                  </a:lnTo>
                  <a:lnTo>
                    <a:pt x="1002" y="2610"/>
                  </a:lnTo>
                  <a:lnTo>
                    <a:pt x="1002" y="2604"/>
                  </a:lnTo>
                  <a:lnTo>
                    <a:pt x="1008" y="2598"/>
                  </a:lnTo>
                  <a:lnTo>
                    <a:pt x="1008" y="2592"/>
                  </a:lnTo>
                  <a:lnTo>
                    <a:pt x="1014" y="2592"/>
                  </a:lnTo>
                  <a:lnTo>
                    <a:pt x="1014" y="2586"/>
                  </a:lnTo>
                  <a:lnTo>
                    <a:pt x="1014" y="2580"/>
                  </a:lnTo>
                  <a:lnTo>
                    <a:pt x="1014" y="2574"/>
                  </a:lnTo>
                  <a:lnTo>
                    <a:pt x="1014" y="2580"/>
                  </a:lnTo>
                  <a:lnTo>
                    <a:pt x="1014" y="2574"/>
                  </a:lnTo>
                  <a:lnTo>
                    <a:pt x="1014" y="2568"/>
                  </a:lnTo>
                  <a:lnTo>
                    <a:pt x="1020" y="2568"/>
                  </a:lnTo>
                  <a:lnTo>
                    <a:pt x="1020" y="2562"/>
                  </a:lnTo>
                  <a:lnTo>
                    <a:pt x="1020" y="2568"/>
                  </a:lnTo>
                  <a:lnTo>
                    <a:pt x="1020" y="2562"/>
                  </a:lnTo>
                  <a:lnTo>
                    <a:pt x="1026" y="2562"/>
                  </a:lnTo>
                  <a:lnTo>
                    <a:pt x="1032" y="2562"/>
                  </a:lnTo>
                  <a:lnTo>
                    <a:pt x="1032" y="2556"/>
                  </a:lnTo>
                  <a:lnTo>
                    <a:pt x="1032" y="2550"/>
                  </a:lnTo>
                  <a:lnTo>
                    <a:pt x="1026" y="2550"/>
                  </a:lnTo>
                  <a:lnTo>
                    <a:pt x="1026" y="2556"/>
                  </a:lnTo>
                  <a:lnTo>
                    <a:pt x="1020" y="2556"/>
                  </a:lnTo>
                  <a:lnTo>
                    <a:pt x="1020" y="2562"/>
                  </a:lnTo>
                  <a:lnTo>
                    <a:pt x="1020" y="2556"/>
                  </a:lnTo>
                  <a:lnTo>
                    <a:pt x="1014" y="2550"/>
                  </a:lnTo>
                  <a:lnTo>
                    <a:pt x="1020" y="2544"/>
                  </a:lnTo>
                  <a:lnTo>
                    <a:pt x="1020" y="2538"/>
                  </a:lnTo>
                  <a:lnTo>
                    <a:pt x="1020" y="2526"/>
                  </a:lnTo>
                  <a:lnTo>
                    <a:pt x="1020" y="2514"/>
                  </a:lnTo>
                  <a:lnTo>
                    <a:pt x="1020" y="2508"/>
                  </a:lnTo>
                  <a:lnTo>
                    <a:pt x="1020" y="2502"/>
                  </a:lnTo>
                  <a:lnTo>
                    <a:pt x="1014" y="2502"/>
                  </a:lnTo>
                  <a:lnTo>
                    <a:pt x="1014" y="2496"/>
                  </a:lnTo>
                  <a:lnTo>
                    <a:pt x="1008" y="2490"/>
                  </a:lnTo>
                  <a:lnTo>
                    <a:pt x="1008" y="2484"/>
                  </a:lnTo>
                  <a:lnTo>
                    <a:pt x="1008" y="2478"/>
                  </a:lnTo>
                  <a:lnTo>
                    <a:pt x="1008" y="2472"/>
                  </a:lnTo>
                  <a:lnTo>
                    <a:pt x="1002" y="2472"/>
                  </a:lnTo>
                  <a:lnTo>
                    <a:pt x="1002" y="2466"/>
                  </a:lnTo>
                  <a:lnTo>
                    <a:pt x="1008" y="2466"/>
                  </a:lnTo>
                  <a:lnTo>
                    <a:pt x="1014" y="2460"/>
                  </a:lnTo>
                  <a:lnTo>
                    <a:pt x="1008" y="2460"/>
                  </a:lnTo>
                  <a:lnTo>
                    <a:pt x="1002" y="2460"/>
                  </a:lnTo>
                  <a:lnTo>
                    <a:pt x="1002" y="2466"/>
                  </a:lnTo>
                  <a:lnTo>
                    <a:pt x="1002" y="2460"/>
                  </a:lnTo>
                  <a:lnTo>
                    <a:pt x="996" y="2460"/>
                  </a:lnTo>
                  <a:lnTo>
                    <a:pt x="996" y="2454"/>
                  </a:lnTo>
                  <a:lnTo>
                    <a:pt x="990" y="2448"/>
                  </a:lnTo>
                  <a:lnTo>
                    <a:pt x="990" y="2442"/>
                  </a:lnTo>
                  <a:lnTo>
                    <a:pt x="984" y="2442"/>
                  </a:lnTo>
                  <a:lnTo>
                    <a:pt x="984" y="2436"/>
                  </a:lnTo>
                  <a:lnTo>
                    <a:pt x="978" y="2430"/>
                  </a:lnTo>
                  <a:lnTo>
                    <a:pt x="978" y="2418"/>
                  </a:lnTo>
                  <a:lnTo>
                    <a:pt x="972" y="2418"/>
                  </a:lnTo>
                  <a:lnTo>
                    <a:pt x="972" y="2412"/>
                  </a:lnTo>
                  <a:lnTo>
                    <a:pt x="972" y="2406"/>
                  </a:lnTo>
                  <a:lnTo>
                    <a:pt x="966" y="2406"/>
                  </a:lnTo>
                  <a:lnTo>
                    <a:pt x="972" y="2400"/>
                  </a:lnTo>
                  <a:lnTo>
                    <a:pt x="972" y="2406"/>
                  </a:lnTo>
                  <a:lnTo>
                    <a:pt x="978" y="2412"/>
                  </a:lnTo>
                  <a:lnTo>
                    <a:pt x="984" y="2418"/>
                  </a:lnTo>
                  <a:lnTo>
                    <a:pt x="984" y="2424"/>
                  </a:lnTo>
                  <a:lnTo>
                    <a:pt x="990" y="2430"/>
                  </a:lnTo>
                  <a:lnTo>
                    <a:pt x="984" y="2430"/>
                  </a:lnTo>
                  <a:lnTo>
                    <a:pt x="990" y="2436"/>
                  </a:lnTo>
                  <a:lnTo>
                    <a:pt x="996" y="2436"/>
                  </a:lnTo>
                  <a:lnTo>
                    <a:pt x="1002" y="2430"/>
                  </a:lnTo>
                  <a:lnTo>
                    <a:pt x="996" y="2430"/>
                  </a:lnTo>
                  <a:lnTo>
                    <a:pt x="996" y="2424"/>
                  </a:lnTo>
                  <a:lnTo>
                    <a:pt x="990" y="2424"/>
                  </a:lnTo>
                  <a:lnTo>
                    <a:pt x="990" y="2418"/>
                  </a:lnTo>
                  <a:lnTo>
                    <a:pt x="990" y="2412"/>
                  </a:lnTo>
                  <a:lnTo>
                    <a:pt x="990" y="2406"/>
                  </a:lnTo>
                  <a:lnTo>
                    <a:pt x="984" y="2406"/>
                  </a:lnTo>
                  <a:lnTo>
                    <a:pt x="984" y="2400"/>
                  </a:lnTo>
                  <a:lnTo>
                    <a:pt x="978" y="2400"/>
                  </a:lnTo>
                  <a:lnTo>
                    <a:pt x="978" y="2406"/>
                  </a:lnTo>
                  <a:lnTo>
                    <a:pt x="978" y="2400"/>
                  </a:lnTo>
                  <a:lnTo>
                    <a:pt x="972" y="2406"/>
                  </a:lnTo>
                  <a:lnTo>
                    <a:pt x="972" y="2400"/>
                  </a:lnTo>
                  <a:lnTo>
                    <a:pt x="972" y="2394"/>
                  </a:lnTo>
                  <a:lnTo>
                    <a:pt x="966" y="2394"/>
                  </a:lnTo>
                  <a:lnTo>
                    <a:pt x="966" y="2400"/>
                  </a:lnTo>
                  <a:lnTo>
                    <a:pt x="966" y="2406"/>
                  </a:lnTo>
                  <a:lnTo>
                    <a:pt x="966" y="2400"/>
                  </a:lnTo>
                  <a:lnTo>
                    <a:pt x="960" y="2400"/>
                  </a:lnTo>
                  <a:lnTo>
                    <a:pt x="960" y="2394"/>
                  </a:lnTo>
                  <a:lnTo>
                    <a:pt x="960" y="2388"/>
                  </a:lnTo>
                  <a:lnTo>
                    <a:pt x="954" y="2388"/>
                  </a:lnTo>
                  <a:lnTo>
                    <a:pt x="960" y="2382"/>
                  </a:lnTo>
                  <a:lnTo>
                    <a:pt x="960" y="2376"/>
                  </a:lnTo>
                  <a:lnTo>
                    <a:pt x="966" y="2370"/>
                  </a:lnTo>
                  <a:lnTo>
                    <a:pt x="960" y="2370"/>
                  </a:lnTo>
                  <a:lnTo>
                    <a:pt x="966" y="2364"/>
                  </a:lnTo>
                  <a:lnTo>
                    <a:pt x="960" y="2364"/>
                  </a:lnTo>
                  <a:lnTo>
                    <a:pt x="960" y="2358"/>
                  </a:lnTo>
                  <a:lnTo>
                    <a:pt x="954" y="2358"/>
                  </a:lnTo>
                  <a:lnTo>
                    <a:pt x="954" y="2352"/>
                  </a:lnTo>
                  <a:lnTo>
                    <a:pt x="948" y="2346"/>
                  </a:lnTo>
                  <a:lnTo>
                    <a:pt x="948" y="2340"/>
                  </a:lnTo>
                  <a:lnTo>
                    <a:pt x="942" y="2334"/>
                  </a:lnTo>
                  <a:lnTo>
                    <a:pt x="942" y="2328"/>
                  </a:lnTo>
                  <a:lnTo>
                    <a:pt x="936" y="2328"/>
                  </a:lnTo>
                  <a:lnTo>
                    <a:pt x="942" y="2322"/>
                  </a:lnTo>
                  <a:lnTo>
                    <a:pt x="936" y="2322"/>
                  </a:lnTo>
                  <a:lnTo>
                    <a:pt x="936" y="2316"/>
                  </a:lnTo>
                  <a:lnTo>
                    <a:pt x="936" y="2310"/>
                  </a:lnTo>
                  <a:lnTo>
                    <a:pt x="936" y="2304"/>
                  </a:lnTo>
                  <a:lnTo>
                    <a:pt x="930" y="2304"/>
                  </a:lnTo>
                  <a:lnTo>
                    <a:pt x="930" y="2298"/>
                  </a:lnTo>
                  <a:lnTo>
                    <a:pt x="930" y="2292"/>
                  </a:lnTo>
                  <a:lnTo>
                    <a:pt x="930" y="2286"/>
                  </a:lnTo>
                  <a:lnTo>
                    <a:pt x="930" y="2280"/>
                  </a:lnTo>
                  <a:lnTo>
                    <a:pt x="930" y="2274"/>
                  </a:lnTo>
                  <a:lnTo>
                    <a:pt x="930" y="2268"/>
                  </a:lnTo>
                  <a:lnTo>
                    <a:pt x="930" y="2274"/>
                  </a:lnTo>
                  <a:lnTo>
                    <a:pt x="924" y="2268"/>
                  </a:lnTo>
                  <a:lnTo>
                    <a:pt x="930" y="2268"/>
                  </a:lnTo>
                  <a:lnTo>
                    <a:pt x="930" y="2262"/>
                  </a:lnTo>
                  <a:lnTo>
                    <a:pt x="924" y="2262"/>
                  </a:lnTo>
                  <a:lnTo>
                    <a:pt x="924" y="2256"/>
                  </a:lnTo>
                  <a:lnTo>
                    <a:pt x="918" y="2256"/>
                  </a:lnTo>
                  <a:lnTo>
                    <a:pt x="924" y="2250"/>
                  </a:lnTo>
                  <a:lnTo>
                    <a:pt x="924" y="2244"/>
                  </a:lnTo>
                  <a:lnTo>
                    <a:pt x="918" y="2244"/>
                  </a:lnTo>
                  <a:lnTo>
                    <a:pt x="918" y="2250"/>
                  </a:lnTo>
                  <a:lnTo>
                    <a:pt x="912" y="2250"/>
                  </a:lnTo>
                  <a:lnTo>
                    <a:pt x="912" y="2256"/>
                  </a:lnTo>
                  <a:lnTo>
                    <a:pt x="912" y="2250"/>
                  </a:lnTo>
                  <a:lnTo>
                    <a:pt x="918" y="2250"/>
                  </a:lnTo>
                  <a:lnTo>
                    <a:pt x="918" y="2256"/>
                  </a:lnTo>
                  <a:lnTo>
                    <a:pt x="918" y="2250"/>
                  </a:lnTo>
                  <a:lnTo>
                    <a:pt x="912" y="2256"/>
                  </a:lnTo>
                  <a:lnTo>
                    <a:pt x="918" y="2256"/>
                  </a:lnTo>
                  <a:lnTo>
                    <a:pt x="918" y="2262"/>
                  </a:lnTo>
                  <a:lnTo>
                    <a:pt x="918" y="2256"/>
                  </a:lnTo>
                  <a:lnTo>
                    <a:pt x="912" y="2256"/>
                  </a:lnTo>
                  <a:lnTo>
                    <a:pt x="912" y="2262"/>
                  </a:lnTo>
                  <a:lnTo>
                    <a:pt x="906" y="2256"/>
                  </a:lnTo>
                  <a:lnTo>
                    <a:pt x="906" y="2250"/>
                  </a:lnTo>
                  <a:lnTo>
                    <a:pt x="906" y="2244"/>
                  </a:lnTo>
                  <a:lnTo>
                    <a:pt x="906" y="2238"/>
                  </a:lnTo>
                  <a:lnTo>
                    <a:pt x="900" y="2232"/>
                  </a:lnTo>
                  <a:lnTo>
                    <a:pt x="906" y="2232"/>
                  </a:lnTo>
                  <a:lnTo>
                    <a:pt x="900" y="2232"/>
                  </a:lnTo>
                  <a:lnTo>
                    <a:pt x="894" y="2226"/>
                  </a:lnTo>
                  <a:lnTo>
                    <a:pt x="894" y="2220"/>
                  </a:lnTo>
                  <a:lnTo>
                    <a:pt x="894" y="2214"/>
                  </a:lnTo>
                  <a:lnTo>
                    <a:pt x="888" y="2208"/>
                  </a:lnTo>
                  <a:lnTo>
                    <a:pt x="888" y="2202"/>
                  </a:lnTo>
                  <a:lnTo>
                    <a:pt x="894" y="2196"/>
                  </a:lnTo>
                  <a:lnTo>
                    <a:pt x="888" y="2196"/>
                  </a:lnTo>
                  <a:lnTo>
                    <a:pt x="888" y="2190"/>
                  </a:lnTo>
                  <a:lnTo>
                    <a:pt x="882" y="2184"/>
                  </a:lnTo>
                  <a:lnTo>
                    <a:pt x="876" y="2184"/>
                  </a:lnTo>
                  <a:lnTo>
                    <a:pt x="876" y="2178"/>
                  </a:lnTo>
                  <a:lnTo>
                    <a:pt x="870" y="2172"/>
                  </a:lnTo>
                  <a:lnTo>
                    <a:pt x="870" y="2166"/>
                  </a:lnTo>
                  <a:lnTo>
                    <a:pt x="858" y="2166"/>
                  </a:lnTo>
                  <a:lnTo>
                    <a:pt x="852" y="2160"/>
                  </a:lnTo>
                  <a:lnTo>
                    <a:pt x="852" y="2154"/>
                  </a:lnTo>
                  <a:lnTo>
                    <a:pt x="846" y="2148"/>
                  </a:lnTo>
                  <a:lnTo>
                    <a:pt x="840" y="2148"/>
                  </a:lnTo>
                  <a:lnTo>
                    <a:pt x="834" y="2148"/>
                  </a:lnTo>
                  <a:lnTo>
                    <a:pt x="834" y="2142"/>
                  </a:lnTo>
                  <a:lnTo>
                    <a:pt x="828" y="2142"/>
                  </a:lnTo>
                  <a:lnTo>
                    <a:pt x="822" y="2142"/>
                  </a:lnTo>
                  <a:lnTo>
                    <a:pt x="822" y="2136"/>
                  </a:lnTo>
                  <a:lnTo>
                    <a:pt x="816" y="2136"/>
                  </a:lnTo>
                  <a:lnTo>
                    <a:pt x="816" y="2130"/>
                  </a:lnTo>
                  <a:lnTo>
                    <a:pt x="810" y="2130"/>
                  </a:lnTo>
                  <a:lnTo>
                    <a:pt x="810" y="2124"/>
                  </a:lnTo>
                  <a:lnTo>
                    <a:pt x="804" y="2124"/>
                  </a:lnTo>
                  <a:lnTo>
                    <a:pt x="798" y="2118"/>
                  </a:lnTo>
                  <a:lnTo>
                    <a:pt x="804" y="2118"/>
                  </a:lnTo>
                  <a:lnTo>
                    <a:pt x="798" y="2118"/>
                  </a:lnTo>
                  <a:lnTo>
                    <a:pt x="792" y="2118"/>
                  </a:lnTo>
                  <a:lnTo>
                    <a:pt x="786" y="2118"/>
                  </a:lnTo>
                  <a:lnTo>
                    <a:pt x="780" y="2106"/>
                  </a:lnTo>
                  <a:lnTo>
                    <a:pt x="774" y="2106"/>
                  </a:lnTo>
                  <a:lnTo>
                    <a:pt x="768" y="2100"/>
                  </a:lnTo>
                  <a:lnTo>
                    <a:pt x="768" y="2094"/>
                  </a:lnTo>
                  <a:lnTo>
                    <a:pt x="774" y="2094"/>
                  </a:lnTo>
                  <a:lnTo>
                    <a:pt x="780" y="2094"/>
                  </a:lnTo>
                  <a:lnTo>
                    <a:pt x="774" y="2094"/>
                  </a:lnTo>
                  <a:lnTo>
                    <a:pt x="768" y="2094"/>
                  </a:lnTo>
                  <a:lnTo>
                    <a:pt x="768" y="2088"/>
                  </a:lnTo>
                  <a:lnTo>
                    <a:pt x="768" y="2082"/>
                  </a:lnTo>
                  <a:lnTo>
                    <a:pt x="774" y="2082"/>
                  </a:lnTo>
                  <a:lnTo>
                    <a:pt x="768" y="2082"/>
                  </a:lnTo>
                  <a:lnTo>
                    <a:pt x="762" y="2082"/>
                  </a:lnTo>
                  <a:lnTo>
                    <a:pt x="762" y="2088"/>
                  </a:lnTo>
                  <a:lnTo>
                    <a:pt x="768" y="2088"/>
                  </a:lnTo>
                  <a:lnTo>
                    <a:pt x="762" y="2088"/>
                  </a:lnTo>
                  <a:lnTo>
                    <a:pt x="762" y="2094"/>
                  </a:lnTo>
                  <a:lnTo>
                    <a:pt x="768" y="2094"/>
                  </a:lnTo>
                  <a:lnTo>
                    <a:pt x="762" y="2094"/>
                  </a:lnTo>
                  <a:lnTo>
                    <a:pt x="762" y="2100"/>
                  </a:lnTo>
                  <a:lnTo>
                    <a:pt x="756" y="2094"/>
                  </a:lnTo>
                  <a:lnTo>
                    <a:pt x="750" y="2100"/>
                  </a:lnTo>
                  <a:lnTo>
                    <a:pt x="744" y="2094"/>
                  </a:lnTo>
                  <a:lnTo>
                    <a:pt x="738" y="2094"/>
                  </a:lnTo>
                  <a:lnTo>
                    <a:pt x="738" y="2088"/>
                  </a:lnTo>
                  <a:lnTo>
                    <a:pt x="732" y="2082"/>
                  </a:lnTo>
                  <a:lnTo>
                    <a:pt x="726" y="2076"/>
                  </a:lnTo>
                  <a:lnTo>
                    <a:pt x="720" y="2076"/>
                  </a:lnTo>
                  <a:lnTo>
                    <a:pt x="720" y="2070"/>
                  </a:lnTo>
                  <a:lnTo>
                    <a:pt x="726" y="2070"/>
                  </a:lnTo>
                  <a:lnTo>
                    <a:pt x="720" y="2070"/>
                  </a:lnTo>
                  <a:lnTo>
                    <a:pt x="726" y="2070"/>
                  </a:lnTo>
                  <a:lnTo>
                    <a:pt x="726" y="2064"/>
                  </a:lnTo>
                  <a:lnTo>
                    <a:pt x="720" y="2070"/>
                  </a:lnTo>
                  <a:lnTo>
                    <a:pt x="714" y="2070"/>
                  </a:lnTo>
                  <a:lnTo>
                    <a:pt x="714" y="2064"/>
                  </a:lnTo>
                  <a:lnTo>
                    <a:pt x="708" y="2064"/>
                  </a:lnTo>
                  <a:lnTo>
                    <a:pt x="708" y="2058"/>
                  </a:lnTo>
                  <a:lnTo>
                    <a:pt x="702" y="2058"/>
                  </a:lnTo>
                  <a:lnTo>
                    <a:pt x="702" y="2064"/>
                  </a:lnTo>
                  <a:lnTo>
                    <a:pt x="696" y="2064"/>
                  </a:lnTo>
                  <a:lnTo>
                    <a:pt x="690" y="2058"/>
                  </a:lnTo>
                  <a:lnTo>
                    <a:pt x="690" y="2064"/>
                  </a:lnTo>
                  <a:lnTo>
                    <a:pt x="690" y="2070"/>
                  </a:lnTo>
                  <a:lnTo>
                    <a:pt x="684" y="2070"/>
                  </a:lnTo>
                  <a:lnTo>
                    <a:pt x="678" y="2070"/>
                  </a:lnTo>
                  <a:lnTo>
                    <a:pt x="672" y="2064"/>
                  </a:lnTo>
                  <a:lnTo>
                    <a:pt x="666" y="2064"/>
                  </a:lnTo>
                  <a:lnTo>
                    <a:pt x="660" y="2064"/>
                  </a:lnTo>
                  <a:lnTo>
                    <a:pt x="660" y="2058"/>
                  </a:lnTo>
                  <a:lnTo>
                    <a:pt x="654" y="2052"/>
                  </a:lnTo>
                  <a:lnTo>
                    <a:pt x="654" y="2046"/>
                  </a:lnTo>
                  <a:lnTo>
                    <a:pt x="648" y="2046"/>
                  </a:lnTo>
                  <a:lnTo>
                    <a:pt x="642" y="2040"/>
                  </a:lnTo>
                  <a:lnTo>
                    <a:pt x="642" y="2034"/>
                  </a:lnTo>
                  <a:lnTo>
                    <a:pt x="648" y="2034"/>
                  </a:lnTo>
                  <a:lnTo>
                    <a:pt x="642" y="2028"/>
                  </a:lnTo>
                  <a:lnTo>
                    <a:pt x="648" y="2028"/>
                  </a:lnTo>
                  <a:lnTo>
                    <a:pt x="654" y="2028"/>
                  </a:lnTo>
                  <a:lnTo>
                    <a:pt x="654" y="2022"/>
                  </a:lnTo>
                  <a:lnTo>
                    <a:pt x="648" y="2022"/>
                  </a:lnTo>
                  <a:lnTo>
                    <a:pt x="648" y="2016"/>
                  </a:lnTo>
                  <a:lnTo>
                    <a:pt x="648" y="2010"/>
                  </a:lnTo>
                  <a:lnTo>
                    <a:pt x="642" y="2004"/>
                  </a:lnTo>
                  <a:lnTo>
                    <a:pt x="636" y="1998"/>
                  </a:lnTo>
                  <a:lnTo>
                    <a:pt x="636" y="1992"/>
                  </a:lnTo>
                  <a:lnTo>
                    <a:pt x="630" y="1992"/>
                  </a:lnTo>
                  <a:lnTo>
                    <a:pt x="630" y="1986"/>
                  </a:lnTo>
                  <a:lnTo>
                    <a:pt x="630" y="1974"/>
                  </a:lnTo>
                  <a:lnTo>
                    <a:pt x="624" y="1968"/>
                  </a:lnTo>
                  <a:lnTo>
                    <a:pt x="624" y="1974"/>
                  </a:lnTo>
                  <a:lnTo>
                    <a:pt x="624" y="1968"/>
                  </a:lnTo>
                  <a:lnTo>
                    <a:pt x="618" y="1962"/>
                  </a:lnTo>
                  <a:lnTo>
                    <a:pt x="612" y="1962"/>
                  </a:lnTo>
                  <a:lnTo>
                    <a:pt x="612" y="1956"/>
                  </a:lnTo>
                  <a:lnTo>
                    <a:pt x="600" y="1956"/>
                  </a:lnTo>
                  <a:lnTo>
                    <a:pt x="600" y="1950"/>
                  </a:lnTo>
                  <a:lnTo>
                    <a:pt x="600" y="1944"/>
                  </a:lnTo>
                  <a:lnTo>
                    <a:pt x="600" y="1938"/>
                  </a:lnTo>
                  <a:lnTo>
                    <a:pt x="606" y="1938"/>
                  </a:lnTo>
                  <a:lnTo>
                    <a:pt x="600" y="1938"/>
                  </a:lnTo>
                  <a:lnTo>
                    <a:pt x="600" y="1932"/>
                  </a:lnTo>
                  <a:lnTo>
                    <a:pt x="606" y="1932"/>
                  </a:lnTo>
                  <a:lnTo>
                    <a:pt x="600" y="1932"/>
                  </a:lnTo>
                  <a:lnTo>
                    <a:pt x="594" y="1932"/>
                  </a:lnTo>
                  <a:lnTo>
                    <a:pt x="588" y="1932"/>
                  </a:lnTo>
                  <a:lnTo>
                    <a:pt x="588" y="1926"/>
                  </a:lnTo>
                  <a:lnTo>
                    <a:pt x="582" y="1920"/>
                  </a:lnTo>
                  <a:lnTo>
                    <a:pt x="588" y="1920"/>
                  </a:lnTo>
                  <a:lnTo>
                    <a:pt x="588" y="1914"/>
                  </a:lnTo>
                  <a:lnTo>
                    <a:pt x="594" y="1914"/>
                  </a:lnTo>
                  <a:lnTo>
                    <a:pt x="594" y="1920"/>
                  </a:lnTo>
                  <a:lnTo>
                    <a:pt x="600" y="1920"/>
                  </a:lnTo>
                  <a:lnTo>
                    <a:pt x="606" y="1920"/>
                  </a:lnTo>
                  <a:lnTo>
                    <a:pt x="606" y="1914"/>
                  </a:lnTo>
                  <a:lnTo>
                    <a:pt x="612" y="1914"/>
                  </a:lnTo>
                  <a:lnTo>
                    <a:pt x="612" y="1908"/>
                  </a:lnTo>
                  <a:lnTo>
                    <a:pt x="612" y="1902"/>
                  </a:lnTo>
                  <a:lnTo>
                    <a:pt x="612" y="1896"/>
                  </a:lnTo>
                  <a:lnTo>
                    <a:pt x="618" y="1890"/>
                  </a:lnTo>
                  <a:lnTo>
                    <a:pt x="624" y="1884"/>
                  </a:lnTo>
                  <a:lnTo>
                    <a:pt x="624" y="1878"/>
                  </a:lnTo>
                  <a:lnTo>
                    <a:pt x="618" y="1872"/>
                  </a:lnTo>
                  <a:lnTo>
                    <a:pt x="618" y="1866"/>
                  </a:lnTo>
                  <a:lnTo>
                    <a:pt x="612" y="1860"/>
                  </a:lnTo>
                  <a:lnTo>
                    <a:pt x="612" y="1854"/>
                  </a:lnTo>
                  <a:lnTo>
                    <a:pt x="618" y="1854"/>
                  </a:lnTo>
                  <a:lnTo>
                    <a:pt x="618" y="1848"/>
                  </a:lnTo>
                  <a:lnTo>
                    <a:pt x="618" y="1836"/>
                  </a:lnTo>
                  <a:lnTo>
                    <a:pt x="618" y="1830"/>
                  </a:lnTo>
                  <a:lnTo>
                    <a:pt x="612" y="1824"/>
                  </a:lnTo>
                  <a:lnTo>
                    <a:pt x="606" y="1824"/>
                  </a:lnTo>
                  <a:lnTo>
                    <a:pt x="606" y="1818"/>
                  </a:lnTo>
                  <a:lnTo>
                    <a:pt x="600" y="1818"/>
                  </a:lnTo>
                  <a:lnTo>
                    <a:pt x="600" y="1812"/>
                  </a:lnTo>
                  <a:lnTo>
                    <a:pt x="600" y="1806"/>
                  </a:lnTo>
                  <a:lnTo>
                    <a:pt x="594" y="1800"/>
                  </a:lnTo>
                  <a:lnTo>
                    <a:pt x="588" y="1800"/>
                  </a:lnTo>
                  <a:lnTo>
                    <a:pt x="588" y="1794"/>
                  </a:lnTo>
                  <a:lnTo>
                    <a:pt x="588" y="1788"/>
                  </a:lnTo>
                  <a:lnTo>
                    <a:pt x="582" y="1788"/>
                  </a:lnTo>
                  <a:lnTo>
                    <a:pt x="582" y="1782"/>
                  </a:lnTo>
                  <a:lnTo>
                    <a:pt x="582" y="1776"/>
                  </a:lnTo>
                  <a:lnTo>
                    <a:pt x="576" y="1770"/>
                  </a:lnTo>
                  <a:lnTo>
                    <a:pt x="576" y="1764"/>
                  </a:lnTo>
                  <a:lnTo>
                    <a:pt x="576" y="1770"/>
                  </a:lnTo>
                  <a:lnTo>
                    <a:pt x="582" y="1770"/>
                  </a:lnTo>
                  <a:lnTo>
                    <a:pt x="582" y="1764"/>
                  </a:lnTo>
                  <a:lnTo>
                    <a:pt x="582" y="1758"/>
                  </a:lnTo>
                  <a:lnTo>
                    <a:pt x="576" y="1758"/>
                  </a:lnTo>
                  <a:lnTo>
                    <a:pt x="570" y="1752"/>
                  </a:lnTo>
                  <a:lnTo>
                    <a:pt x="564" y="1746"/>
                  </a:lnTo>
                  <a:lnTo>
                    <a:pt x="564" y="1740"/>
                  </a:lnTo>
                  <a:lnTo>
                    <a:pt x="564" y="1734"/>
                  </a:lnTo>
                  <a:lnTo>
                    <a:pt x="558" y="1728"/>
                  </a:lnTo>
                  <a:lnTo>
                    <a:pt x="558" y="1734"/>
                  </a:lnTo>
                  <a:lnTo>
                    <a:pt x="558" y="1728"/>
                  </a:lnTo>
                  <a:lnTo>
                    <a:pt x="558" y="1722"/>
                  </a:lnTo>
                  <a:lnTo>
                    <a:pt x="558" y="1716"/>
                  </a:lnTo>
                  <a:lnTo>
                    <a:pt x="552" y="1716"/>
                  </a:lnTo>
                  <a:lnTo>
                    <a:pt x="552" y="1710"/>
                  </a:lnTo>
                  <a:lnTo>
                    <a:pt x="546" y="1704"/>
                  </a:lnTo>
                  <a:lnTo>
                    <a:pt x="540" y="1704"/>
                  </a:lnTo>
                  <a:lnTo>
                    <a:pt x="540" y="1698"/>
                  </a:lnTo>
                  <a:lnTo>
                    <a:pt x="534" y="1698"/>
                  </a:lnTo>
                  <a:lnTo>
                    <a:pt x="534" y="1704"/>
                  </a:lnTo>
                  <a:lnTo>
                    <a:pt x="534" y="1698"/>
                  </a:lnTo>
                  <a:lnTo>
                    <a:pt x="534" y="1692"/>
                  </a:lnTo>
                  <a:lnTo>
                    <a:pt x="528" y="1692"/>
                  </a:lnTo>
                  <a:lnTo>
                    <a:pt x="528" y="1686"/>
                  </a:lnTo>
                  <a:lnTo>
                    <a:pt x="522" y="1686"/>
                  </a:lnTo>
                  <a:lnTo>
                    <a:pt x="522" y="1680"/>
                  </a:lnTo>
                  <a:lnTo>
                    <a:pt x="516" y="1680"/>
                  </a:lnTo>
                  <a:lnTo>
                    <a:pt x="522" y="1686"/>
                  </a:lnTo>
                  <a:lnTo>
                    <a:pt x="522" y="1692"/>
                  </a:lnTo>
                  <a:lnTo>
                    <a:pt x="516" y="1692"/>
                  </a:lnTo>
                  <a:lnTo>
                    <a:pt x="510" y="1686"/>
                  </a:lnTo>
                  <a:lnTo>
                    <a:pt x="504" y="1686"/>
                  </a:lnTo>
                  <a:lnTo>
                    <a:pt x="504" y="1680"/>
                  </a:lnTo>
                  <a:lnTo>
                    <a:pt x="498" y="1680"/>
                  </a:lnTo>
                  <a:lnTo>
                    <a:pt x="498" y="1686"/>
                  </a:lnTo>
                  <a:lnTo>
                    <a:pt x="498" y="1680"/>
                  </a:lnTo>
                  <a:lnTo>
                    <a:pt x="498" y="1674"/>
                  </a:lnTo>
                  <a:lnTo>
                    <a:pt x="492" y="1674"/>
                  </a:lnTo>
                  <a:lnTo>
                    <a:pt x="492" y="1668"/>
                  </a:lnTo>
                  <a:lnTo>
                    <a:pt x="498" y="1662"/>
                  </a:lnTo>
                  <a:lnTo>
                    <a:pt x="492" y="1662"/>
                  </a:lnTo>
                  <a:lnTo>
                    <a:pt x="492" y="1656"/>
                  </a:lnTo>
                  <a:lnTo>
                    <a:pt x="486" y="1656"/>
                  </a:lnTo>
                  <a:lnTo>
                    <a:pt x="486" y="1650"/>
                  </a:lnTo>
                  <a:lnTo>
                    <a:pt x="492" y="1644"/>
                  </a:lnTo>
                  <a:lnTo>
                    <a:pt x="498" y="1638"/>
                  </a:lnTo>
                  <a:lnTo>
                    <a:pt x="498" y="1632"/>
                  </a:lnTo>
                  <a:lnTo>
                    <a:pt x="498" y="1626"/>
                  </a:lnTo>
                  <a:lnTo>
                    <a:pt x="504" y="1620"/>
                  </a:lnTo>
                  <a:lnTo>
                    <a:pt x="504" y="1614"/>
                  </a:lnTo>
                  <a:lnTo>
                    <a:pt x="504" y="1608"/>
                  </a:lnTo>
                  <a:lnTo>
                    <a:pt x="498" y="1608"/>
                  </a:lnTo>
                  <a:lnTo>
                    <a:pt x="498" y="1602"/>
                  </a:lnTo>
                  <a:lnTo>
                    <a:pt x="492" y="1602"/>
                  </a:lnTo>
                  <a:lnTo>
                    <a:pt x="486" y="1602"/>
                  </a:lnTo>
                  <a:lnTo>
                    <a:pt x="480" y="1602"/>
                  </a:lnTo>
                  <a:lnTo>
                    <a:pt x="474" y="1602"/>
                  </a:lnTo>
                  <a:lnTo>
                    <a:pt x="468" y="1602"/>
                  </a:lnTo>
                  <a:lnTo>
                    <a:pt x="474" y="1596"/>
                  </a:lnTo>
                  <a:lnTo>
                    <a:pt x="468" y="1596"/>
                  </a:lnTo>
                  <a:lnTo>
                    <a:pt x="462" y="1596"/>
                  </a:lnTo>
                  <a:lnTo>
                    <a:pt x="456" y="1590"/>
                  </a:lnTo>
                  <a:lnTo>
                    <a:pt x="456" y="1584"/>
                  </a:lnTo>
                  <a:lnTo>
                    <a:pt x="450" y="1584"/>
                  </a:lnTo>
                  <a:lnTo>
                    <a:pt x="450" y="1578"/>
                  </a:lnTo>
                  <a:lnTo>
                    <a:pt x="450" y="1572"/>
                  </a:lnTo>
                  <a:lnTo>
                    <a:pt x="450" y="1566"/>
                  </a:lnTo>
                  <a:lnTo>
                    <a:pt x="450" y="1560"/>
                  </a:lnTo>
                  <a:lnTo>
                    <a:pt x="450" y="1554"/>
                  </a:lnTo>
                  <a:lnTo>
                    <a:pt x="444" y="1560"/>
                  </a:lnTo>
                  <a:lnTo>
                    <a:pt x="444" y="1554"/>
                  </a:lnTo>
                  <a:lnTo>
                    <a:pt x="444" y="1548"/>
                  </a:lnTo>
                  <a:lnTo>
                    <a:pt x="438" y="1548"/>
                  </a:lnTo>
                  <a:lnTo>
                    <a:pt x="438" y="1542"/>
                  </a:lnTo>
                  <a:lnTo>
                    <a:pt x="432" y="1536"/>
                  </a:lnTo>
                  <a:lnTo>
                    <a:pt x="426" y="1524"/>
                  </a:lnTo>
                  <a:lnTo>
                    <a:pt x="426" y="1518"/>
                  </a:lnTo>
                  <a:lnTo>
                    <a:pt x="426" y="1512"/>
                  </a:lnTo>
                  <a:lnTo>
                    <a:pt x="420" y="1512"/>
                  </a:lnTo>
                  <a:lnTo>
                    <a:pt x="426" y="1512"/>
                  </a:lnTo>
                  <a:lnTo>
                    <a:pt x="426" y="1506"/>
                  </a:lnTo>
                  <a:lnTo>
                    <a:pt x="420" y="1500"/>
                  </a:lnTo>
                  <a:lnTo>
                    <a:pt x="420" y="1494"/>
                  </a:lnTo>
                  <a:lnTo>
                    <a:pt x="414" y="1488"/>
                  </a:lnTo>
                  <a:lnTo>
                    <a:pt x="414" y="1482"/>
                  </a:lnTo>
                  <a:lnTo>
                    <a:pt x="414" y="1476"/>
                  </a:lnTo>
                  <a:lnTo>
                    <a:pt x="408" y="1476"/>
                  </a:lnTo>
                  <a:lnTo>
                    <a:pt x="408" y="1470"/>
                  </a:lnTo>
                  <a:lnTo>
                    <a:pt x="402" y="1464"/>
                  </a:lnTo>
                  <a:lnTo>
                    <a:pt x="402" y="1458"/>
                  </a:lnTo>
                  <a:lnTo>
                    <a:pt x="402" y="1452"/>
                  </a:lnTo>
                  <a:lnTo>
                    <a:pt x="396" y="1452"/>
                  </a:lnTo>
                  <a:lnTo>
                    <a:pt x="402" y="1452"/>
                  </a:lnTo>
                  <a:lnTo>
                    <a:pt x="396" y="1452"/>
                  </a:lnTo>
                  <a:lnTo>
                    <a:pt x="396" y="1446"/>
                  </a:lnTo>
                  <a:lnTo>
                    <a:pt x="390" y="1446"/>
                  </a:lnTo>
                  <a:lnTo>
                    <a:pt x="384" y="1440"/>
                  </a:lnTo>
                  <a:lnTo>
                    <a:pt x="384" y="1434"/>
                  </a:lnTo>
                  <a:lnTo>
                    <a:pt x="378" y="1428"/>
                  </a:lnTo>
                  <a:lnTo>
                    <a:pt x="372" y="1428"/>
                  </a:lnTo>
                  <a:lnTo>
                    <a:pt x="366" y="1422"/>
                  </a:lnTo>
                  <a:lnTo>
                    <a:pt x="372" y="1416"/>
                  </a:lnTo>
                  <a:lnTo>
                    <a:pt x="366" y="1416"/>
                  </a:lnTo>
                  <a:lnTo>
                    <a:pt x="366" y="1410"/>
                  </a:lnTo>
                  <a:lnTo>
                    <a:pt x="366" y="1404"/>
                  </a:lnTo>
                  <a:lnTo>
                    <a:pt x="360" y="1404"/>
                  </a:lnTo>
                  <a:lnTo>
                    <a:pt x="360" y="1398"/>
                  </a:lnTo>
                  <a:lnTo>
                    <a:pt x="360" y="1392"/>
                  </a:lnTo>
                  <a:lnTo>
                    <a:pt x="360" y="1386"/>
                  </a:lnTo>
                  <a:lnTo>
                    <a:pt x="360" y="1380"/>
                  </a:lnTo>
                  <a:lnTo>
                    <a:pt x="354" y="1380"/>
                  </a:lnTo>
                  <a:lnTo>
                    <a:pt x="354" y="1386"/>
                  </a:lnTo>
                  <a:lnTo>
                    <a:pt x="348" y="1380"/>
                  </a:lnTo>
                  <a:lnTo>
                    <a:pt x="354" y="1380"/>
                  </a:lnTo>
                  <a:lnTo>
                    <a:pt x="354" y="1374"/>
                  </a:lnTo>
                  <a:lnTo>
                    <a:pt x="348" y="1374"/>
                  </a:lnTo>
                  <a:lnTo>
                    <a:pt x="342" y="1368"/>
                  </a:lnTo>
                  <a:lnTo>
                    <a:pt x="342" y="1362"/>
                  </a:lnTo>
                  <a:lnTo>
                    <a:pt x="342" y="1368"/>
                  </a:lnTo>
                  <a:lnTo>
                    <a:pt x="342" y="1362"/>
                  </a:lnTo>
                  <a:lnTo>
                    <a:pt x="336" y="1362"/>
                  </a:lnTo>
                  <a:lnTo>
                    <a:pt x="330" y="1356"/>
                  </a:lnTo>
                  <a:lnTo>
                    <a:pt x="324" y="1350"/>
                  </a:lnTo>
                  <a:lnTo>
                    <a:pt x="318" y="1344"/>
                  </a:lnTo>
                  <a:lnTo>
                    <a:pt x="318" y="1338"/>
                  </a:lnTo>
                  <a:lnTo>
                    <a:pt x="312" y="1338"/>
                  </a:lnTo>
                  <a:lnTo>
                    <a:pt x="312" y="1332"/>
                  </a:lnTo>
                  <a:lnTo>
                    <a:pt x="306" y="1326"/>
                  </a:lnTo>
                  <a:lnTo>
                    <a:pt x="300" y="1320"/>
                  </a:lnTo>
                  <a:lnTo>
                    <a:pt x="306" y="1314"/>
                  </a:lnTo>
                  <a:lnTo>
                    <a:pt x="300" y="1314"/>
                  </a:lnTo>
                  <a:lnTo>
                    <a:pt x="306" y="1314"/>
                  </a:lnTo>
                  <a:lnTo>
                    <a:pt x="306" y="1308"/>
                  </a:lnTo>
                  <a:lnTo>
                    <a:pt x="312" y="1308"/>
                  </a:lnTo>
                  <a:lnTo>
                    <a:pt x="312" y="1302"/>
                  </a:lnTo>
                  <a:lnTo>
                    <a:pt x="312" y="1296"/>
                  </a:lnTo>
                  <a:lnTo>
                    <a:pt x="306" y="1296"/>
                  </a:lnTo>
                  <a:lnTo>
                    <a:pt x="306" y="1290"/>
                  </a:lnTo>
                  <a:lnTo>
                    <a:pt x="300" y="1284"/>
                  </a:lnTo>
                  <a:lnTo>
                    <a:pt x="300" y="1278"/>
                  </a:lnTo>
                  <a:lnTo>
                    <a:pt x="294" y="1272"/>
                  </a:lnTo>
                  <a:lnTo>
                    <a:pt x="288" y="1266"/>
                  </a:lnTo>
                  <a:lnTo>
                    <a:pt x="282" y="1266"/>
                  </a:lnTo>
                  <a:lnTo>
                    <a:pt x="276" y="1266"/>
                  </a:lnTo>
                  <a:lnTo>
                    <a:pt x="276" y="1260"/>
                  </a:lnTo>
                  <a:lnTo>
                    <a:pt x="270" y="1254"/>
                  </a:lnTo>
                  <a:lnTo>
                    <a:pt x="270" y="1248"/>
                  </a:lnTo>
                  <a:lnTo>
                    <a:pt x="264" y="1248"/>
                  </a:lnTo>
                  <a:lnTo>
                    <a:pt x="264" y="1242"/>
                  </a:lnTo>
                  <a:lnTo>
                    <a:pt x="264" y="1248"/>
                  </a:lnTo>
                  <a:lnTo>
                    <a:pt x="264" y="1242"/>
                  </a:lnTo>
                  <a:lnTo>
                    <a:pt x="258" y="1242"/>
                  </a:lnTo>
                  <a:lnTo>
                    <a:pt x="264" y="1236"/>
                  </a:lnTo>
                  <a:lnTo>
                    <a:pt x="258" y="1236"/>
                  </a:lnTo>
                  <a:lnTo>
                    <a:pt x="258" y="1230"/>
                  </a:lnTo>
                  <a:lnTo>
                    <a:pt x="252" y="1230"/>
                  </a:lnTo>
                  <a:lnTo>
                    <a:pt x="252" y="1224"/>
                  </a:lnTo>
                  <a:lnTo>
                    <a:pt x="252" y="1218"/>
                  </a:lnTo>
                  <a:lnTo>
                    <a:pt x="246" y="1212"/>
                  </a:lnTo>
                  <a:lnTo>
                    <a:pt x="252" y="1212"/>
                  </a:lnTo>
                  <a:lnTo>
                    <a:pt x="246" y="1206"/>
                  </a:lnTo>
                  <a:lnTo>
                    <a:pt x="252" y="1206"/>
                  </a:lnTo>
                  <a:lnTo>
                    <a:pt x="246" y="1206"/>
                  </a:lnTo>
                  <a:lnTo>
                    <a:pt x="246" y="1200"/>
                  </a:lnTo>
                  <a:lnTo>
                    <a:pt x="252" y="1200"/>
                  </a:lnTo>
                  <a:lnTo>
                    <a:pt x="246" y="1200"/>
                  </a:lnTo>
                  <a:lnTo>
                    <a:pt x="246" y="1194"/>
                  </a:lnTo>
                  <a:lnTo>
                    <a:pt x="252" y="1194"/>
                  </a:lnTo>
                  <a:lnTo>
                    <a:pt x="246" y="1194"/>
                  </a:lnTo>
                  <a:lnTo>
                    <a:pt x="240" y="1188"/>
                  </a:lnTo>
                  <a:lnTo>
                    <a:pt x="240" y="1182"/>
                  </a:lnTo>
                  <a:lnTo>
                    <a:pt x="240" y="1176"/>
                  </a:lnTo>
                  <a:lnTo>
                    <a:pt x="234" y="1170"/>
                  </a:lnTo>
                  <a:lnTo>
                    <a:pt x="234" y="1164"/>
                  </a:lnTo>
                  <a:lnTo>
                    <a:pt x="234" y="1158"/>
                  </a:lnTo>
                  <a:lnTo>
                    <a:pt x="228" y="1158"/>
                  </a:lnTo>
                  <a:lnTo>
                    <a:pt x="228" y="1152"/>
                  </a:lnTo>
                  <a:lnTo>
                    <a:pt x="222" y="1152"/>
                  </a:lnTo>
                  <a:lnTo>
                    <a:pt x="216" y="1152"/>
                  </a:lnTo>
                  <a:lnTo>
                    <a:pt x="210" y="1146"/>
                  </a:lnTo>
                  <a:lnTo>
                    <a:pt x="210" y="1140"/>
                  </a:lnTo>
                  <a:lnTo>
                    <a:pt x="210" y="1134"/>
                  </a:lnTo>
                  <a:lnTo>
                    <a:pt x="204" y="1128"/>
                  </a:lnTo>
                  <a:lnTo>
                    <a:pt x="204" y="1122"/>
                  </a:lnTo>
                  <a:lnTo>
                    <a:pt x="198" y="1116"/>
                  </a:lnTo>
                  <a:lnTo>
                    <a:pt x="192" y="1110"/>
                  </a:lnTo>
                  <a:lnTo>
                    <a:pt x="192" y="1104"/>
                  </a:lnTo>
                  <a:lnTo>
                    <a:pt x="186" y="1104"/>
                  </a:lnTo>
                  <a:lnTo>
                    <a:pt x="180" y="1104"/>
                  </a:lnTo>
                  <a:lnTo>
                    <a:pt x="180" y="1098"/>
                  </a:lnTo>
                  <a:lnTo>
                    <a:pt x="174" y="1098"/>
                  </a:lnTo>
                  <a:lnTo>
                    <a:pt x="168" y="1098"/>
                  </a:lnTo>
                  <a:lnTo>
                    <a:pt x="168" y="1092"/>
                  </a:lnTo>
                  <a:lnTo>
                    <a:pt x="174" y="1092"/>
                  </a:lnTo>
                  <a:lnTo>
                    <a:pt x="180" y="1086"/>
                  </a:lnTo>
                  <a:lnTo>
                    <a:pt x="180" y="1092"/>
                  </a:lnTo>
                  <a:lnTo>
                    <a:pt x="180" y="1086"/>
                  </a:lnTo>
                  <a:lnTo>
                    <a:pt x="186" y="1086"/>
                  </a:lnTo>
                  <a:lnTo>
                    <a:pt x="180" y="1080"/>
                  </a:lnTo>
                  <a:lnTo>
                    <a:pt x="174" y="1080"/>
                  </a:lnTo>
                  <a:lnTo>
                    <a:pt x="168" y="1080"/>
                  </a:lnTo>
                  <a:lnTo>
                    <a:pt x="162" y="1080"/>
                  </a:lnTo>
                  <a:lnTo>
                    <a:pt x="156" y="1080"/>
                  </a:lnTo>
                  <a:lnTo>
                    <a:pt x="156" y="1074"/>
                  </a:lnTo>
                  <a:lnTo>
                    <a:pt x="150" y="1074"/>
                  </a:lnTo>
                  <a:lnTo>
                    <a:pt x="144" y="1068"/>
                  </a:lnTo>
                  <a:lnTo>
                    <a:pt x="138" y="1068"/>
                  </a:lnTo>
                  <a:lnTo>
                    <a:pt x="138" y="1062"/>
                  </a:lnTo>
                  <a:lnTo>
                    <a:pt x="132" y="1062"/>
                  </a:lnTo>
                  <a:lnTo>
                    <a:pt x="132" y="1068"/>
                  </a:lnTo>
                  <a:lnTo>
                    <a:pt x="138" y="1068"/>
                  </a:lnTo>
                  <a:lnTo>
                    <a:pt x="138" y="1074"/>
                  </a:lnTo>
                  <a:lnTo>
                    <a:pt x="132" y="1074"/>
                  </a:lnTo>
                  <a:lnTo>
                    <a:pt x="132" y="1068"/>
                  </a:lnTo>
                  <a:lnTo>
                    <a:pt x="126" y="1068"/>
                  </a:lnTo>
                  <a:lnTo>
                    <a:pt x="120" y="1068"/>
                  </a:lnTo>
                  <a:lnTo>
                    <a:pt x="120" y="1074"/>
                  </a:lnTo>
                  <a:lnTo>
                    <a:pt x="114" y="1074"/>
                  </a:lnTo>
                  <a:lnTo>
                    <a:pt x="108" y="1074"/>
                  </a:lnTo>
                  <a:lnTo>
                    <a:pt x="102" y="1074"/>
                  </a:lnTo>
                  <a:lnTo>
                    <a:pt x="96" y="1074"/>
                  </a:lnTo>
                  <a:lnTo>
                    <a:pt x="96" y="1080"/>
                  </a:lnTo>
                  <a:lnTo>
                    <a:pt x="90" y="1080"/>
                  </a:lnTo>
                  <a:lnTo>
                    <a:pt x="90" y="1074"/>
                  </a:lnTo>
                  <a:lnTo>
                    <a:pt x="90" y="1068"/>
                  </a:lnTo>
                  <a:lnTo>
                    <a:pt x="96" y="1068"/>
                  </a:lnTo>
                  <a:lnTo>
                    <a:pt x="90" y="1068"/>
                  </a:lnTo>
                  <a:lnTo>
                    <a:pt x="84" y="1068"/>
                  </a:lnTo>
                  <a:lnTo>
                    <a:pt x="90" y="1068"/>
                  </a:lnTo>
                  <a:lnTo>
                    <a:pt x="84" y="1068"/>
                  </a:lnTo>
                  <a:lnTo>
                    <a:pt x="84" y="1074"/>
                  </a:lnTo>
                  <a:lnTo>
                    <a:pt x="78" y="1080"/>
                  </a:lnTo>
                  <a:lnTo>
                    <a:pt x="78" y="1074"/>
                  </a:lnTo>
                  <a:lnTo>
                    <a:pt x="84" y="1074"/>
                  </a:lnTo>
                  <a:lnTo>
                    <a:pt x="84" y="1068"/>
                  </a:lnTo>
                  <a:lnTo>
                    <a:pt x="78" y="1068"/>
                  </a:lnTo>
                  <a:lnTo>
                    <a:pt x="78" y="1074"/>
                  </a:lnTo>
                  <a:lnTo>
                    <a:pt x="72" y="1074"/>
                  </a:lnTo>
                  <a:lnTo>
                    <a:pt x="72" y="1068"/>
                  </a:lnTo>
                  <a:lnTo>
                    <a:pt x="72" y="1074"/>
                  </a:lnTo>
                  <a:lnTo>
                    <a:pt x="66" y="1074"/>
                  </a:lnTo>
                  <a:lnTo>
                    <a:pt x="66" y="1080"/>
                  </a:lnTo>
                  <a:lnTo>
                    <a:pt x="72" y="1080"/>
                  </a:lnTo>
                  <a:lnTo>
                    <a:pt x="66" y="1080"/>
                  </a:lnTo>
                  <a:lnTo>
                    <a:pt x="66" y="1074"/>
                  </a:lnTo>
                  <a:lnTo>
                    <a:pt x="66" y="1068"/>
                  </a:lnTo>
                  <a:lnTo>
                    <a:pt x="60" y="1068"/>
                  </a:lnTo>
                  <a:lnTo>
                    <a:pt x="60" y="1062"/>
                  </a:lnTo>
                  <a:lnTo>
                    <a:pt x="54" y="1062"/>
                  </a:lnTo>
                  <a:lnTo>
                    <a:pt x="48" y="1062"/>
                  </a:lnTo>
                  <a:lnTo>
                    <a:pt x="48" y="1068"/>
                  </a:lnTo>
                  <a:lnTo>
                    <a:pt x="42" y="1068"/>
                  </a:lnTo>
                  <a:lnTo>
                    <a:pt x="42" y="1074"/>
                  </a:lnTo>
                  <a:lnTo>
                    <a:pt x="48" y="1074"/>
                  </a:lnTo>
                  <a:lnTo>
                    <a:pt x="48" y="1080"/>
                  </a:lnTo>
                  <a:lnTo>
                    <a:pt x="42" y="1080"/>
                  </a:lnTo>
                  <a:lnTo>
                    <a:pt x="36" y="1086"/>
                  </a:lnTo>
                  <a:lnTo>
                    <a:pt x="36" y="1092"/>
                  </a:lnTo>
                  <a:lnTo>
                    <a:pt x="30" y="1092"/>
                  </a:lnTo>
                  <a:lnTo>
                    <a:pt x="30" y="1086"/>
                  </a:lnTo>
                  <a:lnTo>
                    <a:pt x="36" y="1086"/>
                  </a:lnTo>
                  <a:lnTo>
                    <a:pt x="30" y="1086"/>
                  </a:lnTo>
                  <a:lnTo>
                    <a:pt x="30" y="1080"/>
                  </a:lnTo>
                  <a:lnTo>
                    <a:pt x="30" y="1074"/>
                  </a:lnTo>
                  <a:lnTo>
                    <a:pt x="30" y="1068"/>
                  </a:lnTo>
                  <a:lnTo>
                    <a:pt x="24" y="1074"/>
                  </a:lnTo>
                  <a:lnTo>
                    <a:pt x="24" y="1068"/>
                  </a:lnTo>
                  <a:lnTo>
                    <a:pt x="24" y="1062"/>
                  </a:lnTo>
                  <a:lnTo>
                    <a:pt x="30" y="1062"/>
                  </a:lnTo>
                  <a:lnTo>
                    <a:pt x="36" y="1056"/>
                  </a:lnTo>
                  <a:lnTo>
                    <a:pt x="36" y="1050"/>
                  </a:lnTo>
                  <a:lnTo>
                    <a:pt x="42" y="1050"/>
                  </a:lnTo>
                  <a:lnTo>
                    <a:pt x="48" y="1056"/>
                  </a:lnTo>
                  <a:lnTo>
                    <a:pt x="48" y="1050"/>
                  </a:lnTo>
                  <a:lnTo>
                    <a:pt x="42" y="1050"/>
                  </a:lnTo>
                  <a:lnTo>
                    <a:pt x="42" y="1044"/>
                  </a:lnTo>
                  <a:lnTo>
                    <a:pt x="48" y="1044"/>
                  </a:lnTo>
                  <a:lnTo>
                    <a:pt x="48" y="1038"/>
                  </a:lnTo>
                  <a:lnTo>
                    <a:pt x="54" y="1032"/>
                  </a:lnTo>
                  <a:lnTo>
                    <a:pt x="54" y="1026"/>
                  </a:lnTo>
                  <a:lnTo>
                    <a:pt x="60" y="1020"/>
                  </a:lnTo>
                  <a:lnTo>
                    <a:pt x="66" y="1014"/>
                  </a:lnTo>
                  <a:lnTo>
                    <a:pt x="66" y="1008"/>
                  </a:lnTo>
                  <a:lnTo>
                    <a:pt x="66" y="1002"/>
                  </a:lnTo>
                  <a:lnTo>
                    <a:pt x="72" y="996"/>
                  </a:lnTo>
                  <a:lnTo>
                    <a:pt x="72" y="990"/>
                  </a:lnTo>
                  <a:lnTo>
                    <a:pt x="78" y="984"/>
                  </a:lnTo>
                  <a:lnTo>
                    <a:pt x="78" y="978"/>
                  </a:lnTo>
                  <a:lnTo>
                    <a:pt x="84" y="978"/>
                  </a:lnTo>
                  <a:lnTo>
                    <a:pt x="84" y="972"/>
                  </a:lnTo>
                  <a:lnTo>
                    <a:pt x="90" y="966"/>
                  </a:lnTo>
                  <a:lnTo>
                    <a:pt x="90" y="960"/>
                  </a:lnTo>
                  <a:lnTo>
                    <a:pt x="96" y="960"/>
                  </a:lnTo>
                  <a:lnTo>
                    <a:pt x="96" y="954"/>
                  </a:lnTo>
                  <a:lnTo>
                    <a:pt x="96" y="948"/>
                  </a:lnTo>
                  <a:lnTo>
                    <a:pt x="90" y="948"/>
                  </a:lnTo>
                  <a:lnTo>
                    <a:pt x="90" y="942"/>
                  </a:lnTo>
                  <a:lnTo>
                    <a:pt x="96" y="942"/>
                  </a:lnTo>
                  <a:lnTo>
                    <a:pt x="96" y="936"/>
                  </a:lnTo>
                  <a:lnTo>
                    <a:pt x="96" y="930"/>
                  </a:lnTo>
                  <a:lnTo>
                    <a:pt x="90" y="924"/>
                  </a:lnTo>
                  <a:lnTo>
                    <a:pt x="96" y="918"/>
                  </a:lnTo>
                  <a:lnTo>
                    <a:pt x="96" y="912"/>
                  </a:lnTo>
                  <a:lnTo>
                    <a:pt x="102" y="906"/>
                  </a:lnTo>
                  <a:lnTo>
                    <a:pt x="102" y="900"/>
                  </a:lnTo>
                  <a:lnTo>
                    <a:pt x="102" y="894"/>
                  </a:lnTo>
                  <a:lnTo>
                    <a:pt x="108" y="888"/>
                  </a:lnTo>
                  <a:lnTo>
                    <a:pt x="114" y="882"/>
                  </a:lnTo>
                  <a:lnTo>
                    <a:pt x="108" y="882"/>
                  </a:lnTo>
                  <a:lnTo>
                    <a:pt x="114" y="876"/>
                  </a:lnTo>
                  <a:lnTo>
                    <a:pt x="114" y="870"/>
                  </a:lnTo>
                  <a:lnTo>
                    <a:pt x="108" y="870"/>
                  </a:lnTo>
                  <a:lnTo>
                    <a:pt x="108" y="864"/>
                  </a:lnTo>
                  <a:lnTo>
                    <a:pt x="114" y="864"/>
                  </a:lnTo>
                  <a:lnTo>
                    <a:pt x="114" y="858"/>
                  </a:lnTo>
                  <a:lnTo>
                    <a:pt x="114" y="852"/>
                  </a:lnTo>
                  <a:lnTo>
                    <a:pt x="120" y="852"/>
                  </a:lnTo>
                  <a:lnTo>
                    <a:pt x="120" y="846"/>
                  </a:lnTo>
                  <a:lnTo>
                    <a:pt x="120" y="840"/>
                  </a:lnTo>
                  <a:lnTo>
                    <a:pt x="126" y="840"/>
                  </a:lnTo>
                  <a:lnTo>
                    <a:pt x="126" y="834"/>
                  </a:lnTo>
                  <a:lnTo>
                    <a:pt x="120" y="828"/>
                  </a:lnTo>
                  <a:lnTo>
                    <a:pt x="126" y="822"/>
                  </a:lnTo>
                  <a:lnTo>
                    <a:pt x="132" y="816"/>
                  </a:lnTo>
                  <a:lnTo>
                    <a:pt x="132" y="810"/>
                  </a:lnTo>
                  <a:lnTo>
                    <a:pt x="132" y="804"/>
                  </a:lnTo>
                  <a:lnTo>
                    <a:pt x="132" y="798"/>
                  </a:lnTo>
                  <a:lnTo>
                    <a:pt x="138" y="798"/>
                  </a:lnTo>
                  <a:lnTo>
                    <a:pt x="138" y="792"/>
                  </a:lnTo>
                  <a:lnTo>
                    <a:pt x="138" y="786"/>
                  </a:lnTo>
                  <a:lnTo>
                    <a:pt x="144" y="786"/>
                  </a:lnTo>
                  <a:lnTo>
                    <a:pt x="138" y="786"/>
                  </a:lnTo>
                  <a:lnTo>
                    <a:pt x="144" y="786"/>
                  </a:lnTo>
                  <a:lnTo>
                    <a:pt x="144" y="780"/>
                  </a:lnTo>
                  <a:lnTo>
                    <a:pt x="144" y="774"/>
                  </a:lnTo>
                  <a:lnTo>
                    <a:pt x="150" y="774"/>
                  </a:lnTo>
                  <a:lnTo>
                    <a:pt x="150" y="768"/>
                  </a:lnTo>
                  <a:lnTo>
                    <a:pt x="150" y="762"/>
                  </a:lnTo>
                  <a:lnTo>
                    <a:pt x="150" y="756"/>
                  </a:lnTo>
                  <a:lnTo>
                    <a:pt x="156" y="756"/>
                  </a:lnTo>
                  <a:lnTo>
                    <a:pt x="156" y="762"/>
                  </a:lnTo>
                  <a:lnTo>
                    <a:pt x="156" y="756"/>
                  </a:lnTo>
                  <a:lnTo>
                    <a:pt x="156" y="750"/>
                  </a:lnTo>
                  <a:lnTo>
                    <a:pt x="156" y="744"/>
                  </a:lnTo>
                  <a:lnTo>
                    <a:pt x="162" y="744"/>
                  </a:lnTo>
                  <a:lnTo>
                    <a:pt x="336" y="774"/>
                  </a:lnTo>
                  <a:lnTo>
                    <a:pt x="438" y="786"/>
                  </a:lnTo>
                  <a:lnTo>
                    <a:pt x="552" y="708"/>
                  </a:lnTo>
                  <a:lnTo>
                    <a:pt x="630" y="612"/>
                  </a:lnTo>
                  <a:lnTo>
                    <a:pt x="822" y="576"/>
                  </a:lnTo>
                  <a:lnTo>
                    <a:pt x="876" y="492"/>
                  </a:lnTo>
                  <a:lnTo>
                    <a:pt x="966" y="444"/>
                  </a:lnTo>
                  <a:lnTo>
                    <a:pt x="798" y="240"/>
                  </a:lnTo>
                  <a:lnTo>
                    <a:pt x="744" y="186"/>
                  </a:lnTo>
                  <a:lnTo>
                    <a:pt x="756" y="186"/>
                  </a:lnTo>
                  <a:lnTo>
                    <a:pt x="960" y="132"/>
                  </a:lnTo>
                  <a:lnTo>
                    <a:pt x="972" y="132"/>
                  </a:lnTo>
                  <a:lnTo>
                    <a:pt x="1290" y="42"/>
                  </a:lnTo>
                  <a:lnTo>
                    <a:pt x="1308" y="30"/>
                  </a:lnTo>
                  <a:lnTo>
                    <a:pt x="1320" y="18"/>
                  </a:lnTo>
                  <a:lnTo>
                    <a:pt x="1350" y="0"/>
                  </a:lnTo>
                  <a:lnTo>
                    <a:pt x="1380" y="6"/>
                  </a:lnTo>
                  <a:lnTo>
                    <a:pt x="1386" y="12"/>
                  </a:lnTo>
                  <a:lnTo>
                    <a:pt x="1422" y="18"/>
                  </a:lnTo>
                  <a:lnTo>
                    <a:pt x="1458" y="24"/>
                  </a:lnTo>
                  <a:lnTo>
                    <a:pt x="1494" y="36"/>
                  </a:lnTo>
                  <a:lnTo>
                    <a:pt x="1506" y="42"/>
                  </a:lnTo>
                  <a:lnTo>
                    <a:pt x="1518" y="42"/>
                  </a:lnTo>
                  <a:lnTo>
                    <a:pt x="1524" y="48"/>
                  </a:lnTo>
                  <a:lnTo>
                    <a:pt x="1542" y="54"/>
                  </a:lnTo>
                  <a:lnTo>
                    <a:pt x="1758" y="156"/>
                  </a:lnTo>
                  <a:lnTo>
                    <a:pt x="2028" y="294"/>
                  </a:lnTo>
                  <a:lnTo>
                    <a:pt x="2046" y="306"/>
                  </a:lnTo>
                  <a:lnTo>
                    <a:pt x="2076" y="318"/>
                  </a:lnTo>
                  <a:lnTo>
                    <a:pt x="2106" y="330"/>
                  </a:lnTo>
                  <a:lnTo>
                    <a:pt x="2142" y="348"/>
                  </a:lnTo>
                  <a:lnTo>
                    <a:pt x="2172" y="360"/>
                  </a:lnTo>
                  <a:lnTo>
                    <a:pt x="2202" y="378"/>
                  </a:lnTo>
                  <a:lnTo>
                    <a:pt x="2208" y="378"/>
                  </a:lnTo>
                  <a:lnTo>
                    <a:pt x="2226" y="390"/>
                  </a:lnTo>
                  <a:lnTo>
                    <a:pt x="2226" y="396"/>
                  </a:lnTo>
                  <a:lnTo>
                    <a:pt x="2232" y="426"/>
                  </a:lnTo>
                  <a:lnTo>
                    <a:pt x="2238" y="456"/>
                  </a:lnTo>
                  <a:lnTo>
                    <a:pt x="2238" y="468"/>
                  </a:lnTo>
                  <a:lnTo>
                    <a:pt x="2262" y="474"/>
                  </a:lnTo>
                  <a:lnTo>
                    <a:pt x="2298" y="474"/>
                  </a:lnTo>
                  <a:lnTo>
                    <a:pt x="2334" y="474"/>
                  </a:lnTo>
                  <a:lnTo>
                    <a:pt x="2370" y="480"/>
                  </a:lnTo>
                  <a:lnTo>
                    <a:pt x="2388" y="480"/>
                  </a:lnTo>
                  <a:lnTo>
                    <a:pt x="2382" y="498"/>
                  </a:lnTo>
                  <a:lnTo>
                    <a:pt x="2376" y="528"/>
                  </a:lnTo>
                  <a:lnTo>
                    <a:pt x="2370" y="552"/>
                  </a:lnTo>
                  <a:lnTo>
                    <a:pt x="2370" y="564"/>
                  </a:lnTo>
                  <a:lnTo>
                    <a:pt x="2364" y="576"/>
                  </a:lnTo>
                  <a:lnTo>
                    <a:pt x="2364" y="594"/>
                  </a:lnTo>
                  <a:lnTo>
                    <a:pt x="2358" y="630"/>
                  </a:lnTo>
                  <a:lnTo>
                    <a:pt x="2352" y="660"/>
                  </a:lnTo>
                  <a:lnTo>
                    <a:pt x="2352" y="678"/>
                  </a:lnTo>
                  <a:lnTo>
                    <a:pt x="2364" y="684"/>
                  </a:lnTo>
                  <a:lnTo>
                    <a:pt x="2394" y="696"/>
                  </a:lnTo>
                  <a:lnTo>
                    <a:pt x="2430" y="708"/>
                  </a:lnTo>
                  <a:lnTo>
                    <a:pt x="2460" y="720"/>
                  </a:lnTo>
                  <a:lnTo>
                    <a:pt x="2490" y="732"/>
                  </a:lnTo>
                  <a:lnTo>
                    <a:pt x="2526" y="744"/>
                  </a:lnTo>
                  <a:lnTo>
                    <a:pt x="2556" y="756"/>
                  </a:lnTo>
                  <a:lnTo>
                    <a:pt x="2592" y="768"/>
                  </a:lnTo>
                  <a:lnTo>
                    <a:pt x="2622" y="780"/>
                  </a:lnTo>
                  <a:lnTo>
                    <a:pt x="2754" y="804"/>
                  </a:lnTo>
                  <a:lnTo>
                    <a:pt x="3084" y="810"/>
                  </a:lnTo>
                  <a:close/>
                  <a:moveTo>
                    <a:pt x="1596" y="3984"/>
                  </a:moveTo>
                  <a:lnTo>
                    <a:pt x="1602" y="3990"/>
                  </a:lnTo>
                  <a:lnTo>
                    <a:pt x="1608" y="3990"/>
                  </a:lnTo>
                  <a:lnTo>
                    <a:pt x="1608" y="3996"/>
                  </a:lnTo>
                  <a:lnTo>
                    <a:pt x="1614" y="3996"/>
                  </a:lnTo>
                  <a:lnTo>
                    <a:pt x="1620" y="4002"/>
                  </a:lnTo>
                  <a:lnTo>
                    <a:pt x="1620" y="4008"/>
                  </a:lnTo>
                  <a:lnTo>
                    <a:pt x="1626" y="4008"/>
                  </a:lnTo>
                  <a:lnTo>
                    <a:pt x="1626" y="4014"/>
                  </a:lnTo>
                  <a:lnTo>
                    <a:pt x="1626" y="4020"/>
                  </a:lnTo>
                  <a:lnTo>
                    <a:pt x="1632" y="4020"/>
                  </a:lnTo>
                  <a:lnTo>
                    <a:pt x="1632" y="4026"/>
                  </a:lnTo>
                  <a:lnTo>
                    <a:pt x="1638" y="4026"/>
                  </a:lnTo>
                  <a:lnTo>
                    <a:pt x="1644" y="4032"/>
                  </a:lnTo>
                  <a:lnTo>
                    <a:pt x="1650" y="4032"/>
                  </a:lnTo>
                  <a:lnTo>
                    <a:pt x="1656" y="4026"/>
                  </a:lnTo>
                  <a:lnTo>
                    <a:pt x="1662" y="4032"/>
                  </a:lnTo>
                  <a:lnTo>
                    <a:pt x="1674" y="4032"/>
                  </a:lnTo>
                  <a:lnTo>
                    <a:pt x="1680" y="4032"/>
                  </a:lnTo>
                  <a:lnTo>
                    <a:pt x="1674" y="4026"/>
                  </a:lnTo>
                  <a:lnTo>
                    <a:pt x="1668" y="4026"/>
                  </a:lnTo>
                  <a:lnTo>
                    <a:pt x="1662" y="4026"/>
                  </a:lnTo>
                  <a:lnTo>
                    <a:pt x="1662" y="4020"/>
                  </a:lnTo>
                  <a:lnTo>
                    <a:pt x="1668" y="4014"/>
                  </a:lnTo>
                  <a:lnTo>
                    <a:pt x="1668" y="4008"/>
                  </a:lnTo>
                  <a:lnTo>
                    <a:pt x="1674" y="4002"/>
                  </a:lnTo>
                  <a:lnTo>
                    <a:pt x="1680" y="4002"/>
                  </a:lnTo>
                  <a:lnTo>
                    <a:pt x="1680" y="4008"/>
                  </a:lnTo>
                  <a:lnTo>
                    <a:pt x="1686" y="4014"/>
                  </a:lnTo>
                  <a:lnTo>
                    <a:pt x="1686" y="4020"/>
                  </a:lnTo>
                  <a:lnTo>
                    <a:pt x="1686" y="4026"/>
                  </a:lnTo>
                  <a:lnTo>
                    <a:pt x="1686" y="4020"/>
                  </a:lnTo>
                  <a:lnTo>
                    <a:pt x="1692" y="4026"/>
                  </a:lnTo>
                  <a:lnTo>
                    <a:pt x="1698" y="4026"/>
                  </a:lnTo>
                  <a:lnTo>
                    <a:pt x="1698" y="4032"/>
                  </a:lnTo>
                  <a:lnTo>
                    <a:pt x="1704" y="4032"/>
                  </a:lnTo>
                  <a:lnTo>
                    <a:pt x="1698" y="4032"/>
                  </a:lnTo>
                  <a:lnTo>
                    <a:pt x="1704" y="4032"/>
                  </a:lnTo>
                  <a:lnTo>
                    <a:pt x="1704" y="4038"/>
                  </a:lnTo>
                  <a:lnTo>
                    <a:pt x="1698" y="4044"/>
                  </a:lnTo>
                  <a:lnTo>
                    <a:pt x="1698" y="4050"/>
                  </a:lnTo>
                  <a:lnTo>
                    <a:pt x="1698" y="4056"/>
                  </a:lnTo>
                  <a:lnTo>
                    <a:pt x="1704" y="4062"/>
                  </a:lnTo>
                  <a:lnTo>
                    <a:pt x="1704" y="4068"/>
                  </a:lnTo>
                  <a:lnTo>
                    <a:pt x="1698" y="4068"/>
                  </a:lnTo>
                  <a:lnTo>
                    <a:pt x="1692" y="4068"/>
                  </a:lnTo>
                  <a:lnTo>
                    <a:pt x="1686" y="4062"/>
                  </a:lnTo>
                  <a:lnTo>
                    <a:pt x="1680" y="4056"/>
                  </a:lnTo>
                  <a:lnTo>
                    <a:pt x="1686" y="4056"/>
                  </a:lnTo>
                  <a:lnTo>
                    <a:pt x="1686" y="4050"/>
                  </a:lnTo>
                  <a:lnTo>
                    <a:pt x="1680" y="4044"/>
                  </a:lnTo>
                  <a:lnTo>
                    <a:pt x="1674" y="4038"/>
                  </a:lnTo>
                  <a:lnTo>
                    <a:pt x="1668" y="4038"/>
                  </a:lnTo>
                  <a:lnTo>
                    <a:pt x="1662" y="4038"/>
                  </a:lnTo>
                  <a:lnTo>
                    <a:pt x="1662" y="4044"/>
                  </a:lnTo>
                  <a:lnTo>
                    <a:pt x="1656" y="4044"/>
                  </a:lnTo>
                  <a:lnTo>
                    <a:pt x="1650" y="4044"/>
                  </a:lnTo>
                  <a:lnTo>
                    <a:pt x="1650" y="4050"/>
                  </a:lnTo>
                  <a:lnTo>
                    <a:pt x="1644" y="4050"/>
                  </a:lnTo>
                  <a:lnTo>
                    <a:pt x="1644" y="4044"/>
                  </a:lnTo>
                  <a:lnTo>
                    <a:pt x="1638" y="4044"/>
                  </a:lnTo>
                  <a:lnTo>
                    <a:pt x="1638" y="4038"/>
                  </a:lnTo>
                  <a:lnTo>
                    <a:pt x="1632" y="4038"/>
                  </a:lnTo>
                  <a:lnTo>
                    <a:pt x="1626" y="4038"/>
                  </a:lnTo>
                  <a:lnTo>
                    <a:pt x="1626" y="4032"/>
                  </a:lnTo>
                  <a:lnTo>
                    <a:pt x="1620" y="4032"/>
                  </a:lnTo>
                  <a:lnTo>
                    <a:pt x="1620" y="4026"/>
                  </a:lnTo>
                  <a:lnTo>
                    <a:pt x="1614" y="4026"/>
                  </a:lnTo>
                  <a:lnTo>
                    <a:pt x="1614" y="4020"/>
                  </a:lnTo>
                  <a:lnTo>
                    <a:pt x="1614" y="4014"/>
                  </a:lnTo>
                  <a:lnTo>
                    <a:pt x="1608" y="4014"/>
                  </a:lnTo>
                  <a:lnTo>
                    <a:pt x="1602" y="4014"/>
                  </a:lnTo>
                  <a:lnTo>
                    <a:pt x="1602" y="4008"/>
                  </a:lnTo>
                  <a:lnTo>
                    <a:pt x="1602" y="4002"/>
                  </a:lnTo>
                  <a:lnTo>
                    <a:pt x="1602" y="3996"/>
                  </a:lnTo>
                  <a:lnTo>
                    <a:pt x="1596" y="3996"/>
                  </a:lnTo>
                  <a:lnTo>
                    <a:pt x="1596" y="3990"/>
                  </a:lnTo>
                  <a:lnTo>
                    <a:pt x="1596" y="3984"/>
                  </a:lnTo>
                  <a:close/>
                  <a:moveTo>
                    <a:pt x="1206" y="3114"/>
                  </a:moveTo>
                  <a:lnTo>
                    <a:pt x="1206" y="3108"/>
                  </a:lnTo>
                  <a:lnTo>
                    <a:pt x="1212" y="3114"/>
                  </a:lnTo>
                  <a:lnTo>
                    <a:pt x="1218" y="3114"/>
                  </a:lnTo>
                  <a:lnTo>
                    <a:pt x="1224" y="3114"/>
                  </a:lnTo>
                  <a:lnTo>
                    <a:pt x="1230" y="3114"/>
                  </a:lnTo>
                  <a:lnTo>
                    <a:pt x="1230" y="3120"/>
                  </a:lnTo>
                  <a:lnTo>
                    <a:pt x="1236" y="3120"/>
                  </a:lnTo>
                  <a:lnTo>
                    <a:pt x="1242" y="3126"/>
                  </a:lnTo>
                  <a:lnTo>
                    <a:pt x="1248" y="3126"/>
                  </a:lnTo>
                  <a:lnTo>
                    <a:pt x="1248" y="3132"/>
                  </a:lnTo>
                  <a:lnTo>
                    <a:pt x="1254" y="3132"/>
                  </a:lnTo>
                  <a:lnTo>
                    <a:pt x="1248" y="3132"/>
                  </a:lnTo>
                  <a:lnTo>
                    <a:pt x="1242" y="3132"/>
                  </a:lnTo>
                  <a:lnTo>
                    <a:pt x="1242" y="3126"/>
                  </a:lnTo>
                  <a:lnTo>
                    <a:pt x="1236" y="3126"/>
                  </a:lnTo>
                  <a:lnTo>
                    <a:pt x="1230" y="3120"/>
                  </a:lnTo>
                  <a:lnTo>
                    <a:pt x="1224" y="3120"/>
                  </a:lnTo>
                  <a:lnTo>
                    <a:pt x="1212" y="3120"/>
                  </a:lnTo>
                  <a:lnTo>
                    <a:pt x="1212" y="3114"/>
                  </a:lnTo>
                  <a:lnTo>
                    <a:pt x="1206" y="3114"/>
                  </a:lnTo>
                  <a:close/>
                  <a:moveTo>
                    <a:pt x="1392" y="3318"/>
                  </a:moveTo>
                  <a:lnTo>
                    <a:pt x="1398" y="3318"/>
                  </a:lnTo>
                  <a:lnTo>
                    <a:pt x="1398" y="3312"/>
                  </a:lnTo>
                  <a:lnTo>
                    <a:pt x="1398" y="3318"/>
                  </a:lnTo>
                  <a:lnTo>
                    <a:pt x="1398" y="3324"/>
                  </a:lnTo>
                  <a:lnTo>
                    <a:pt x="1404" y="3330"/>
                  </a:lnTo>
                  <a:lnTo>
                    <a:pt x="1404" y="3336"/>
                  </a:lnTo>
                  <a:lnTo>
                    <a:pt x="1398" y="3330"/>
                  </a:lnTo>
                  <a:lnTo>
                    <a:pt x="1392" y="3324"/>
                  </a:lnTo>
                  <a:lnTo>
                    <a:pt x="1398" y="3324"/>
                  </a:lnTo>
                  <a:lnTo>
                    <a:pt x="1392" y="3318"/>
                  </a:lnTo>
                  <a:close/>
                  <a:moveTo>
                    <a:pt x="972" y="2664"/>
                  </a:moveTo>
                  <a:lnTo>
                    <a:pt x="984" y="2664"/>
                  </a:lnTo>
                  <a:lnTo>
                    <a:pt x="984" y="2676"/>
                  </a:lnTo>
                  <a:lnTo>
                    <a:pt x="972" y="2676"/>
                  </a:lnTo>
                  <a:lnTo>
                    <a:pt x="972" y="2664"/>
                  </a:lnTo>
                  <a:close/>
                  <a:moveTo>
                    <a:pt x="1440" y="3540"/>
                  </a:moveTo>
                  <a:lnTo>
                    <a:pt x="1452" y="3540"/>
                  </a:lnTo>
                  <a:lnTo>
                    <a:pt x="1452" y="3552"/>
                  </a:lnTo>
                  <a:lnTo>
                    <a:pt x="1440" y="3552"/>
                  </a:lnTo>
                  <a:lnTo>
                    <a:pt x="1440" y="3540"/>
                  </a:lnTo>
                  <a:close/>
                  <a:moveTo>
                    <a:pt x="1440" y="3570"/>
                  </a:moveTo>
                  <a:lnTo>
                    <a:pt x="1446" y="3570"/>
                  </a:lnTo>
                  <a:lnTo>
                    <a:pt x="1446" y="3564"/>
                  </a:lnTo>
                  <a:lnTo>
                    <a:pt x="1452" y="3564"/>
                  </a:lnTo>
                  <a:lnTo>
                    <a:pt x="1452" y="3570"/>
                  </a:lnTo>
                  <a:lnTo>
                    <a:pt x="1446" y="3570"/>
                  </a:lnTo>
                  <a:lnTo>
                    <a:pt x="1446" y="3576"/>
                  </a:lnTo>
                  <a:lnTo>
                    <a:pt x="1440" y="3570"/>
                  </a:lnTo>
                  <a:close/>
                  <a:moveTo>
                    <a:pt x="1344" y="3270"/>
                  </a:moveTo>
                  <a:lnTo>
                    <a:pt x="1350" y="3270"/>
                  </a:lnTo>
                  <a:lnTo>
                    <a:pt x="1356" y="3276"/>
                  </a:lnTo>
                  <a:lnTo>
                    <a:pt x="1350" y="3276"/>
                  </a:lnTo>
                  <a:lnTo>
                    <a:pt x="1344" y="3270"/>
                  </a:lnTo>
                  <a:close/>
                  <a:moveTo>
                    <a:pt x="1560" y="3654"/>
                  </a:moveTo>
                  <a:lnTo>
                    <a:pt x="1572" y="3654"/>
                  </a:lnTo>
                  <a:lnTo>
                    <a:pt x="1572" y="3660"/>
                  </a:lnTo>
                  <a:lnTo>
                    <a:pt x="1560" y="3660"/>
                  </a:lnTo>
                  <a:lnTo>
                    <a:pt x="1560" y="3654"/>
                  </a:lnTo>
                  <a:close/>
                  <a:moveTo>
                    <a:pt x="1512" y="3666"/>
                  </a:moveTo>
                  <a:lnTo>
                    <a:pt x="1518" y="3666"/>
                  </a:lnTo>
                  <a:lnTo>
                    <a:pt x="1518" y="3672"/>
                  </a:lnTo>
                  <a:lnTo>
                    <a:pt x="1506" y="3672"/>
                  </a:lnTo>
                  <a:lnTo>
                    <a:pt x="1512" y="3666"/>
                  </a:lnTo>
                  <a:close/>
                  <a:moveTo>
                    <a:pt x="1212" y="3108"/>
                  </a:moveTo>
                  <a:lnTo>
                    <a:pt x="1218" y="3108"/>
                  </a:lnTo>
                  <a:lnTo>
                    <a:pt x="1224" y="3108"/>
                  </a:lnTo>
                  <a:lnTo>
                    <a:pt x="1224" y="3114"/>
                  </a:lnTo>
                  <a:lnTo>
                    <a:pt x="1218" y="3114"/>
                  </a:lnTo>
                  <a:lnTo>
                    <a:pt x="1212" y="3108"/>
                  </a:lnTo>
                  <a:close/>
                  <a:moveTo>
                    <a:pt x="1224" y="3180"/>
                  </a:moveTo>
                  <a:lnTo>
                    <a:pt x="1236" y="3180"/>
                  </a:lnTo>
                  <a:lnTo>
                    <a:pt x="1236" y="3192"/>
                  </a:lnTo>
                  <a:lnTo>
                    <a:pt x="1224" y="3192"/>
                  </a:lnTo>
                  <a:lnTo>
                    <a:pt x="1224" y="3180"/>
                  </a:lnTo>
                  <a:close/>
                  <a:moveTo>
                    <a:pt x="1008" y="2580"/>
                  </a:moveTo>
                  <a:lnTo>
                    <a:pt x="1008" y="2586"/>
                  </a:lnTo>
                  <a:lnTo>
                    <a:pt x="1002" y="2586"/>
                  </a:lnTo>
                  <a:lnTo>
                    <a:pt x="1008" y="2580"/>
                  </a:lnTo>
                  <a:close/>
                  <a:moveTo>
                    <a:pt x="948" y="2460"/>
                  </a:moveTo>
                  <a:lnTo>
                    <a:pt x="960" y="2460"/>
                  </a:lnTo>
                  <a:lnTo>
                    <a:pt x="954" y="2472"/>
                  </a:lnTo>
                  <a:lnTo>
                    <a:pt x="948" y="2472"/>
                  </a:lnTo>
                  <a:lnTo>
                    <a:pt x="948" y="2460"/>
                  </a:lnTo>
                  <a:close/>
                  <a:moveTo>
                    <a:pt x="1386" y="3264"/>
                  </a:moveTo>
                  <a:lnTo>
                    <a:pt x="1392" y="3264"/>
                  </a:lnTo>
                  <a:lnTo>
                    <a:pt x="1392" y="3270"/>
                  </a:lnTo>
                  <a:lnTo>
                    <a:pt x="1386" y="3270"/>
                  </a:lnTo>
                  <a:lnTo>
                    <a:pt x="1386" y="3264"/>
                  </a:lnTo>
                  <a:close/>
                  <a:moveTo>
                    <a:pt x="1344" y="3234"/>
                  </a:moveTo>
                  <a:lnTo>
                    <a:pt x="1350" y="3234"/>
                  </a:lnTo>
                  <a:lnTo>
                    <a:pt x="1350" y="3240"/>
                  </a:lnTo>
                  <a:lnTo>
                    <a:pt x="1344" y="3240"/>
                  </a:lnTo>
                  <a:lnTo>
                    <a:pt x="1344" y="3234"/>
                  </a:lnTo>
                  <a:close/>
                  <a:moveTo>
                    <a:pt x="1374" y="3294"/>
                  </a:moveTo>
                  <a:lnTo>
                    <a:pt x="1380" y="3294"/>
                  </a:lnTo>
                  <a:lnTo>
                    <a:pt x="1380" y="3300"/>
                  </a:lnTo>
                  <a:lnTo>
                    <a:pt x="1374" y="3300"/>
                  </a:lnTo>
                  <a:lnTo>
                    <a:pt x="1374" y="3294"/>
                  </a:lnTo>
                  <a:close/>
                  <a:moveTo>
                    <a:pt x="1308" y="3264"/>
                  </a:moveTo>
                  <a:lnTo>
                    <a:pt x="1320" y="3264"/>
                  </a:lnTo>
                  <a:lnTo>
                    <a:pt x="1314" y="3270"/>
                  </a:lnTo>
                  <a:lnTo>
                    <a:pt x="1308" y="3270"/>
                  </a:lnTo>
                  <a:lnTo>
                    <a:pt x="1308" y="3264"/>
                  </a:lnTo>
                  <a:close/>
                  <a:moveTo>
                    <a:pt x="972" y="2658"/>
                  </a:moveTo>
                  <a:lnTo>
                    <a:pt x="978" y="2658"/>
                  </a:lnTo>
                  <a:lnTo>
                    <a:pt x="978" y="2664"/>
                  </a:lnTo>
                  <a:lnTo>
                    <a:pt x="972" y="2664"/>
                  </a:lnTo>
                  <a:lnTo>
                    <a:pt x="972" y="2658"/>
                  </a:lnTo>
                  <a:close/>
                  <a:moveTo>
                    <a:pt x="1380" y="3258"/>
                  </a:moveTo>
                  <a:lnTo>
                    <a:pt x="1386" y="3258"/>
                  </a:lnTo>
                  <a:lnTo>
                    <a:pt x="1380" y="3258"/>
                  </a:lnTo>
                  <a:close/>
                  <a:moveTo>
                    <a:pt x="1182" y="3234"/>
                  </a:moveTo>
                  <a:lnTo>
                    <a:pt x="1188" y="3234"/>
                  </a:lnTo>
                  <a:lnTo>
                    <a:pt x="1188" y="3240"/>
                  </a:lnTo>
                  <a:lnTo>
                    <a:pt x="1182" y="3240"/>
                  </a:lnTo>
                  <a:lnTo>
                    <a:pt x="1182" y="3234"/>
                  </a:lnTo>
                  <a:close/>
                  <a:moveTo>
                    <a:pt x="1200" y="3318"/>
                  </a:moveTo>
                  <a:lnTo>
                    <a:pt x="1206" y="3318"/>
                  </a:lnTo>
                  <a:lnTo>
                    <a:pt x="1206" y="3324"/>
                  </a:lnTo>
                  <a:lnTo>
                    <a:pt x="1200" y="3324"/>
                  </a:lnTo>
                  <a:lnTo>
                    <a:pt x="1200" y="3318"/>
                  </a:lnTo>
                  <a:close/>
                  <a:moveTo>
                    <a:pt x="1368" y="3234"/>
                  </a:moveTo>
                  <a:lnTo>
                    <a:pt x="1374" y="3234"/>
                  </a:lnTo>
                  <a:lnTo>
                    <a:pt x="1374" y="3240"/>
                  </a:lnTo>
                  <a:lnTo>
                    <a:pt x="1368" y="3240"/>
                  </a:lnTo>
                  <a:lnTo>
                    <a:pt x="1368" y="3234"/>
                  </a:lnTo>
                  <a:close/>
                  <a:moveTo>
                    <a:pt x="1254" y="3132"/>
                  </a:moveTo>
                  <a:lnTo>
                    <a:pt x="1266" y="3132"/>
                  </a:lnTo>
                  <a:lnTo>
                    <a:pt x="1266" y="3138"/>
                  </a:lnTo>
                  <a:lnTo>
                    <a:pt x="1254" y="3138"/>
                  </a:lnTo>
                  <a:lnTo>
                    <a:pt x="1254" y="3132"/>
                  </a:lnTo>
                  <a:close/>
                  <a:moveTo>
                    <a:pt x="978" y="2610"/>
                  </a:moveTo>
                  <a:lnTo>
                    <a:pt x="984" y="2610"/>
                  </a:lnTo>
                  <a:lnTo>
                    <a:pt x="984" y="2616"/>
                  </a:lnTo>
                  <a:lnTo>
                    <a:pt x="978" y="2616"/>
                  </a:lnTo>
                  <a:lnTo>
                    <a:pt x="978" y="2610"/>
                  </a:lnTo>
                  <a:close/>
                  <a:moveTo>
                    <a:pt x="1002" y="2820"/>
                  </a:moveTo>
                  <a:lnTo>
                    <a:pt x="1002" y="2826"/>
                  </a:lnTo>
                  <a:lnTo>
                    <a:pt x="1003" y="2826"/>
                  </a:lnTo>
                  <a:lnTo>
                    <a:pt x="1002" y="2820"/>
                  </a:lnTo>
                  <a:close/>
                  <a:moveTo>
                    <a:pt x="972" y="2646"/>
                  </a:moveTo>
                  <a:lnTo>
                    <a:pt x="978" y="2646"/>
                  </a:lnTo>
                  <a:lnTo>
                    <a:pt x="972" y="2652"/>
                  </a:lnTo>
                  <a:lnTo>
                    <a:pt x="972" y="2646"/>
                  </a:lnTo>
                  <a:close/>
                  <a:moveTo>
                    <a:pt x="972" y="2634"/>
                  </a:moveTo>
                  <a:lnTo>
                    <a:pt x="972" y="2640"/>
                  </a:lnTo>
                  <a:lnTo>
                    <a:pt x="973" y="2640"/>
                  </a:lnTo>
                  <a:lnTo>
                    <a:pt x="972" y="2634"/>
                  </a:lnTo>
                  <a:close/>
                  <a:moveTo>
                    <a:pt x="1200" y="3300"/>
                  </a:moveTo>
                  <a:lnTo>
                    <a:pt x="1206" y="3300"/>
                  </a:lnTo>
                  <a:lnTo>
                    <a:pt x="1206" y="3306"/>
                  </a:lnTo>
                  <a:lnTo>
                    <a:pt x="1200" y="3306"/>
                  </a:lnTo>
                  <a:lnTo>
                    <a:pt x="1200" y="3300"/>
                  </a:lnTo>
                  <a:close/>
                  <a:moveTo>
                    <a:pt x="978" y="2646"/>
                  </a:moveTo>
                  <a:lnTo>
                    <a:pt x="984" y="2646"/>
                  </a:lnTo>
                  <a:lnTo>
                    <a:pt x="978" y="2646"/>
                  </a:lnTo>
                  <a:close/>
                  <a:moveTo>
                    <a:pt x="984" y="2580"/>
                  </a:moveTo>
                  <a:lnTo>
                    <a:pt x="984" y="2586"/>
                  </a:lnTo>
                  <a:lnTo>
                    <a:pt x="985" y="2586"/>
                  </a:lnTo>
                  <a:lnTo>
                    <a:pt x="984" y="2580"/>
                  </a:lnTo>
                  <a:close/>
                  <a:moveTo>
                    <a:pt x="3948" y="1728"/>
                  </a:moveTo>
                  <a:lnTo>
                    <a:pt x="3954" y="1728"/>
                  </a:lnTo>
                  <a:lnTo>
                    <a:pt x="3960" y="1728"/>
                  </a:lnTo>
                  <a:lnTo>
                    <a:pt x="3960" y="1734"/>
                  </a:lnTo>
                  <a:lnTo>
                    <a:pt x="3960" y="1740"/>
                  </a:lnTo>
                  <a:lnTo>
                    <a:pt x="3960" y="1746"/>
                  </a:lnTo>
                  <a:lnTo>
                    <a:pt x="3960" y="1740"/>
                  </a:lnTo>
                  <a:lnTo>
                    <a:pt x="3954" y="1740"/>
                  </a:lnTo>
                  <a:lnTo>
                    <a:pt x="3954" y="1734"/>
                  </a:lnTo>
                  <a:lnTo>
                    <a:pt x="3954" y="1728"/>
                  </a:lnTo>
                  <a:lnTo>
                    <a:pt x="3948" y="1728"/>
                  </a:lnTo>
                  <a:close/>
                  <a:moveTo>
                    <a:pt x="1584" y="4032"/>
                  </a:moveTo>
                  <a:lnTo>
                    <a:pt x="1590" y="4032"/>
                  </a:lnTo>
                  <a:lnTo>
                    <a:pt x="1596" y="4032"/>
                  </a:lnTo>
                  <a:lnTo>
                    <a:pt x="1602" y="4032"/>
                  </a:lnTo>
                  <a:lnTo>
                    <a:pt x="1608" y="4032"/>
                  </a:lnTo>
                  <a:lnTo>
                    <a:pt x="1608" y="4038"/>
                  </a:lnTo>
                  <a:lnTo>
                    <a:pt x="1614" y="4044"/>
                  </a:lnTo>
                  <a:lnTo>
                    <a:pt x="1608" y="4044"/>
                  </a:lnTo>
                  <a:lnTo>
                    <a:pt x="1602" y="4044"/>
                  </a:lnTo>
                  <a:lnTo>
                    <a:pt x="1596" y="4044"/>
                  </a:lnTo>
                  <a:lnTo>
                    <a:pt x="1596" y="4038"/>
                  </a:lnTo>
                  <a:lnTo>
                    <a:pt x="1590" y="4038"/>
                  </a:lnTo>
                  <a:lnTo>
                    <a:pt x="1584" y="4032"/>
                  </a:lnTo>
                  <a:close/>
                  <a:moveTo>
                    <a:pt x="1656" y="4056"/>
                  </a:moveTo>
                  <a:lnTo>
                    <a:pt x="1656" y="4050"/>
                  </a:lnTo>
                  <a:lnTo>
                    <a:pt x="1662" y="4050"/>
                  </a:lnTo>
                  <a:lnTo>
                    <a:pt x="1668" y="4050"/>
                  </a:lnTo>
                  <a:lnTo>
                    <a:pt x="1668" y="4056"/>
                  </a:lnTo>
                  <a:lnTo>
                    <a:pt x="1668" y="4062"/>
                  </a:lnTo>
                  <a:lnTo>
                    <a:pt x="1668" y="4068"/>
                  </a:lnTo>
                  <a:lnTo>
                    <a:pt x="1662" y="4068"/>
                  </a:lnTo>
                  <a:lnTo>
                    <a:pt x="1662" y="4062"/>
                  </a:lnTo>
                  <a:lnTo>
                    <a:pt x="1662" y="4056"/>
                  </a:lnTo>
                  <a:lnTo>
                    <a:pt x="1662" y="4062"/>
                  </a:lnTo>
                  <a:lnTo>
                    <a:pt x="1656" y="4062"/>
                  </a:lnTo>
                  <a:lnTo>
                    <a:pt x="1656" y="4056"/>
                  </a:lnTo>
                  <a:close/>
                  <a:moveTo>
                    <a:pt x="1662" y="4074"/>
                  </a:moveTo>
                  <a:lnTo>
                    <a:pt x="1668" y="4074"/>
                  </a:lnTo>
                  <a:lnTo>
                    <a:pt x="1668" y="4080"/>
                  </a:lnTo>
                  <a:lnTo>
                    <a:pt x="1674" y="4074"/>
                  </a:lnTo>
                  <a:lnTo>
                    <a:pt x="1674" y="4080"/>
                  </a:lnTo>
                  <a:lnTo>
                    <a:pt x="1674" y="4086"/>
                  </a:lnTo>
                  <a:lnTo>
                    <a:pt x="1668" y="4086"/>
                  </a:lnTo>
                  <a:lnTo>
                    <a:pt x="1662" y="4080"/>
                  </a:lnTo>
                  <a:lnTo>
                    <a:pt x="1662" y="4074"/>
                  </a:lnTo>
                  <a:close/>
                  <a:moveTo>
                    <a:pt x="1728" y="4146"/>
                  </a:moveTo>
                  <a:lnTo>
                    <a:pt x="1734" y="4146"/>
                  </a:lnTo>
                  <a:lnTo>
                    <a:pt x="1734" y="4140"/>
                  </a:lnTo>
                  <a:lnTo>
                    <a:pt x="1740" y="4140"/>
                  </a:lnTo>
                  <a:lnTo>
                    <a:pt x="1740" y="4146"/>
                  </a:lnTo>
                  <a:lnTo>
                    <a:pt x="1740" y="4152"/>
                  </a:lnTo>
                  <a:lnTo>
                    <a:pt x="1734" y="4152"/>
                  </a:lnTo>
                  <a:lnTo>
                    <a:pt x="1728" y="4152"/>
                  </a:lnTo>
                  <a:lnTo>
                    <a:pt x="1728" y="4146"/>
                  </a:lnTo>
                  <a:close/>
                  <a:moveTo>
                    <a:pt x="1542" y="3990"/>
                  </a:moveTo>
                  <a:lnTo>
                    <a:pt x="1548" y="3990"/>
                  </a:lnTo>
                  <a:lnTo>
                    <a:pt x="1548" y="3984"/>
                  </a:lnTo>
                  <a:lnTo>
                    <a:pt x="1548" y="3990"/>
                  </a:lnTo>
                  <a:lnTo>
                    <a:pt x="1548" y="3996"/>
                  </a:lnTo>
                  <a:lnTo>
                    <a:pt x="1554" y="3996"/>
                  </a:lnTo>
                  <a:lnTo>
                    <a:pt x="1554" y="4002"/>
                  </a:lnTo>
                  <a:lnTo>
                    <a:pt x="1554" y="4008"/>
                  </a:lnTo>
                  <a:lnTo>
                    <a:pt x="1554" y="4002"/>
                  </a:lnTo>
                  <a:lnTo>
                    <a:pt x="1548" y="4002"/>
                  </a:lnTo>
                  <a:lnTo>
                    <a:pt x="1548" y="3996"/>
                  </a:lnTo>
                  <a:lnTo>
                    <a:pt x="1542" y="3990"/>
                  </a:lnTo>
                  <a:close/>
                  <a:moveTo>
                    <a:pt x="1770" y="4146"/>
                  </a:moveTo>
                  <a:lnTo>
                    <a:pt x="1776" y="4146"/>
                  </a:lnTo>
                  <a:lnTo>
                    <a:pt x="1776" y="4158"/>
                  </a:lnTo>
                  <a:lnTo>
                    <a:pt x="1770" y="4158"/>
                  </a:lnTo>
                  <a:lnTo>
                    <a:pt x="1770" y="4146"/>
                  </a:lnTo>
                  <a:close/>
                  <a:moveTo>
                    <a:pt x="1620" y="4110"/>
                  </a:moveTo>
                  <a:lnTo>
                    <a:pt x="1632" y="4110"/>
                  </a:lnTo>
                  <a:lnTo>
                    <a:pt x="1632" y="4122"/>
                  </a:lnTo>
                  <a:lnTo>
                    <a:pt x="1620" y="4122"/>
                  </a:lnTo>
                  <a:lnTo>
                    <a:pt x="1620" y="4110"/>
                  </a:lnTo>
                  <a:close/>
                  <a:moveTo>
                    <a:pt x="1590" y="4014"/>
                  </a:moveTo>
                  <a:lnTo>
                    <a:pt x="1596" y="4014"/>
                  </a:lnTo>
                  <a:lnTo>
                    <a:pt x="1596" y="4020"/>
                  </a:lnTo>
                  <a:lnTo>
                    <a:pt x="1584" y="4020"/>
                  </a:lnTo>
                  <a:lnTo>
                    <a:pt x="1590" y="4014"/>
                  </a:lnTo>
                  <a:close/>
                  <a:moveTo>
                    <a:pt x="1698" y="4140"/>
                  </a:moveTo>
                  <a:lnTo>
                    <a:pt x="1710" y="4140"/>
                  </a:lnTo>
                  <a:lnTo>
                    <a:pt x="1710" y="4152"/>
                  </a:lnTo>
                  <a:lnTo>
                    <a:pt x="1698" y="4152"/>
                  </a:lnTo>
                  <a:lnTo>
                    <a:pt x="1698" y="4140"/>
                  </a:lnTo>
                  <a:close/>
                  <a:moveTo>
                    <a:pt x="1764" y="3948"/>
                  </a:moveTo>
                  <a:lnTo>
                    <a:pt x="1770" y="3948"/>
                  </a:lnTo>
                  <a:lnTo>
                    <a:pt x="1770" y="3960"/>
                  </a:lnTo>
                  <a:lnTo>
                    <a:pt x="1758" y="3960"/>
                  </a:lnTo>
                  <a:lnTo>
                    <a:pt x="1764" y="3948"/>
                  </a:lnTo>
                  <a:close/>
                  <a:moveTo>
                    <a:pt x="1746" y="4164"/>
                  </a:moveTo>
                  <a:lnTo>
                    <a:pt x="1752" y="4164"/>
                  </a:lnTo>
                  <a:lnTo>
                    <a:pt x="1752" y="4176"/>
                  </a:lnTo>
                  <a:lnTo>
                    <a:pt x="1746" y="4176"/>
                  </a:lnTo>
                  <a:lnTo>
                    <a:pt x="1746" y="4164"/>
                  </a:lnTo>
                  <a:close/>
                  <a:moveTo>
                    <a:pt x="1740" y="4146"/>
                  </a:moveTo>
                  <a:lnTo>
                    <a:pt x="1752" y="4146"/>
                  </a:lnTo>
                  <a:lnTo>
                    <a:pt x="1746" y="4152"/>
                  </a:lnTo>
                  <a:lnTo>
                    <a:pt x="1740" y="4152"/>
                  </a:lnTo>
                  <a:lnTo>
                    <a:pt x="1740" y="4146"/>
                  </a:lnTo>
                  <a:close/>
                  <a:moveTo>
                    <a:pt x="1656" y="3996"/>
                  </a:moveTo>
                  <a:lnTo>
                    <a:pt x="1668" y="3996"/>
                  </a:lnTo>
                  <a:lnTo>
                    <a:pt x="1668" y="4002"/>
                  </a:lnTo>
                  <a:lnTo>
                    <a:pt x="1656" y="4002"/>
                  </a:lnTo>
                  <a:lnTo>
                    <a:pt x="1656" y="3996"/>
                  </a:lnTo>
                  <a:close/>
                  <a:moveTo>
                    <a:pt x="1590" y="3936"/>
                  </a:moveTo>
                  <a:lnTo>
                    <a:pt x="1602" y="3936"/>
                  </a:lnTo>
                  <a:lnTo>
                    <a:pt x="1602" y="3942"/>
                  </a:lnTo>
                  <a:lnTo>
                    <a:pt x="1590" y="3942"/>
                  </a:lnTo>
                  <a:lnTo>
                    <a:pt x="1590" y="3936"/>
                  </a:lnTo>
                  <a:close/>
                  <a:moveTo>
                    <a:pt x="1716" y="4134"/>
                  </a:moveTo>
                  <a:lnTo>
                    <a:pt x="1722" y="4134"/>
                  </a:lnTo>
                  <a:lnTo>
                    <a:pt x="1722" y="4146"/>
                  </a:lnTo>
                  <a:lnTo>
                    <a:pt x="1716" y="4146"/>
                  </a:lnTo>
                  <a:lnTo>
                    <a:pt x="1716" y="4134"/>
                  </a:lnTo>
                  <a:close/>
                  <a:moveTo>
                    <a:pt x="1644" y="4140"/>
                  </a:moveTo>
                  <a:lnTo>
                    <a:pt x="1650" y="4140"/>
                  </a:lnTo>
                  <a:lnTo>
                    <a:pt x="1650" y="4146"/>
                  </a:lnTo>
                  <a:lnTo>
                    <a:pt x="1644" y="4146"/>
                  </a:lnTo>
                  <a:lnTo>
                    <a:pt x="1644" y="4140"/>
                  </a:lnTo>
                  <a:close/>
                  <a:moveTo>
                    <a:pt x="1608" y="3960"/>
                  </a:moveTo>
                  <a:lnTo>
                    <a:pt x="1614" y="3960"/>
                  </a:lnTo>
                  <a:lnTo>
                    <a:pt x="1614" y="3972"/>
                  </a:lnTo>
                  <a:lnTo>
                    <a:pt x="1608" y="3972"/>
                  </a:lnTo>
                  <a:lnTo>
                    <a:pt x="1608" y="3960"/>
                  </a:lnTo>
                  <a:close/>
                  <a:moveTo>
                    <a:pt x="1758" y="4194"/>
                  </a:moveTo>
                  <a:lnTo>
                    <a:pt x="1764" y="4194"/>
                  </a:lnTo>
                  <a:lnTo>
                    <a:pt x="1764" y="4200"/>
                  </a:lnTo>
                  <a:lnTo>
                    <a:pt x="1758" y="4200"/>
                  </a:lnTo>
                  <a:lnTo>
                    <a:pt x="1758" y="4194"/>
                  </a:lnTo>
                  <a:close/>
                  <a:moveTo>
                    <a:pt x="1776" y="4152"/>
                  </a:moveTo>
                  <a:lnTo>
                    <a:pt x="1782" y="4152"/>
                  </a:lnTo>
                  <a:lnTo>
                    <a:pt x="1782" y="4158"/>
                  </a:lnTo>
                  <a:lnTo>
                    <a:pt x="1776" y="4158"/>
                  </a:lnTo>
                  <a:lnTo>
                    <a:pt x="1776" y="4152"/>
                  </a:lnTo>
                  <a:close/>
                  <a:moveTo>
                    <a:pt x="1554" y="4044"/>
                  </a:moveTo>
                  <a:lnTo>
                    <a:pt x="1560" y="4044"/>
                  </a:lnTo>
                  <a:lnTo>
                    <a:pt x="1554" y="4050"/>
                  </a:lnTo>
                  <a:lnTo>
                    <a:pt x="1554" y="4044"/>
                  </a:lnTo>
                  <a:close/>
                  <a:moveTo>
                    <a:pt x="1584" y="3984"/>
                  </a:moveTo>
                  <a:lnTo>
                    <a:pt x="1590" y="3984"/>
                  </a:lnTo>
                  <a:lnTo>
                    <a:pt x="1584" y="3984"/>
                  </a:lnTo>
                  <a:close/>
                  <a:moveTo>
                    <a:pt x="3906" y="1470"/>
                  </a:moveTo>
                  <a:lnTo>
                    <a:pt x="3906" y="1464"/>
                  </a:lnTo>
                  <a:lnTo>
                    <a:pt x="3912" y="1464"/>
                  </a:lnTo>
                  <a:lnTo>
                    <a:pt x="3912" y="1458"/>
                  </a:lnTo>
                  <a:lnTo>
                    <a:pt x="3918" y="1458"/>
                  </a:lnTo>
                  <a:lnTo>
                    <a:pt x="3918" y="1464"/>
                  </a:lnTo>
                  <a:lnTo>
                    <a:pt x="3918" y="1470"/>
                  </a:lnTo>
                  <a:lnTo>
                    <a:pt x="3918" y="1476"/>
                  </a:lnTo>
                  <a:lnTo>
                    <a:pt x="3912" y="1476"/>
                  </a:lnTo>
                  <a:lnTo>
                    <a:pt x="3912" y="1470"/>
                  </a:lnTo>
                  <a:lnTo>
                    <a:pt x="3906" y="1470"/>
                  </a:lnTo>
                  <a:close/>
                  <a:moveTo>
                    <a:pt x="552" y="1752"/>
                  </a:moveTo>
                  <a:lnTo>
                    <a:pt x="558" y="1752"/>
                  </a:lnTo>
                  <a:lnTo>
                    <a:pt x="564" y="1752"/>
                  </a:lnTo>
                  <a:lnTo>
                    <a:pt x="564" y="1758"/>
                  </a:lnTo>
                  <a:lnTo>
                    <a:pt x="564" y="1764"/>
                  </a:lnTo>
                  <a:lnTo>
                    <a:pt x="558" y="1764"/>
                  </a:lnTo>
                  <a:lnTo>
                    <a:pt x="552" y="1758"/>
                  </a:lnTo>
                  <a:lnTo>
                    <a:pt x="552" y="1752"/>
                  </a:lnTo>
                  <a:close/>
                  <a:moveTo>
                    <a:pt x="522" y="1734"/>
                  </a:moveTo>
                  <a:lnTo>
                    <a:pt x="522" y="1728"/>
                  </a:lnTo>
                  <a:lnTo>
                    <a:pt x="528" y="1728"/>
                  </a:lnTo>
                  <a:lnTo>
                    <a:pt x="528" y="1734"/>
                  </a:lnTo>
                  <a:lnTo>
                    <a:pt x="522" y="1734"/>
                  </a:lnTo>
                  <a:close/>
                  <a:moveTo>
                    <a:pt x="546" y="1746"/>
                  </a:moveTo>
                  <a:lnTo>
                    <a:pt x="552" y="1740"/>
                  </a:lnTo>
                  <a:lnTo>
                    <a:pt x="558" y="1746"/>
                  </a:lnTo>
                  <a:lnTo>
                    <a:pt x="546" y="1746"/>
                  </a:lnTo>
                  <a:close/>
                  <a:moveTo>
                    <a:pt x="3732" y="1254"/>
                  </a:moveTo>
                  <a:lnTo>
                    <a:pt x="3744" y="1254"/>
                  </a:lnTo>
                  <a:lnTo>
                    <a:pt x="3738" y="1260"/>
                  </a:lnTo>
                  <a:lnTo>
                    <a:pt x="3732" y="1260"/>
                  </a:lnTo>
                  <a:lnTo>
                    <a:pt x="3732" y="1254"/>
                  </a:lnTo>
                  <a:close/>
                  <a:moveTo>
                    <a:pt x="3582" y="1050"/>
                  </a:moveTo>
                  <a:lnTo>
                    <a:pt x="3588" y="1050"/>
                  </a:lnTo>
                  <a:lnTo>
                    <a:pt x="3588" y="1056"/>
                  </a:lnTo>
                  <a:lnTo>
                    <a:pt x="3582" y="1056"/>
                  </a:lnTo>
                  <a:lnTo>
                    <a:pt x="3582" y="1050"/>
                  </a:lnTo>
                  <a:close/>
                  <a:moveTo>
                    <a:pt x="3714" y="1242"/>
                  </a:moveTo>
                  <a:lnTo>
                    <a:pt x="3720" y="1242"/>
                  </a:lnTo>
                  <a:lnTo>
                    <a:pt x="3720" y="1248"/>
                  </a:lnTo>
                  <a:lnTo>
                    <a:pt x="3714" y="1248"/>
                  </a:lnTo>
                  <a:lnTo>
                    <a:pt x="3714" y="1242"/>
                  </a:lnTo>
                  <a:close/>
                  <a:moveTo>
                    <a:pt x="3876" y="1164"/>
                  </a:moveTo>
                  <a:lnTo>
                    <a:pt x="3882" y="1164"/>
                  </a:lnTo>
                  <a:lnTo>
                    <a:pt x="3882" y="1170"/>
                  </a:lnTo>
                  <a:lnTo>
                    <a:pt x="3876" y="1170"/>
                  </a:lnTo>
                  <a:lnTo>
                    <a:pt x="3876" y="1164"/>
                  </a:lnTo>
                  <a:close/>
                  <a:moveTo>
                    <a:pt x="3966" y="1152"/>
                  </a:moveTo>
                  <a:lnTo>
                    <a:pt x="3972" y="1152"/>
                  </a:lnTo>
                  <a:lnTo>
                    <a:pt x="3966" y="1152"/>
                  </a:lnTo>
                  <a:close/>
                  <a:moveTo>
                    <a:pt x="0" y="1098"/>
                  </a:moveTo>
                  <a:lnTo>
                    <a:pt x="0" y="1092"/>
                  </a:lnTo>
                  <a:lnTo>
                    <a:pt x="6" y="1092"/>
                  </a:lnTo>
                  <a:lnTo>
                    <a:pt x="12" y="1092"/>
                  </a:lnTo>
                  <a:lnTo>
                    <a:pt x="12" y="1098"/>
                  </a:lnTo>
                  <a:lnTo>
                    <a:pt x="6" y="1098"/>
                  </a:lnTo>
                  <a:lnTo>
                    <a:pt x="0" y="1098"/>
                  </a:lnTo>
                  <a:lnTo>
                    <a:pt x="0" y="1104"/>
                  </a:lnTo>
                  <a:lnTo>
                    <a:pt x="6" y="1104"/>
                  </a:lnTo>
                  <a:lnTo>
                    <a:pt x="12" y="1104"/>
                  </a:lnTo>
                  <a:lnTo>
                    <a:pt x="18" y="1104"/>
                  </a:lnTo>
                  <a:lnTo>
                    <a:pt x="18" y="1110"/>
                  </a:lnTo>
                  <a:lnTo>
                    <a:pt x="24" y="1110"/>
                  </a:lnTo>
                  <a:lnTo>
                    <a:pt x="24" y="1116"/>
                  </a:lnTo>
                  <a:lnTo>
                    <a:pt x="30" y="1116"/>
                  </a:lnTo>
                  <a:lnTo>
                    <a:pt x="24" y="1116"/>
                  </a:lnTo>
                  <a:lnTo>
                    <a:pt x="24" y="1122"/>
                  </a:lnTo>
                  <a:lnTo>
                    <a:pt x="18" y="1122"/>
                  </a:lnTo>
                  <a:lnTo>
                    <a:pt x="18" y="1116"/>
                  </a:lnTo>
                  <a:lnTo>
                    <a:pt x="12" y="1122"/>
                  </a:lnTo>
                  <a:lnTo>
                    <a:pt x="6" y="1116"/>
                  </a:lnTo>
                  <a:lnTo>
                    <a:pt x="0" y="1116"/>
                  </a:lnTo>
                  <a:lnTo>
                    <a:pt x="0" y="1110"/>
                  </a:lnTo>
                  <a:lnTo>
                    <a:pt x="0" y="1104"/>
                  </a:lnTo>
                  <a:lnTo>
                    <a:pt x="0" y="1098"/>
                  </a:lnTo>
                  <a:close/>
                  <a:moveTo>
                    <a:pt x="450" y="1686"/>
                  </a:moveTo>
                  <a:lnTo>
                    <a:pt x="456" y="1674"/>
                  </a:lnTo>
                  <a:lnTo>
                    <a:pt x="456" y="1668"/>
                  </a:lnTo>
                  <a:lnTo>
                    <a:pt x="456" y="1662"/>
                  </a:lnTo>
                  <a:lnTo>
                    <a:pt x="456" y="1668"/>
                  </a:lnTo>
                  <a:lnTo>
                    <a:pt x="456" y="1674"/>
                  </a:lnTo>
                  <a:lnTo>
                    <a:pt x="456" y="1680"/>
                  </a:lnTo>
                  <a:lnTo>
                    <a:pt x="456" y="1686"/>
                  </a:lnTo>
                  <a:lnTo>
                    <a:pt x="462" y="1680"/>
                  </a:lnTo>
                  <a:lnTo>
                    <a:pt x="462" y="1674"/>
                  </a:lnTo>
                  <a:lnTo>
                    <a:pt x="462" y="1680"/>
                  </a:lnTo>
                  <a:lnTo>
                    <a:pt x="462" y="1686"/>
                  </a:lnTo>
                  <a:lnTo>
                    <a:pt x="468" y="1692"/>
                  </a:lnTo>
                  <a:lnTo>
                    <a:pt x="462" y="1692"/>
                  </a:lnTo>
                  <a:lnTo>
                    <a:pt x="456" y="1692"/>
                  </a:lnTo>
                  <a:lnTo>
                    <a:pt x="450" y="1686"/>
                  </a:lnTo>
                  <a:close/>
                  <a:moveTo>
                    <a:pt x="558" y="1884"/>
                  </a:moveTo>
                  <a:lnTo>
                    <a:pt x="558" y="1878"/>
                  </a:lnTo>
                  <a:lnTo>
                    <a:pt x="564" y="1878"/>
                  </a:lnTo>
                  <a:lnTo>
                    <a:pt x="570" y="1884"/>
                  </a:lnTo>
                  <a:lnTo>
                    <a:pt x="570" y="1890"/>
                  </a:lnTo>
                  <a:lnTo>
                    <a:pt x="564" y="1890"/>
                  </a:lnTo>
                  <a:lnTo>
                    <a:pt x="564" y="1884"/>
                  </a:lnTo>
                  <a:lnTo>
                    <a:pt x="558" y="1884"/>
                  </a:lnTo>
                  <a:close/>
                  <a:moveTo>
                    <a:pt x="438" y="1710"/>
                  </a:moveTo>
                  <a:lnTo>
                    <a:pt x="444" y="1704"/>
                  </a:lnTo>
                  <a:lnTo>
                    <a:pt x="444" y="1710"/>
                  </a:lnTo>
                  <a:lnTo>
                    <a:pt x="450" y="1710"/>
                  </a:lnTo>
                  <a:lnTo>
                    <a:pt x="450" y="1716"/>
                  </a:lnTo>
                  <a:lnTo>
                    <a:pt x="444" y="1722"/>
                  </a:lnTo>
                  <a:lnTo>
                    <a:pt x="444" y="1716"/>
                  </a:lnTo>
                  <a:lnTo>
                    <a:pt x="438" y="1716"/>
                  </a:lnTo>
                  <a:lnTo>
                    <a:pt x="438" y="1710"/>
                  </a:lnTo>
                  <a:close/>
                  <a:moveTo>
                    <a:pt x="438" y="1572"/>
                  </a:moveTo>
                  <a:lnTo>
                    <a:pt x="450" y="1572"/>
                  </a:lnTo>
                  <a:lnTo>
                    <a:pt x="444" y="1578"/>
                  </a:lnTo>
                  <a:lnTo>
                    <a:pt x="438" y="1578"/>
                  </a:lnTo>
                  <a:lnTo>
                    <a:pt x="438" y="1572"/>
                  </a:lnTo>
                  <a:close/>
                  <a:moveTo>
                    <a:pt x="174" y="1104"/>
                  </a:moveTo>
                  <a:lnTo>
                    <a:pt x="186" y="1104"/>
                  </a:lnTo>
                  <a:lnTo>
                    <a:pt x="180" y="1110"/>
                  </a:lnTo>
                  <a:lnTo>
                    <a:pt x="174" y="1110"/>
                  </a:lnTo>
                  <a:lnTo>
                    <a:pt x="174" y="1104"/>
                  </a:lnTo>
                  <a:close/>
                  <a:moveTo>
                    <a:pt x="288" y="1320"/>
                  </a:moveTo>
                  <a:lnTo>
                    <a:pt x="288" y="1326"/>
                  </a:lnTo>
                  <a:lnTo>
                    <a:pt x="294" y="1332"/>
                  </a:lnTo>
                  <a:lnTo>
                    <a:pt x="294" y="1338"/>
                  </a:lnTo>
                  <a:lnTo>
                    <a:pt x="288" y="1332"/>
                  </a:lnTo>
                  <a:lnTo>
                    <a:pt x="288" y="1326"/>
                  </a:lnTo>
                  <a:lnTo>
                    <a:pt x="288" y="1320"/>
                  </a:lnTo>
                  <a:close/>
                  <a:moveTo>
                    <a:pt x="138" y="1074"/>
                  </a:moveTo>
                  <a:lnTo>
                    <a:pt x="144" y="1074"/>
                  </a:lnTo>
                  <a:lnTo>
                    <a:pt x="138" y="1086"/>
                  </a:lnTo>
                  <a:lnTo>
                    <a:pt x="132" y="1086"/>
                  </a:lnTo>
                  <a:lnTo>
                    <a:pt x="138" y="1074"/>
                  </a:lnTo>
                  <a:close/>
                  <a:moveTo>
                    <a:pt x="582" y="1884"/>
                  </a:moveTo>
                  <a:lnTo>
                    <a:pt x="588" y="1884"/>
                  </a:lnTo>
                  <a:lnTo>
                    <a:pt x="588" y="1890"/>
                  </a:lnTo>
                  <a:lnTo>
                    <a:pt x="582" y="1890"/>
                  </a:lnTo>
                  <a:lnTo>
                    <a:pt x="582" y="1884"/>
                  </a:lnTo>
                  <a:close/>
                  <a:moveTo>
                    <a:pt x="150" y="1152"/>
                  </a:moveTo>
                  <a:lnTo>
                    <a:pt x="156" y="1152"/>
                  </a:lnTo>
                  <a:lnTo>
                    <a:pt x="156" y="1158"/>
                  </a:lnTo>
                  <a:lnTo>
                    <a:pt x="150" y="1158"/>
                  </a:lnTo>
                  <a:lnTo>
                    <a:pt x="150" y="1152"/>
                  </a:lnTo>
                  <a:close/>
                  <a:moveTo>
                    <a:pt x="150" y="1074"/>
                  </a:moveTo>
                  <a:lnTo>
                    <a:pt x="156" y="1074"/>
                  </a:lnTo>
                  <a:lnTo>
                    <a:pt x="156" y="1080"/>
                  </a:lnTo>
                  <a:lnTo>
                    <a:pt x="144" y="1080"/>
                  </a:lnTo>
                  <a:lnTo>
                    <a:pt x="150" y="1074"/>
                  </a:lnTo>
                  <a:close/>
                  <a:moveTo>
                    <a:pt x="162" y="1152"/>
                  </a:moveTo>
                  <a:lnTo>
                    <a:pt x="168" y="1152"/>
                  </a:lnTo>
                  <a:lnTo>
                    <a:pt x="162" y="1152"/>
                  </a:lnTo>
                  <a:close/>
                </a:path>
              </a:pathLst>
            </a:custGeom>
            <a:solidFill>
              <a:schemeClr val="accent1"/>
            </a:solidFill>
            <a:ln w="9525" cmpd="sng">
              <a:noFill/>
              <a:round/>
              <a:headEnd/>
              <a:tailEnd/>
            </a:ln>
          </p:spPr>
          <p:txBody>
            <a:bodyPr rtlCol="0"/>
            <a:lstStyle/>
            <a:p>
              <a:pPr rtl="0"/>
              <a:endParaRPr lang="en-CA" sz="975" dirty="0"/>
            </a:p>
          </p:txBody>
        </p:sp>
        <p:sp>
          <p:nvSpPr>
            <p:cNvPr id="250" name="Oval 38">
              <a:extLst>
                <a:ext uri="{FF2B5EF4-FFF2-40B4-BE49-F238E27FC236}">
                  <a16:creationId xmlns:a16="http://schemas.microsoft.com/office/drawing/2014/main" id="{1CCC2975-C7DA-40D7-AAF4-0EC7A87D1773}"/>
                </a:ext>
              </a:extLst>
            </p:cNvPr>
            <p:cNvSpPr>
              <a:spLocks noChangeAspect="1" noChangeArrowheads="1"/>
            </p:cNvSpPr>
            <p:nvPr>
              <p:custDataLst>
                <p:tags r:id="rId27"/>
              </p:custDataLst>
            </p:nvPr>
          </p:nvSpPr>
          <p:spPr bwMode="gray">
            <a:xfrm>
              <a:off x="7885285" y="1668432"/>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1" name="Oval 38">
              <a:extLst>
                <a:ext uri="{FF2B5EF4-FFF2-40B4-BE49-F238E27FC236}">
                  <a16:creationId xmlns:a16="http://schemas.microsoft.com/office/drawing/2014/main" id="{835D1E09-5FD9-4993-A204-C5C16C80D731}"/>
                </a:ext>
              </a:extLst>
            </p:cNvPr>
            <p:cNvSpPr>
              <a:spLocks noChangeAspect="1" noChangeArrowheads="1"/>
            </p:cNvSpPr>
            <p:nvPr>
              <p:custDataLst>
                <p:tags r:id="rId28"/>
              </p:custDataLst>
            </p:nvPr>
          </p:nvSpPr>
          <p:spPr bwMode="gray">
            <a:xfrm>
              <a:off x="8115808" y="236002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2" name="Oval 38">
              <a:extLst>
                <a:ext uri="{FF2B5EF4-FFF2-40B4-BE49-F238E27FC236}">
                  <a16:creationId xmlns:a16="http://schemas.microsoft.com/office/drawing/2014/main" id="{7DFF8E3F-359F-4727-ACC1-72E84F7A624E}"/>
                </a:ext>
              </a:extLst>
            </p:cNvPr>
            <p:cNvSpPr>
              <a:spLocks noChangeAspect="1" noChangeArrowheads="1"/>
            </p:cNvSpPr>
            <p:nvPr>
              <p:custDataLst>
                <p:tags r:id="rId29"/>
              </p:custDataLst>
            </p:nvPr>
          </p:nvSpPr>
          <p:spPr bwMode="gray">
            <a:xfrm>
              <a:off x="8616287" y="1887803"/>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3" name="Oval 38">
              <a:extLst>
                <a:ext uri="{FF2B5EF4-FFF2-40B4-BE49-F238E27FC236}">
                  <a16:creationId xmlns:a16="http://schemas.microsoft.com/office/drawing/2014/main" id="{B0158553-6B32-4558-8D8D-5DDC6D75BC4E}"/>
                </a:ext>
              </a:extLst>
            </p:cNvPr>
            <p:cNvSpPr>
              <a:spLocks noChangeAspect="1" noChangeArrowheads="1"/>
            </p:cNvSpPr>
            <p:nvPr>
              <p:custDataLst>
                <p:tags r:id="rId30"/>
              </p:custDataLst>
            </p:nvPr>
          </p:nvSpPr>
          <p:spPr bwMode="gray">
            <a:xfrm>
              <a:off x="8518632" y="2065356"/>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4" name="Oval 38">
              <a:extLst>
                <a:ext uri="{FF2B5EF4-FFF2-40B4-BE49-F238E27FC236}">
                  <a16:creationId xmlns:a16="http://schemas.microsoft.com/office/drawing/2014/main" id="{FA58BD7D-443B-4263-9D96-2C68D22E1F84}"/>
                </a:ext>
              </a:extLst>
            </p:cNvPr>
            <p:cNvSpPr>
              <a:spLocks noChangeAspect="1" noChangeArrowheads="1"/>
            </p:cNvSpPr>
            <p:nvPr>
              <p:custDataLst>
                <p:tags r:id="rId31"/>
              </p:custDataLst>
            </p:nvPr>
          </p:nvSpPr>
          <p:spPr bwMode="gray">
            <a:xfrm>
              <a:off x="8749452" y="204760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5" name="Oval 38">
              <a:extLst>
                <a:ext uri="{FF2B5EF4-FFF2-40B4-BE49-F238E27FC236}">
                  <a16:creationId xmlns:a16="http://schemas.microsoft.com/office/drawing/2014/main" id="{BB28979A-A2AD-42BE-8705-A834CE72C43E}"/>
                </a:ext>
              </a:extLst>
            </p:cNvPr>
            <p:cNvSpPr>
              <a:spLocks noChangeAspect="1" noChangeArrowheads="1"/>
            </p:cNvSpPr>
            <p:nvPr>
              <p:custDataLst>
                <p:tags r:id="rId32"/>
              </p:custDataLst>
            </p:nvPr>
          </p:nvSpPr>
          <p:spPr bwMode="gray">
            <a:xfrm>
              <a:off x="8642920" y="219852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6" name="Oval 38">
              <a:extLst>
                <a:ext uri="{FF2B5EF4-FFF2-40B4-BE49-F238E27FC236}">
                  <a16:creationId xmlns:a16="http://schemas.microsoft.com/office/drawing/2014/main" id="{C296A1F1-4D29-4320-9AD3-92C5407609E8}"/>
                </a:ext>
              </a:extLst>
            </p:cNvPr>
            <p:cNvSpPr>
              <a:spLocks noChangeAspect="1" noChangeArrowheads="1"/>
            </p:cNvSpPr>
            <p:nvPr>
              <p:custDataLst>
                <p:tags r:id="rId33"/>
              </p:custDataLst>
            </p:nvPr>
          </p:nvSpPr>
          <p:spPr bwMode="gray">
            <a:xfrm>
              <a:off x="9193336" y="1825659"/>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7" name="Oval 38">
              <a:extLst>
                <a:ext uri="{FF2B5EF4-FFF2-40B4-BE49-F238E27FC236}">
                  <a16:creationId xmlns:a16="http://schemas.microsoft.com/office/drawing/2014/main" id="{83F63647-8A10-45FF-9A64-07C457CDC74C}"/>
                </a:ext>
              </a:extLst>
            </p:cNvPr>
            <p:cNvSpPr>
              <a:spLocks noChangeAspect="1" noChangeArrowheads="1"/>
            </p:cNvSpPr>
            <p:nvPr>
              <p:custDataLst>
                <p:tags r:id="rId34"/>
              </p:custDataLst>
            </p:nvPr>
          </p:nvSpPr>
          <p:spPr bwMode="gray">
            <a:xfrm>
              <a:off x="8249269" y="1500858"/>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8" name="Oval 38">
              <a:extLst>
                <a:ext uri="{FF2B5EF4-FFF2-40B4-BE49-F238E27FC236}">
                  <a16:creationId xmlns:a16="http://schemas.microsoft.com/office/drawing/2014/main" id="{082AD167-67C0-40C8-9CA6-FA349D6AF31B}"/>
                </a:ext>
              </a:extLst>
            </p:cNvPr>
            <p:cNvSpPr>
              <a:spLocks noChangeAspect="1" noChangeArrowheads="1"/>
            </p:cNvSpPr>
            <p:nvPr>
              <p:custDataLst>
                <p:tags r:id="rId35"/>
              </p:custDataLst>
            </p:nvPr>
          </p:nvSpPr>
          <p:spPr bwMode="gray">
            <a:xfrm>
              <a:off x="8240391" y="186374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9" name="Oval 38">
              <a:extLst>
                <a:ext uri="{FF2B5EF4-FFF2-40B4-BE49-F238E27FC236}">
                  <a16:creationId xmlns:a16="http://schemas.microsoft.com/office/drawing/2014/main" id="{42DFD3F3-8C1E-461B-B3BD-4AD5FC614A91}"/>
                </a:ext>
              </a:extLst>
            </p:cNvPr>
            <p:cNvSpPr>
              <a:spLocks noChangeAspect="1" noChangeArrowheads="1"/>
            </p:cNvSpPr>
            <p:nvPr>
              <p:custDataLst>
                <p:tags r:id="rId36"/>
              </p:custDataLst>
            </p:nvPr>
          </p:nvSpPr>
          <p:spPr bwMode="gray">
            <a:xfrm>
              <a:off x="7956305" y="200578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0" name="Oval 38">
              <a:extLst>
                <a:ext uri="{FF2B5EF4-FFF2-40B4-BE49-F238E27FC236}">
                  <a16:creationId xmlns:a16="http://schemas.microsoft.com/office/drawing/2014/main" id="{764C3C6E-829A-4742-A34D-8A9C75B7570B}"/>
                </a:ext>
              </a:extLst>
            </p:cNvPr>
            <p:cNvSpPr>
              <a:spLocks noChangeAspect="1" noChangeArrowheads="1"/>
            </p:cNvSpPr>
            <p:nvPr>
              <p:custDataLst>
                <p:tags r:id="rId37"/>
              </p:custDataLst>
            </p:nvPr>
          </p:nvSpPr>
          <p:spPr bwMode="gray">
            <a:xfrm>
              <a:off x="8045082" y="2165582"/>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1" name="Oval 38">
              <a:extLst>
                <a:ext uri="{FF2B5EF4-FFF2-40B4-BE49-F238E27FC236}">
                  <a16:creationId xmlns:a16="http://schemas.microsoft.com/office/drawing/2014/main" id="{A0D21850-7702-44A7-8715-DAB91BC71814}"/>
                </a:ext>
              </a:extLst>
            </p:cNvPr>
            <p:cNvSpPr>
              <a:spLocks noChangeAspect="1" noChangeArrowheads="1"/>
            </p:cNvSpPr>
            <p:nvPr>
              <p:custDataLst>
                <p:tags r:id="rId38"/>
              </p:custDataLst>
            </p:nvPr>
          </p:nvSpPr>
          <p:spPr bwMode="gray">
            <a:xfrm>
              <a:off x="8213758" y="2609465"/>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2" name="Oval 38">
              <a:extLst>
                <a:ext uri="{FF2B5EF4-FFF2-40B4-BE49-F238E27FC236}">
                  <a16:creationId xmlns:a16="http://schemas.microsoft.com/office/drawing/2014/main" id="{4879148B-8C23-4D43-8506-7B4659E926B5}"/>
                </a:ext>
              </a:extLst>
            </p:cNvPr>
            <p:cNvSpPr>
              <a:spLocks noChangeAspect="1" noChangeArrowheads="1"/>
            </p:cNvSpPr>
            <p:nvPr>
              <p:custDataLst>
                <p:tags r:id="rId39"/>
              </p:custDataLst>
            </p:nvPr>
          </p:nvSpPr>
          <p:spPr bwMode="gray">
            <a:xfrm>
              <a:off x="8391311" y="2795896"/>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3" name="Oval 38">
              <a:extLst>
                <a:ext uri="{FF2B5EF4-FFF2-40B4-BE49-F238E27FC236}">
                  <a16:creationId xmlns:a16="http://schemas.microsoft.com/office/drawing/2014/main" id="{7F3D819E-0861-4BF0-93D4-89D174141F05}"/>
                </a:ext>
              </a:extLst>
            </p:cNvPr>
            <p:cNvSpPr>
              <a:spLocks noChangeAspect="1" noChangeArrowheads="1"/>
            </p:cNvSpPr>
            <p:nvPr>
              <p:custDataLst>
                <p:tags r:id="rId40"/>
              </p:custDataLst>
            </p:nvPr>
          </p:nvSpPr>
          <p:spPr bwMode="gray">
            <a:xfrm>
              <a:off x="8631009" y="2822529"/>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4" name="Oval 38">
              <a:extLst>
                <a:ext uri="{FF2B5EF4-FFF2-40B4-BE49-F238E27FC236}">
                  <a16:creationId xmlns:a16="http://schemas.microsoft.com/office/drawing/2014/main" id="{84BBDBDA-C084-4D73-BC98-A94FDDA30DB4}"/>
                </a:ext>
              </a:extLst>
            </p:cNvPr>
            <p:cNvSpPr>
              <a:spLocks noChangeAspect="1" noChangeArrowheads="1"/>
            </p:cNvSpPr>
            <p:nvPr>
              <p:custDataLst>
                <p:tags r:id="rId41"/>
              </p:custDataLst>
            </p:nvPr>
          </p:nvSpPr>
          <p:spPr bwMode="gray">
            <a:xfrm>
              <a:off x="8515599" y="295569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5" name="Oval 38">
              <a:extLst>
                <a:ext uri="{FF2B5EF4-FFF2-40B4-BE49-F238E27FC236}">
                  <a16:creationId xmlns:a16="http://schemas.microsoft.com/office/drawing/2014/main" id="{CED97C16-FA0E-4270-BB40-468CD48CE514}"/>
                </a:ext>
              </a:extLst>
            </p:cNvPr>
            <p:cNvSpPr>
              <a:spLocks noChangeAspect="1" noChangeArrowheads="1"/>
            </p:cNvSpPr>
            <p:nvPr>
              <p:custDataLst>
                <p:tags r:id="rId42"/>
              </p:custDataLst>
            </p:nvPr>
          </p:nvSpPr>
          <p:spPr bwMode="gray">
            <a:xfrm>
              <a:off x="9066014" y="254732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6" name="Oval 38">
              <a:extLst>
                <a:ext uri="{FF2B5EF4-FFF2-40B4-BE49-F238E27FC236}">
                  <a16:creationId xmlns:a16="http://schemas.microsoft.com/office/drawing/2014/main" id="{2725BC98-E4E2-4019-BBB7-77102199D34F}"/>
                </a:ext>
              </a:extLst>
            </p:cNvPr>
            <p:cNvSpPr>
              <a:spLocks noChangeAspect="1" noChangeArrowheads="1"/>
            </p:cNvSpPr>
            <p:nvPr>
              <p:custDataLst>
                <p:tags r:id="rId43"/>
              </p:custDataLst>
            </p:nvPr>
          </p:nvSpPr>
          <p:spPr bwMode="gray">
            <a:xfrm>
              <a:off x="8879583" y="2449667"/>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7" name="Oval 38">
              <a:extLst>
                <a:ext uri="{FF2B5EF4-FFF2-40B4-BE49-F238E27FC236}">
                  <a16:creationId xmlns:a16="http://schemas.microsoft.com/office/drawing/2014/main" id="{7B8F214D-C399-4410-B297-E25620FCDAD7}"/>
                </a:ext>
              </a:extLst>
            </p:cNvPr>
            <p:cNvSpPr>
              <a:spLocks noChangeAspect="1" noChangeArrowheads="1"/>
            </p:cNvSpPr>
            <p:nvPr>
              <p:custDataLst>
                <p:tags r:id="rId44"/>
              </p:custDataLst>
            </p:nvPr>
          </p:nvSpPr>
          <p:spPr bwMode="gray">
            <a:xfrm>
              <a:off x="8568865" y="2405279"/>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8" name="Oval 38">
              <a:extLst>
                <a:ext uri="{FF2B5EF4-FFF2-40B4-BE49-F238E27FC236}">
                  <a16:creationId xmlns:a16="http://schemas.microsoft.com/office/drawing/2014/main" id="{180E7264-68A5-465E-84BA-B24B9C6641D2}"/>
                </a:ext>
              </a:extLst>
            </p:cNvPr>
            <p:cNvSpPr>
              <a:spLocks noChangeAspect="1" noChangeArrowheads="1"/>
            </p:cNvSpPr>
            <p:nvPr>
              <p:custDataLst>
                <p:tags r:id="rId45"/>
              </p:custDataLst>
            </p:nvPr>
          </p:nvSpPr>
          <p:spPr bwMode="gray">
            <a:xfrm>
              <a:off x="8906216" y="2236603"/>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9" name="Oval 38">
              <a:extLst>
                <a:ext uri="{FF2B5EF4-FFF2-40B4-BE49-F238E27FC236}">
                  <a16:creationId xmlns:a16="http://schemas.microsoft.com/office/drawing/2014/main" id="{FD93EB1B-A0F5-4945-B6AF-07D123B21527}"/>
                </a:ext>
              </a:extLst>
            </p:cNvPr>
            <p:cNvSpPr>
              <a:spLocks noChangeAspect="1" noChangeArrowheads="1"/>
            </p:cNvSpPr>
            <p:nvPr>
              <p:custDataLst>
                <p:tags r:id="rId46"/>
              </p:custDataLst>
            </p:nvPr>
          </p:nvSpPr>
          <p:spPr bwMode="gray">
            <a:xfrm>
              <a:off x="8746418" y="2121193"/>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70" name="Oval 38">
              <a:extLst>
                <a:ext uri="{FF2B5EF4-FFF2-40B4-BE49-F238E27FC236}">
                  <a16:creationId xmlns:a16="http://schemas.microsoft.com/office/drawing/2014/main" id="{2E719574-4A89-49A9-91BA-FE7487E13850}"/>
                </a:ext>
              </a:extLst>
            </p:cNvPr>
            <p:cNvSpPr>
              <a:spLocks noChangeAspect="1" noChangeArrowheads="1"/>
            </p:cNvSpPr>
            <p:nvPr>
              <p:custDataLst>
                <p:tags r:id="rId47"/>
              </p:custDataLst>
            </p:nvPr>
          </p:nvSpPr>
          <p:spPr bwMode="gray">
            <a:xfrm>
              <a:off x="8559987" y="204129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71" name="Oval 38">
              <a:extLst>
                <a:ext uri="{FF2B5EF4-FFF2-40B4-BE49-F238E27FC236}">
                  <a16:creationId xmlns:a16="http://schemas.microsoft.com/office/drawing/2014/main" id="{9D52491B-58A5-4D54-8EF7-2075CC3EA0F7}"/>
                </a:ext>
              </a:extLst>
            </p:cNvPr>
            <p:cNvSpPr>
              <a:spLocks noChangeAspect="1" noChangeArrowheads="1"/>
            </p:cNvSpPr>
            <p:nvPr>
              <p:custDataLst>
                <p:tags r:id="rId48"/>
              </p:custDataLst>
            </p:nvPr>
          </p:nvSpPr>
          <p:spPr bwMode="gray">
            <a:xfrm>
              <a:off x="9270200" y="201466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grpSp>
      <p:pic>
        <p:nvPicPr>
          <p:cNvPr id="273" name="CustomIcon">
            <a:extLst>
              <a:ext uri="{FF2B5EF4-FFF2-40B4-BE49-F238E27FC236}">
                <a16:creationId xmlns:a16="http://schemas.microsoft.com/office/drawing/2014/main" id="{4C9E2016-3740-45CF-9BA0-88D8AF821BCF}"/>
              </a:ext>
            </a:extLst>
          </p:cNvPr>
          <p:cNvPicPr>
            <a:picLocks/>
          </p:cNvPicPr>
          <p:nvPr>
            <p:custDataLst>
              <p:tags r:id="rId17"/>
            </p:custDataLst>
          </p:nvPr>
        </p:nvPicPr>
        <p:blipFill>
          <a:blip r:embed="rId84">
            <a:extLst>
              <a:ext uri="{96DAC541-7B7A-43D3-8B79-37D633B846F1}">
                <asvg:svgBlip xmlns:asvg="http://schemas.microsoft.com/office/drawing/2016/SVG/main" r:embed="rId85"/>
              </a:ext>
            </a:extLst>
          </a:blip>
          <a:stretch>
            <a:fillRect/>
          </a:stretch>
        </p:blipFill>
        <p:spPr>
          <a:xfrm>
            <a:off x="8391333" y="4683261"/>
            <a:ext cx="228009" cy="230315"/>
          </a:xfrm>
          <a:prstGeom prst="rect">
            <a:avLst/>
          </a:prstGeom>
        </p:spPr>
      </p:pic>
      <p:sp>
        <p:nvSpPr>
          <p:cNvPr id="306" name="TextBox 305">
            <a:extLst>
              <a:ext uri="{FF2B5EF4-FFF2-40B4-BE49-F238E27FC236}">
                <a16:creationId xmlns:a16="http://schemas.microsoft.com/office/drawing/2014/main" id="{73002F48-7C62-47B9-BB2A-56410A8BE603}"/>
              </a:ext>
            </a:extLst>
          </p:cNvPr>
          <p:cNvSpPr txBox="1">
            <a:spLocks/>
          </p:cNvSpPr>
          <p:nvPr/>
        </p:nvSpPr>
        <p:spPr>
          <a:xfrm>
            <a:off x="8692589" y="4692786"/>
            <a:ext cx="666946" cy="3377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最終結果と受益者の満足度に基づく医療</a:t>
            </a:r>
          </a:p>
        </p:txBody>
      </p:sp>
      <p:pic>
        <p:nvPicPr>
          <p:cNvPr id="307" name="CustomIcon">
            <a:extLst>
              <a:ext uri="{FF2B5EF4-FFF2-40B4-BE49-F238E27FC236}">
                <a16:creationId xmlns:a16="http://schemas.microsoft.com/office/drawing/2014/main" id="{72BAAEA0-4CD1-49E4-8B6E-A631643B22C3}"/>
              </a:ext>
            </a:extLst>
          </p:cNvPr>
          <p:cNvPicPr>
            <a:picLocks/>
          </p:cNvPicPr>
          <p:nvPr>
            <p:custDataLst>
              <p:tags r:id="rId18"/>
            </p:custDataLst>
          </p:nvPr>
        </p:nvPicPr>
        <p:blipFill>
          <a:blip r:embed="rId86">
            <a:extLst>
              <a:ext uri="{96DAC541-7B7A-43D3-8B79-37D633B846F1}">
                <asvg:svgBlip xmlns:asvg="http://schemas.microsoft.com/office/drawing/2016/SVG/main" r:embed="rId87"/>
              </a:ext>
            </a:extLst>
          </a:blip>
          <a:stretch>
            <a:fillRect/>
          </a:stretch>
        </p:blipFill>
        <p:spPr>
          <a:xfrm>
            <a:off x="8391333" y="5451093"/>
            <a:ext cx="228009" cy="230315"/>
          </a:xfrm>
          <a:prstGeom prst="rect">
            <a:avLst/>
          </a:prstGeom>
        </p:spPr>
      </p:pic>
      <p:sp>
        <p:nvSpPr>
          <p:cNvPr id="308" name="TextBox 307">
            <a:extLst>
              <a:ext uri="{FF2B5EF4-FFF2-40B4-BE49-F238E27FC236}">
                <a16:creationId xmlns:a16="http://schemas.microsoft.com/office/drawing/2014/main" id="{9E6B7497-E7D6-4B29-A4BD-0738855EDD4F}"/>
              </a:ext>
            </a:extLst>
          </p:cNvPr>
          <p:cNvSpPr txBox="1">
            <a:spLocks/>
          </p:cNvSpPr>
          <p:nvPr/>
        </p:nvSpPr>
        <p:spPr>
          <a:xfrm>
            <a:off x="8692589" y="5460619"/>
            <a:ext cx="666946"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dirty="0"/>
              <a:t>自宅周辺でのケア</a:t>
            </a:r>
          </a:p>
        </p:txBody>
      </p:sp>
      <p:pic>
        <p:nvPicPr>
          <p:cNvPr id="274" name="CustomIcon">
            <a:extLst>
              <a:ext uri="{FF2B5EF4-FFF2-40B4-BE49-F238E27FC236}">
                <a16:creationId xmlns:a16="http://schemas.microsoft.com/office/drawing/2014/main" id="{11E353A9-CEDC-4A24-85B5-D57B72881B7C}"/>
              </a:ext>
            </a:extLst>
          </p:cNvPr>
          <p:cNvPicPr>
            <a:picLocks/>
          </p:cNvPicPr>
          <p:nvPr>
            <p:custDataLst>
              <p:tags r:id="rId19"/>
            </p:custDataLst>
          </p:nvPr>
        </p:nvPicPr>
        <p:blipFill>
          <a:blip r:embed="rId88">
            <a:extLst>
              <a:ext uri="{96DAC541-7B7A-43D3-8B79-37D633B846F1}">
                <asvg:svgBlip xmlns:asvg="http://schemas.microsoft.com/office/drawing/2016/SVG/main" r:embed="rId89"/>
              </a:ext>
            </a:extLst>
          </a:blip>
          <a:stretch>
            <a:fillRect/>
          </a:stretch>
        </p:blipFill>
        <p:spPr>
          <a:xfrm>
            <a:off x="7011497" y="4683261"/>
            <a:ext cx="228009" cy="230315"/>
          </a:xfrm>
          <a:prstGeom prst="rect">
            <a:avLst/>
          </a:prstGeom>
        </p:spPr>
      </p:pic>
      <p:sp>
        <p:nvSpPr>
          <p:cNvPr id="275" name="TextBox 274">
            <a:extLst>
              <a:ext uri="{FF2B5EF4-FFF2-40B4-BE49-F238E27FC236}">
                <a16:creationId xmlns:a16="http://schemas.microsoft.com/office/drawing/2014/main" id="{EC88136A-407B-477A-950E-2F0E1E314486}"/>
              </a:ext>
            </a:extLst>
          </p:cNvPr>
          <p:cNvSpPr txBox="1">
            <a:spLocks/>
          </p:cNvSpPr>
          <p:nvPr/>
        </p:nvSpPr>
        <p:spPr>
          <a:xfrm>
            <a:off x="7315938" y="4692787"/>
            <a:ext cx="823920"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医療システムのキャパシティ増強</a:t>
            </a:r>
            <a:endParaRPr lang="pt-PT" sz="813" dirty="0"/>
          </a:p>
        </p:txBody>
      </p:sp>
      <p:pic>
        <p:nvPicPr>
          <p:cNvPr id="276" name="CustomIcon">
            <a:extLst>
              <a:ext uri="{FF2B5EF4-FFF2-40B4-BE49-F238E27FC236}">
                <a16:creationId xmlns:a16="http://schemas.microsoft.com/office/drawing/2014/main" id="{85EA5A6F-64CE-4106-BEF4-210E72BFCAF2}"/>
              </a:ext>
            </a:extLst>
          </p:cNvPr>
          <p:cNvPicPr>
            <a:picLocks/>
          </p:cNvPicPr>
          <p:nvPr>
            <p:custDataLst>
              <p:tags r:id="rId20"/>
            </p:custDataLst>
          </p:nvPr>
        </p:nvPicPr>
        <p:blipFill>
          <a:blip r:embed="rId90">
            <a:extLst>
              <a:ext uri="{96DAC541-7B7A-43D3-8B79-37D633B846F1}">
                <asvg:svgBlip xmlns:asvg="http://schemas.microsoft.com/office/drawing/2016/SVG/main" r:embed="rId91"/>
              </a:ext>
            </a:extLst>
          </a:blip>
          <a:stretch>
            <a:fillRect/>
          </a:stretch>
        </p:blipFill>
        <p:spPr>
          <a:xfrm>
            <a:off x="7011497" y="5092457"/>
            <a:ext cx="228009" cy="230315"/>
          </a:xfrm>
          <a:prstGeom prst="rect">
            <a:avLst/>
          </a:prstGeom>
        </p:spPr>
      </p:pic>
      <p:sp>
        <p:nvSpPr>
          <p:cNvPr id="283" name="TextBox 282">
            <a:extLst>
              <a:ext uri="{FF2B5EF4-FFF2-40B4-BE49-F238E27FC236}">
                <a16:creationId xmlns:a16="http://schemas.microsoft.com/office/drawing/2014/main" id="{2C009B82-36A1-4A2D-8BC3-783281A82BB1}"/>
              </a:ext>
            </a:extLst>
          </p:cNvPr>
          <p:cNvSpPr txBox="1">
            <a:spLocks/>
          </p:cNvSpPr>
          <p:nvPr/>
        </p:nvSpPr>
        <p:spPr>
          <a:xfrm>
            <a:off x="7315938" y="5101982"/>
            <a:ext cx="823920" cy="3377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単一システム内での総合的医療 </a:t>
            </a:r>
            <a:r>
              <a:rPr lang="en-US" altLang="ja" sz="813"/>
              <a:t>(</a:t>
            </a:r>
            <a:r>
              <a:rPr lang="ja" altLang="en-US" sz="813"/>
              <a:t>クラスター</a:t>
            </a:r>
            <a:r>
              <a:rPr lang="en-US" altLang="ja" sz="813"/>
              <a:t>) </a:t>
            </a:r>
          </a:p>
        </p:txBody>
      </p:sp>
      <p:pic>
        <p:nvPicPr>
          <p:cNvPr id="304" name="CustomIcon">
            <a:extLst>
              <a:ext uri="{FF2B5EF4-FFF2-40B4-BE49-F238E27FC236}">
                <a16:creationId xmlns:a16="http://schemas.microsoft.com/office/drawing/2014/main" id="{E4E22142-D604-4C58-8754-A80CD88857FC}"/>
              </a:ext>
            </a:extLst>
          </p:cNvPr>
          <p:cNvPicPr>
            <a:picLocks/>
          </p:cNvPicPr>
          <p:nvPr>
            <p:custDataLst>
              <p:tags r:id="rId21"/>
            </p:custDataLst>
          </p:nvPr>
        </p:nvPicPr>
        <p:blipFill>
          <a:blip r:embed="rId92">
            <a:extLst>
              <a:ext uri="{96DAC541-7B7A-43D3-8B79-37D633B846F1}">
                <asvg:svgBlip xmlns:asvg="http://schemas.microsoft.com/office/drawing/2016/SVG/main" r:embed="rId93"/>
              </a:ext>
            </a:extLst>
          </a:blip>
          <a:stretch>
            <a:fillRect/>
          </a:stretch>
        </p:blipFill>
        <p:spPr>
          <a:xfrm>
            <a:off x="7011497" y="5651693"/>
            <a:ext cx="228009" cy="230315"/>
          </a:xfrm>
          <a:prstGeom prst="rect">
            <a:avLst/>
          </a:prstGeom>
        </p:spPr>
      </p:pic>
      <p:sp>
        <p:nvSpPr>
          <p:cNvPr id="305" name="TextBox 304">
            <a:extLst>
              <a:ext uri="{FF2B5EF4-FFF2-40B4-BE49-F238E27FC236}">
                <a16:creationId xmlns:a16="http://schemas.microsoft.com/office/drawing/2014/main" id="{26317225-665A-4B8A-B1D9-1FEAA49FDEF6}"/>
              </a:ext>
            </a:extLst>
          </p:cNvPr>
          <p:cNvSpPr txBox="1">
            <a:spLocks/>
          </p:cNvSpPr>
          <p:nvPr/>
        </p:nvSpPr>
        <p:spPr>
          <a:xfrm>
            <a:off x="7315938" y="5661219"/>
            <a:ext cx="823920"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サービスの待ち時間短縮 </a:t>
            </a:r>
            <a:endParaRPr lang="pt-PT" sz="813" dirty="0"/>
          </a:p>
        </p:txBody>
      </p:sp>
      <p:cxnSp>
        <p:nvCxnSpPr>
          <p:cNvPr id="309" name="Straight Connector 308">
            <a:extLst>
              <a:ext uri="{FF2B5EF4-FFF2-40B4-BE49-F238E27FC236}">
                <a16:creationId xmlns:a16="http://schemas.microsoft.com/office/drawing/2014/main" id="{EB29EB6F-EC7D-41F7-BF26-88D7B1072490}"/>
              </a:ext>
            </a:extLst>
          </p:cNvPr>
          <p:cNvCxnSpPr>
            <a:cxnSpLocks/>
          </p:cNvCxnSpPr>
          <p:nvPr/>
        </p:nvCxnSpPr>
        <p:spPr>
          <a:xfrm>
            <a:off x="8294280" y="4666004"/>
            <a:ext cx="0" cy="1515854"/>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0A01F83-ACF3-4BC3-89DB-B659DA790014}"/>
              </a:ext>
            </a:extLst>
          </p:cNvPr>
          <p:cNvSpPr txBox="1">
            <a:spLocks/>
          </p:cNvSpPr>
          <p:nvPr>
            <p:custDataLst>
              <p:tags r:id="rId22"/>
            </p:custDataLst>
          </p:nvPr>
        </p:nvSpPr>
        <p:spPr>
          <a:xfrm>
            <a:off x="7011496" y="2619634"/>
            <a:ext cx="2348037" cy="382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2000"/>
              </a:lnSpc>
              <a:spcBef>
                <a:spcPts val="0"/>
              </a:spcBef>
            </a:pPr>
            <a:r>
              <a:rPr lang="ja" altLang="en-US" sz="900">
                <a:cs typeface="+mn-cs"/>
              </a:rPr>
              <a:t>初期診療センター、総合病院、特化型サービスによる利用者層のクラスター化とそれに伴う総合的管理システムの構築がねらい </a:t>
            </a:r>
            <a:endParaRPr lang="pt-PT" sz="900" dirty="0">
              <a:cs typeface="+mn-cs"/>
            </a:endParaRPr>
          </a:p>
        </p:txBody>
      </p:sp>
      <p:sp>
        <p:nvSpPr>
          <p:cNvPr id="310" name="TextBox 309">
            <a:extLst>
              <a:ext uri="{FF2B5EF4-FFF2-40B4-BE49-F238E27FC236}">
                <a16:creationId xmlns:a16="http://schemas.microsoft.com/office/drawing/2014/main" id="{74C747C4-0A17-4CC1-8013-76957CC33F29}"/>
              </a:ext>
            </a:extLst>
          </p:cNvPr>
          <p:cNvSpPr txBox="1">
            <a:spLocks/>
          </p:cNvSpPr>
          <p:nvPr/>
        </p:nvSpPr>
        <p:spPr>
          <a:xfrm>
            <a:off x="7011496" y="2373252"/>
            <a:ext cx="2348037"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4. </a:t>
            </a:r>
            <a:r>
              <a:rPr lang="ja" altLang="en-US" dirty="0"/>
              <a:t>最新式ケアモデル</a:t>
            </a:r>
          </a:p>
        </p:txBody>
      </p:sp>
      <p:cxnSp>
        <p:nvCxnSpPr>
          <p:cNvPr id="237" name="Straight Connector 236">
            <a:extLst>
              <a:ext uri="{FF2B5EF4-FFF2-40B4-BE49-F238E27FC236}">
                <a16:creationId xmlns:a16="http://schemas.microsoft.com/office/drawing/2014/main" id="{72925422-10C5-4B2A-909C-8538B3CF731B}"/>
              </a:ext>
            </a:extLst>
          </p:cNvPr>
          <p:cNvCxnSpPr>
            <a:cxnSpLocks/>
          </p:cNvCxnSpPr>
          <p:nvPr/>
        </p:nvCxnSpPr>
        <p:spPr>
          <a:xfrm>
            <a:off x="7011496" y="2114954"/>
            <a:ext cx="2348037"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A24735FF-6589-4FD2-A89C-62E09736778D}"/>
              </a:ext>
            </a:extLst>
          </p:cNvPr>
          <p:cNvSpPr txBox="1">
            <a:spLocks/>
          </p:cNvSpPr>
          <p:nvPr>
            <p:custDataLst>
              <p:tags r:id="rId23"/>
            </p:custDataLst>
          </p:nvPr>
        </p:nvSpPr>
        <p:spPr>
          <a:xfrm>
            <a:off x="7011496" y="1790094"/>
            <a:ext cx="2348037" cy="3139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主なサービスプロバイダーのアクセス改善 </a:t>
            </a:r>
          </a:p>
        </p:txBody>
      </p:sp>
      <p:cxnSp>
        <p:nvCxnSpPr>
          <p:cNvPr id="335" name="Straight Connector 334">
            <a:extLst>
              <a:ext uri="{FF2B5EF4-FFF2-40B4-BE49-F238E27FC236}">
                <a16:creationId xmlns:a16="http://schemas.microsoft.com/office/drawing/2014/main" id="{6EEEF77C-18C0-43EB-9E9F-09E1E6C73200}"/>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6" name="TextBox 335">
            <a:extLst>
              <a:ext uri="{FF2B5EF4-FFF2-40B4-BE49-F238E27FC236}">
                <a16:creationId xmlns:a16="http://schemas.microsoft.com/office/drawing/2014/main" id="{2E75B2A0-4DBE-4B0E-B2AF-D09EF0C47FA1}"/>
              </a:ext>
            </a:extLst>
          </p:cNvPr>
          <p:cNvSpPr txBox="1">
            <a:spLocks/>
          </p:cNvSpPr>
          <p:nvPr>
            <p:custDataLst>
              <p:tags r:id="rId24"/>
            </p:custDataLst>
          </p:nvPr>
        </p:nvSpPr>
        <p:spPr>
          <a:xfrm>
            <a:off x="435220" y="1790092"/>
            <a:ext cx="1983239" cy="3139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テクノロジーサービスプロバイダー向けプラットフォームの開発 </a:t>
            </a:r>
          </a:p>
        </p:txBody>
      </p:sp>
      <p:sp>
        <p:nvSpPr>
          <p:cNvPr id="340" name="Rectangle 10">
            <a:extLst>
              <a:ext uri="{FF2B5EF4-FFF2-40B4-BE49-F238E27FC236}">
                <a16:creationId xmlns:a16="http://schemas.microsoft.com/office/drawing/2014/main" id="{B633173E-BFA8-4AA9-8999-A12767451E60}"/>
              </a:ext>
            </a:extLst>
          </p:cNvPr>
          <p:cNvSpPr>
            <a:spLocks noChangeArrowheads="1"/>
          </p:cNvSpPr>
          <p:nvPr>
            <p:custDataLst>
              <p:tags r:id="rId25"/>
            </p:custDataLst>
          </p:nvPr>
        </p:nvSpPr>
        <p:spPr bwMode="auto">
          <a:xfrm>
            <a:off x="435223" y="2619632"/>
            <a:ext cx="1735410"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pPr>
            <a:r>
              <a:rPr sz="900" dirty="0" err="1"/>
              <a:t>情報通信技術の効果的かつ安全な使用方法を確立し、医療と関連目標の達成を手助けすることがねらい</a:t>
            </a:r>
            <a:endParaRPr lang="de-DE" sz="900" dirty="0">
              <a:latin typeface="+mn-lt"/>
            </a:endParaRPr>
          </a:p>
        </p:txBody>
      </p:sp>
      <p:grpSp>
        <p:nvGrpSpPr>
          <p:cNvPr id="9" name="Group 8">
            <a:extLst>
              <a:ext uri="{FF2B5EF4-FFF2-40B4-BE49-F238E27FC236}">
                <a16:creationId xmlns:a16="http://schemas.microsoft.com/office/drawing/2014/main" id="{2ADCC87D-8E35-4CDA-A72F-4357D31C4F6E}"/>
              </a:ext>
            </a:extLst>
          </p:cNvPr>
          <p:cNvGrpSpPr/>
          <p:nvPr/>
        </p:nvGrpSpPr>
        <p:grpSpPr>
          <a:xfrm>
            <a:off x="435223" y="3131410"/>
            <a:ext cx="1938110" cy="2844000"/>
            <a:chOff x="435223" y="3286781"/>
            <a:chExt cx="1938110" cy="2844000"/>
          </a:xfrm>
        </p:grpSpPr>
        <p:sp>
          <p:nvSpPr>
            <p:cNvPr id="356" name="object 194">
              <a:extLst>
                <a:ext uri="{FF2B5EF4-FFF2-40B4-BE49-F238E27FC236}">
                  <a16:creationId xmlns:a16="http://schemas.microsoft.com/office/drawing/2014/main" id="{EF9F9FFB-EF54-4231-A569-8EF5B275FAEC}"/>
                </a:ext>
              </a:extLst>
            </p:cNvPr>
            <p:cNvSpPr txBox="1">
              <a:spLocks/>
            </p:cNvSpPr>
            <p:nvPr/>
          </p:nvSpPr>
          <p:spPr>
            <a:xfrm>
              <a:off x="1124126" y="3872407"/>
              <a:ext cx="1249207" cy="585962"/>
            </a:xfrm>
            <a:prstGeom prst="rect">
              <a:avLst/>
            </a:prstGeom>
          </p:spPr>
          <p:txBody>
            <a:bodyPr vert="horz" wrap="square" lIns="0" tIns="10319" rIns="0" bIns="0" rtlCol="0">
              <a:spAutoFit/>
            </a:bodyPr>
            <a:lstStyle/>
            <a:p>
              <a:pPr marL="10319">
                <a:lnSpc>
                  <a:spcPct val="85000"/>
                </a:lnSpc>
              </a:pPr>
              <a:r>
                <a:rPr sz="1100"/>
                <a:t>従来にない新しいタイプのサービスプロバイダーによる医療分野への参入を促進</a:t>
              </a:r>
              <a:endParaRPr lang="en-GB" sz="1100" dirty="0">
                <a:cs typeface="Arial"/>
              </a:endParaRPr>
            </a:p>
          </p:txBody>
        </p:sp>
        <p:sp>
          <p:nvSpPr>
            <p:cNvPr id="362" name="object 197">
              <a:extLst>
                <a:ext uri="{FF2B5EF4-FFF2-40B4-BE49-F238E27FC236}">
                  <a16:creationId xmlns:a16="http://schemas.microsoft.com/office/drawing/2014/main" id="{DB77BA41-F6E8-4F9E-8892-E83B10D2E9C4}"/>
                </a:ext>
              </a:extLst>
            </p:cNvPr>
            <p:cNvSpPr txBox="1">
              <a:spLocks/>
            </p:cNvSpPr>
            <p:nvPr/>
          </p:nvSpPr>
          <p:spPr>
            <a:xfrm>
              <a:off x="1124126" y="4550484"/>
              <a:ext cx="1249207" cy="298191"/>
            </a:xfrm>
            <a:prstGeom prst="rect">
              <a:avLst/>
            </a:prstGeom>
          </p:spPr>
          <p:txBody>
            <a:bodyPr vert="horz" wrap="square" lIns="0" tIns="10319" rIns="0" bIns="0" rtlCol="0">
              <a:spAutoFit/>
            </a:bodyPr>
            <a:lstStyle/>
            <a:p>
              <a:pPr marL="10319">
                <a:lnSpc>
                  <a:spcPct val="85000"/>
                </a:lnSpc>
              </a:pPr>
              <a:r>
                <a:rPr lang="ja" altLang="en-US" sz="1100" spc="24" dirty="0">
                  <a:cs typeface="Arial"/>
                </a:rPr>
                <a:t>罹患予測ツールを提供</a:t>
              </a:r>
              <a:endParaRPr sz="1100" dirty="0">
                <a:cs typeface="Arial"/>
              </a:endParaRPr>
            </a:p>
          </p:txBody>
        </p:sp>
        <p:sp>
          <p:nvSpPr>
            <p:cNvPr id="367" name="object 198">
              <a:extLst>
                <a:ext uri="{FF2B5EF4-FFF2-40B4-BE49-F238E27FC236}">
                  <a16:creationId xmlns:a16="http://schemas.microsoft.com/office/drawing/2014/main" id="{C44FAA7F-2685-4507-A768-C81E5B7E12E9}"/>
                </a:ext>
              </a:extLst>
            </p:cNvPr>
            <p:cNvSpPr txBox="1">
              <a:spLocks/>
            </p:cNvSpPr>
            <p:nvPr/>
          </p:nvSpPr>
          <p:spPr>
            <a:xfrm>
              <a:off x="1124126" y="5130826"/>
              <a:ext cx="1249207" cy="298191"/>
            </a:xfrm>
            <a:prstGeom prst="rect">
              <a:avLst/>
            </a:prstGeom>
          </p:spPr>
          <p:txBody>
            <a:bodyPr vert="horz" wrap="square" lIns="0" tIns="10319" rIns="0" bIns="0" rtlCol="0">
              <a:spAutoFit/>
            </a:bodyPr>
            <a:lstStyle/>
            <a:p>
              <a:pPr marL="10319">
                <a:lnSpc>
                  <a:spcPct val="85000"/>
                </a:lnSpc>
              </a:pPr>
              <a:r>
                <a:rPr sz="1100" dirty="0" err="1"/>
                <a:t>パーソナルケアの</a:t>
              </a:r>
              <a:br>
                <a:rPr lang="ja-JP" altLang="en-US" sz="1100" dirty="0"/>
              </a:br>
              <a:r>
                <a:rPr sz="1100" dirty="0" err="1"/>
                <a:t>管理能力を強化</a:t>
              </a:r>
              <a:endParaRPr sz="1100" dirty="0">
                <a:cs typeface="Arial"/>
              </a:endParaRPr>
            </a:p>
          </p:txBody>
        </p:sp>
        <p:grpSp>
          <p:nvGrpSpPr>
            <p:cNvPr id="12" name="Group 11">
              <a:extLst>
                <a:ext uri="{FF2B5EF4-FFF2-40B4-BE49-F238E27FC236}">
                  <a16:creationId xmlns:a16="http://schemas.microsoft.com/office/drawing/2014/main" id="{DDEFCF38-1BCF-45A0-8262-59B1B84DD805}"/>
                </a:ext>
              </a:extLst>
            </p:cNvPr>
            <p:cNvGrpSpPr/>
            <p:nvPr/>
          </p:nvGrpSpPr>
          <p:grpSpPr>
            <a:xfrm>
              <a:off x="435223" y="3286781"/>
              <a:ext cx="105251" cy="2844000"/>
              <a:chOff x="435223" y="3047536"/>
              <a:chExt cx="105251" cy="2844000"/>
            </a:xfrm>
          </p:grpSpPr>
          <p:sp>
            <p:nvSpPr>
              <p:cNvPr id="352" name="object 160">
                <a:extLst>
                  <a:ext uri="{FF2B5EF4-FFF2-40B4-BE49-F238E27FC236}">
                    <a16:creationId xmlns:a16="http://schemas.microsoft.com/office/drawing/2014/main" id="{D35CF226-7098-43F8-8355-074935ECD6DD}"/>
                  </a:ext>
                </a:extLst>
              </p:cNvPr>
              <p:cNvSpPr>
                <a:spLocks/>
              </p:cNvSpPr>
              <p:nvPr/>
            </p:nvSpPr>
            <p:spPr>
              <a:xfrm>
                <a:off x="466521" y="3047536"/>
                <a:ext cx="42438" cy="2844000"/>
              </a:xfrm>
              <a:custGeom>
                <a:avLst/>
                <a:gdLst/>
                <a:ahLst/>
                <a:cxnLst/>
                <a:rect l="l" t="t" r="r" b="b"/>
                <a:pathLst>
                  <a:path w="79375" h="3970654">
                    <a:moveTo>
                      <a:pt x="79349" y="0"/>
                    </a:moveTo>
                    <a:lnTo>
                      <a:pt x="0" y="0"/>
                    </a:lnTo>
                    <a:lnTo>
                      <a:pt x="0" y="3970337"/>
                    </a:lnTo>
                    <a:lnTo>
                      <a:pt x="79349" y="3970337"/>
                    </a:lnTo>
                    <a:lnTo>
                      <a:pt x="79349" y="0"/>
                    </a:lnTo>
                    <a:close/>
                  </a:path>
                </a:pathLst>
              </a:custGeom>
              <a:solidFill>
                <a:srgbClr val="ACB2B6"/>
              </a:solidFill>
            </p:spPr>
            <p:txBody>
              <a:bodyPr wrap="square" lIns="0" tIns="0" rIns="0" bIns="0" rtlCol="0">
                <a:noAutofit/>
              </a:bodyPr>
              <a:lstStyle/>
              <a:p>
                <a:pPr rtl="0"/>
                <a:endParaRPr sz="813" dirty="0"/>
              </a:p>
            </p:txBody>
          </p:sp>
          <p:sp>
            <p:nvSpPr>
              <p:cNvPr id="353" name="object 162">
                <a:extLst>
                  <a:ext uri="{FF2B5EF4-FFF2-40B4-BE49-F238E27FC236}">
                    <a16:creationId xmlns:a16="http://schemas.microsoft.com/office/drawing/2014/main" id="{5A130FD9-3533-4B9F-BFFD-E2164F223D0A}"/>
                  </a:ext>
                </a:extLst>
              </p:cNvPr>
              <p:cNvSpPr/>
              <p:nvPr/>
            </p:nvSpPr>
            <p:spPr>
              <a:xfrm>
                <a:off x="435228" y="3814231"/>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96D5F1"/>
              </a:solidFill>
            </p:spPr>
            <p:txBody>
              <a:bodyPr wrap="square" lIns="0" tIns="0" rIns="0" bIns="0" rtlCol="0"/>
              <a:lstStyle/>
              <a:p>
                <a:pPr rtl="0"/>
                <a:endParaRPr sz="813" dirty="0"/>
              </a:p>
            </p:txBody>
          </p:sp>
          <p:sp>
            <p:nvSpPr>
              <p:cNvPr id="357" name="object 163">
                <a:extLst>
                  <a:ext uri="{FF2B5EF4-FFF2-40B4-BE49-F238E27FC236}">
                    <a16:creationId xmlns:a16="http://schemas.microsoft.com/office/drawing/2014/main" id="{5E081F98-E8E7-4CF9-8412-4C66E273A29C}"/>
                  </a:ext>
                </a:extLst>
              </p:cNvPr>
              <p:cNvSpPr/>
              <p:nvPr/>
            </p:nvSpPr>
            <p:spPr>
              <a:xfrm>
                <a:off x="435228" y="4392937"/>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13AAA8"/>
              </a:solidFill>
            </p:spPr>
            <p:txBody>
              <a:bodyPr wrap="square" lIns="0" tIns="0" rIns="0" bIns="0" rtlCol="0"/>
              <a:lstStyle/>
              <a:p>
                <a:pPr rtl="0"/>
                <a:endParaRPr sz="813" dirty="0"/>
              </a:p>
            </p:txBody>
          </p:sp>
          <p:sp>
            <p:nvSpPr>
              <p:cNvPr id="363" name="object 164">
                <a:extLst>
                  <a:ext uri="{FF2B5EF4-FFF2-40B4-BE49-F238E27FC236}">
                    <a16:creationId xmlns:a16="http://schemas.microsoft.com/office/drawing/2014/main" id="{B2E0CE6A-6893-4E5B-9C81-6ABAED798AF1}"/>
                  </a:ext>
                </a:extLst>
              </p:cNvPr>
              <p:cNvSpPr/>
              <p:nvPr/>
            </p:nvSpPr>
            <p:spPr>
              <a:xfrm>
                <a:off x="435228" y="4971643"/>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438BCA"/>
              </a:solidFill>
            </p:spPr>
            <p:txBody>
              <a:bodyPr wrap="square" lIns="0" tIns="0" rIns="0" bIns="0" rtlCol="0"/>
              <a:lstStyle/>
              <a:p>
                <a:pPr rtl="0"/>
                <a:endParaRPr sz="813" dirty="0"/>
              </a:p>
            </p:txBody>
          </p:sp>
          <p:sp>
            <p:nvSpPr>
              <p:cNvPr id="368" name="object 165">
                <a:extLst>
                  <a:ext uri="{FF2B5EF4-FFF2-40B4-BE49-F238E27FC236}">
                    <a16:creationId xmlns:a16="http://schemas.microsoft.com/office/drawing/2014/main" id="{7414250C-CCAD-44F0-98BF-726315D5DF1F}"/>
                  </a:ext>
                </a:extLst>
              </p:cNvPr>
              <p:cNvSpPr/>
              <p:nvPr/>
            </p:nvSpPr>
            <p:spPr>
              <a:xfrm>
                <a:off x="435228" y="5550350"/>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19"/>
                    </a:lnTo>
                    <a:lnTo>
                      <a:pt x="170459" y="261619"/>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2A347E"/>
              </a:solidFill>
            </p:spPr>
            <p:txBody>
              <a:bodyPr wrap="square" lIns="0" tIns="0" rIns="0" bIns="0" rtlCol="0"/>
              <a:lstStyle/>
              <a:p>
                <a:pPr rtl="0"/>
                <a:endParaRPr sz="813" dirty="0"/>
              </a:p>
            </p:txBody>
          </p:sp>
          <p:sp>
            <p:nvSpPr>
              <p:cNvPr id="370" name="object 161">
                <a:extLst>
                  <a:ext uri="{FF2B5EF4-FFF2-40B4-BE49-F238E27FC236}">
                    <a16:creationId xmlns:a16="http://schemas.microsoft.com/office/drawing/2014/main" id="{1FE616E6-A847-421D-BBD1-3C67CFDEF21D}"/>
                  </a:ext>
                </a:extLst>
              </p:cNvPr>
              <p:cNvSpPr/>
              <p:nvPr/>
            </p:nvSpPr>
            <p:spPr>
              <a:xfrm>
                <a:off x="435223" y="3235525"/>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19"/>
                    </a:lnTo>
                    <a:lnTo>
                      <a:pt x="170459" y="261619"/>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FFCC01"/>
              </a:solidFill>
            </p:spPr>
            <p:txBody>
              <a:bodyPr wrap="square" lIns="0" tIns="0" rIns="0" bIns="0" rtlCol="0"/>
              <a:lstStyle/>
              <a:p>
                <a:pPr rtl="0"/>
                <a:endParaRPr sz="813" dirty="0"/>
              </a:p>
            </p:txBody>
          </p:sp>
        </p:grpSp>
        <p:sp>
          <p:nvSpPr>
            <p:cNvPr id="374" name="object 199">
              <a:extLst>
                <a:ext uri="{FF2B5EF4-FFF2-40B4-BE49-F238E27FC236}">
                  <a16:creationId xmlns:a16="http://schemas.microsoft.com/office/drawing/2014/main" id="{736017CF-AF11-4088-A5F9-974D0C303142}"/>
                </a:ext>
              </a:extLst>
            </p:cNvPr>
            <p:cNvSpPr txBox="1">
              <a:spLocks/>
            </p:cNvSpPr>
            <p:nvPr/>
          </p:nvSpPr>
          <p:spPr>
            <a:xfrm>
              <a:off x="1124126" y="5635954"/>
              <a:ext cx="1249207" cy="442076"/>
            </a:xfrm>
            <a:prstGeom prst="rect">
              <a:avLst/>
            </a:prstGeom>
          </p:spPr>
          <p:txBody>
            <a:bodyPr vert="horz" wrap="square" lIns="0" tIns="10319" rIns="0" bIns="0" rtlCol="0">
              <a:spAutoFit/>
            </a:bodyPr>
            <a:lstStyle/>
            <a:p>
              <a:pPr marL="10319">
                <a:lnSpc>
                  <a:spcPct val="85000"/>
                </a:lnSpc>
              </a:pPr>
              <a:r>
                <a:rPr sz="1100" dirty="0" err="1"/>
                <a:t>感染症の蔓延時に医療関係者に対する注意喚起をサポート</a:t>
              </a:r>
              <a:endParaRPr lang="en-GB" sz="1100" dirty="0">
                <a:cs typeface="Arial"/>
              </a:endParaRPr>
            </a:p>
          </p:txBody>
        </p:sp>
        <p:sp>
          <p:nvSpPr>
            <p:cNvPr id="375" name="TextBox 374">
              <a:extLst>
                <a:ext uri="{FF2B5EF4-FFF2-40B4-BE49-F238E27FC236}">
                  <a16:creationId xmlns:a16="http://schemas.microsoft.com/office/drawing/2014/main" id="{F93256AD-6330-40C5-AD03-C58FEE9FF846}"/>
                </a:ext>
              </a:extLst>
            </p:cNvPr>
            <p:cNvSpPr txBox="1">
              <a:spLocks/>
            </p:cNvSpPr>
            <p:nvPr/>
          </p:nvSpPr>
          <p:spPr>
            <a:xfrm>
              <a:off x="1124126" y="3326339"/>
              <a:ext cx="1249207" cy="4316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85000"/>
                </a:lnSpc>
                <a:spcBef>
                  <a:spcPts val="0"/>
                </a:spcBef>
                <a:spcAft>
                  <a:spcPts val="0"/>
                </a:spcAft>
              </a:pPr>
              <a:r>
                <a:rPr sz="1100" dirty="0" err="1"/>
                <a:t>ケアに対する従来と一線を画したアプ</a:t>
              </a:r>
              <a:br>
                <a:rPr lang="ja-JP" altLang="en-US" sz="1100" dirty="0"/>
              </a:br>
              <a:r>
                <a:rPr sz="1100" dirty="0" err="1"/>
                <a:t>ローチの導入を促進</a:t>
              </a:r>
              <a:endParaRPr sz="1100" dirty="0"/>
            </a:p>
          </p:txBody>
        </p:sp>
        <p:grpSp>
          <p:nvGrpSpPr>
            <p:cNvPr id="14" name="Group 13">
              <a:extLst>
                <a:ext uri="{FF2B5EF4-FFF2-40B4-BE49-F238E27FC236}">
                  <a16:creationId xmlns:a16="http://schemas.microsoft.com/office/drawing/2014/main" id="{C69C4AFC-7193-4F0C-BB51-C4F743171180}"/>
                </a:ext>
              </a:extLst>
            </p:cNvPr>
            <p:cNvGrpSpPr/>
            <p:nvPr/>
          </p:nvGrpSpPr>
          <p:grpSpPr>
            <a:xfrm>
              <a:off x="617989" y="3911647"/>
              <a:ext cx="432525" cy="415181"/>
              <a:chOff x="617989" y="3656794"/>
              <a:chExt cx="432525" cy="415181"/>
            </a:xfrm>
          </p:grpSpPr>
          <p:grpSp>
            <p:nvGrpSpPr>
              <p:cNvPr id="354" name="object 170">
                <a:extLst>
                  <a:ext uri="{FF2B5EF4-FFF2-40B4-BE49-F238E27FC236}">
                    <a16:creationId xmlns:a16="http://schemas.microsoft.com/office/drawing/2014/main" id="{DD331F56-E48D-4488-87D7-F92F0E1DE383}"/>
                  </a:ext>
                </a:extLst>
              </p:cNvPr>
              <p:cNvGrpSpPr/>
              <p:nvPr/>
            </p:nvGrpSpPr>
            <p:grpSpPr>
              <a:xfrm>
                <a:off x="617989" y="3656794"/>
                <a:ext cx="432525" cy="415181"/>
                <a:chOff x="9700641" y="4800847"/>
                <a:chExt cx="808990" cy="805815"/>
              </a:xfrm>
            </p:grpSpPr>
            <p:sp>
              <p:nvSpPr>
                <p:cNvPr id="455" name="object 171">
                  <a:extLst>
                    <a:ext uri="{FF2B5EF4-FFF2-40B4-BE49-F238E27FC236}">
                      <a16:creationId xmlns:a16="http://schemas.microsoft.com/office/drawing/2014/main" id="{EE373B38-F040-4C68-8AC4-0E901F73A9D5}"/>
                    </a:ext>
                  </a:extLst>
                </p:cNvPr>
                <p:cNvSpPr/>
                <p:nvPr/>
              </p:nvSpPr>
              <p:spPr>
                <a:xfrm>
                  <a:off x="9839996" y="4807197"/>
                  <a:ext cx="663575" cy="793115"/>
                </a:xfrm>
                <a:custGeom>
                  <a:avLst/>
                  <a:gdLst/>
                  <a:ahLst/>
                  <a:cxnLst/>
                  <a:rect l="l" t="t" r="r" b="b"/>
                  <a:pathLst>
                    <a:path w="663575" h="793114">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96D5F1"/>
                  </a:solidFill>
                </a:ln>
              </p:spPr>
              <p:txBody>
                <a:bodyPr wrap="square" lIns="0" tIns="0" rIns="0" bIns="0" rtlCol="0"/>
                <a:lstStyle/>
                <a:p>
                  <a:pPr rtl="0"/>
                  <a:endParaRPr sz="813" dirty="0"/>
                </a:p>
              </p:txBody>
            </p:sp>
            <p:sp>
              <p:nvSpPr>
                <p:cNvPr id="456" name="object 172">
                  <a:extLst>
                    <a:ext uri="{FF2B5EF4-FFF2-40B4-BE49-F238E27FC236}">
                      <a16:creationId xmlns:a16="http://schemas.microsoft.com/office/drawing/2014/main" id="{AE99D705-FF02-4589-824F-42F8D04371E7}"/>
                    </a:ext>
                  </a:extLst>
                </p:cNvPr>
                <p:cNvSpPr/>
                <p:nvPr/>
              </p:nvSpPr>
              <p:spPr>
                <a:xfrm>
                  <a:off x="9706991" y="5070588"/>
                  <a:ext cx="266065" cy="266065"/>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96D5F1"/>
                </a:solidFill>
              </p:spPr>
              <p:txBody>
                <a:bodyPr wrap="square" lIns="0" tIns="0" rIns="0" bIns="0" rtlCol="0"/>
                <a:lstStyle/>
                <a:p>
                  <a:pPr rtl="0"/>
                  <a:endParaRPr sz="813" dirty="0"/>
                </a:p>
              </p:txBody>
            </p:sp>
            <p:sp>
              <p:nvSpPr>
                <p:cNvPr id="457" name="object 173">
                  <a:extLst>
                    <a:ext uri="{FF2B5EF4-FFF2-40B4-BE49-F238E27FC236}">
                      <a16:creationId xmlns:a16="http://schemas.microsoft.com/office/drawing/2014/main" id="{8BCE0922-76C8-4CF2-8D0F-09CA29B906CF}"/>
                    </a:ext>
                  </a:extLst>
                </p:cNvPr>
                <p:cNvSpPr/>
                <p:nvPr/>
              </p:nvSpPr>
              <p:spPr>
                <a:xfrm>
                  <a:off x="9706991" y="5070588"/>
                  <a:ext cx="266065" cy="266065"/>
                </a:xfrm>
                <a:custGeom>
                  <a:avLst/>
                  <a:gdLst/>
                  <a:ahLst/>
                  <a:cxnLst/>
                  <a:rect l="l" t="t" r="r" b="b"/>
                  <a:pathLst>
                    <a:path w="266065" h="266064">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96D5F1"/>
                  </a:solidFill>
                </a:ln>
              </p:spPr>
              <p:txBody>
                <a:bodyPr wrap="square" lIns="0" tIns="0" rIns="0" bIns="0" rtlCol="0"/>
                <a:lstStyle/>
                <a:p>
                  <a:pPr rtl="0"/>
                  <a:endParaRPr sz="813" dirty="0"/>
                </a:p>
              </p:txBody>
            </p:sp>
            <p:pic>
              <p:nvPicPr>
                <p:cNvPr id="471" name="object 174">
                  <a:extLst>
                    <a:ext uri="{FF2B5EF4-FFF2-40B4-BE49-F238E27FC236}">
                      <a16:creationId xmlns:a16="http://schemas.microsoft.com/office/drawing/2014/main" id="{E08566C7-5F19-4728-AB87-DB2E46D0A0C9}"/>
                    </a:ext>
                  </a:extLst>
                </p:cNvPr>
                <p:cNvPicPr/>
                <p:nvPr/>
              </p:nvPicPr>
              <p:blipFill>
                <a:blip r:embed="rId94" cstate="print"/>
                <a:stretch>
                  <a:fillRect/>
                </a:stretch>
              </p:blipFill>
              <p:spPr>
                <a:xfrm>
                  <a:off x="9765495" y="5129096"/>
                  <a:ext cx="149009" cy="148996"/>
                </a:xfrm>
                <a:prstGeom prst="rect">
                  <a:avLst/>
                </a:prstGeom>
              </p:spPr>
            </p:pic>
          </p:grpSp>
          <p:sp>
            <p:nvSpPr>
              <p:cNvPr id="377" name="object 194">
                <a:extLst>
                  <a:ext uri="{FF2B5EF4-FFF2-40B4-BE49-F238E27FC236}">
                    <a16:creationId xmlns:a16="http://schemas.microsoft.com/office/drawing/2014/main" id="{A3F80924-C983-448A-8256-883FE69C0EC1}"/>
                  </a:ext>
                </a:extLst>
              </p:cNvPr>
              <p:cNvSpPr txBox="1">
                <a:spLocks/>
              </p:cNvSpPr>
              <p:nvPr/>
            </p:nvSpPr>
            <p:spPr>
              <a:xfrm>
                <a:off x="845923" y="3778358"/>
                <a:ext cx="74986" cy="172053"/>
              </a:xfrm>
              <a:prstGeom prst="rect">
                <a:avLst/>
              </a:prstGeom>
            </p:spPr>
            <p:txBody>
              <a:bodyPr vert="horz" wrap="square" lIns="0" tIns="10319" rIns="0" bIns="0" rtlCol="0" anchor="ctr">
                <a:noAutofit/>
              </a:bodyPr>
              <a:lstStyle/>
              <a:p>
                <a:pPr marL="10319"/>
                <a:r>
                  <a:rPr lang="en-US" altLang="ja" sz="1200" spc="20" dirty="0">
                    <a:cs typeface="Arial"/>
                  </a:rPr>
                  <a:t>2</a:t>
                </a:r>
                <a:endParaRPr lang="en-GB" sz="1200" dirty="0">
                  <a:cs typeface="Arial"/>
                </a:endParaRPr>
              </a:p>
            </p:txBody>
          </p:sp>
        </p:grpSp>
        <p:grpSp>
          <p:nvGrpSpPr>
            <p:cNvPr id="15" name="Group 14">
              <a:extLst>
                <a:ext uri="{FF2B5EF4-FFF2-40B4-BE49-F238E27FC236}">
                  <a16:creationId xmlns:a16="http://schemas.microsoft.com/office/drawing/2014/main" id="{2B58DC36-4EFF-458D-A6EE-C2090E44C42E}"/>
                </a:ext>
              </a:extLst>
            </p:cNvPr>
            <p:cNvGrpSpPr/>
            <p:nvPr/>
          </p:nvGrpSpPr>
          <p:grpSpPr>
            <a:xfrm>
              <a:off x="617989" y="4491989"/>
              <a:ext cx="432525" cy="415181"/>
              <a:chOff x="617989" y="4206124"/>
              <a:chExt cx="432525" cy="415181"/>
            </a:xfrm>
          </p:grpSpPr>
          <p:grpSp>
            <p:nvGrpSpPr>
              <p:cNvPr id="359" name="object 175">
                <a:extLst>
                  <a:ext uri="{FF2B5EF4-FFF2-40B4-BE49-F238E27FC236}">
                    <a16:creationId xmlns:a16="http://schemas.microsoft.com/office/drawing/2014/main" id="{435925BD-266B-4EAE-B436-73DB05833616}"/>
                  </a:ext>
                </a:extLst>
              </p:cNvPr>
              <p:cNvGrpSpPr/>
              <p:nvPr/>
            </p:nvGrpSpPr>
            <p:grpSpPr>
              <a:xfrm>
                <a:off x="617989" y="4206124"/>
                <a:ext cx="432525" cy="415181"/>
                <a:chOff x="9700641" y="5733460"/>
                <a:chExt cx="808990" cy="805815"/>
              </a:xfrm>
            </p:grpSpPr>
            <p:sp>
              <p:nvSpPr>
                <p:cNvPr id="451" name="object 176">
                  <a:extLst>
                    <a:ext uri="{FF2B5EF4-FFF2-40B4-BE49-F238E27FC236}">
                      <a16:creationId xmlns:a16="http://schemas.microsoft.com/office/drawing/2014/main" id="{AD95E356-EDDE-493F-9B8C-E1F380837F9D}"/>
                    </a:ext>
                  </a:extLst>
                </p:cNvPr>
                <p:cNvSpPr/>
                <p:nvPr/>
              </p:nvSpPr>
              <p:spPr>
                <a:xfrm>
                  <a:off x="9839996" y="5739810"/>
                  <a:ext cx="663575" cy="793115"/>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13AAA8"/>
                  </a:solidFill>
                </a:ln>
              </p:spPr>
              <p:txBody>
                <a:bodyPr wrap="square" lIns="0" tIns="0" rIns="0" bIns="0" rtlCol="0"/>
                <a:lstStyle/>
                <a:p>
                  <a:pPr rtl="0"/>
                  <a:endParaRPr sz="813" dirty="0"/>
                </a:p>
              </p:txBody>
            </p:sp>
            <p:sp>
              <p:nvSpPr>
                <p:cNvPr id="452" name="object 177">
                  <a:extLst>
                    <a:ext uri="{FF2B5EF4-FFF2-40B4-BE49-F238E27FC236}">
                      <a16:creationId xmlns:a16="http://schemas.microsoft.com/office/drawing/2014/main" id="{2E027280-0292-45A8-89D1-D193DAB3B82A}"/>
                    </a:ext>
                  </a:extLst>
                </p:cNvPr>
                <p:cNvSpPr/>
                <p:nvPr/>
              </p:nvSpPr>
              <p:spPr>
                <a:xfrm>
                  <a:off x="9706991" y="6003202"/>
                  <a:ext cx="266065" cy="266065"/>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13AAA8"/>
                </a:solidFill>
              </p:spPr>
              <p:txBody>
                <a:bodyPr wrap="square" lIns="0" tIns="0" rIns="0" bIns="0" rtlCol="0"/>
                <a:lstStyle/>
                <a:p>
                  <a:pPr rtl="0"/>
                  <a:endParaRPr sz="813" dirty="0"/>
                </a:p>
              </p:txBody>
            </p:sp>
            <p:sp>
              <p:nvSpPr>
                <p:cNvPr id="453" name="object 178">
                  <a:extLst>
                    <a:ext uri="{FF2B5EF4-FFF2-40B4-BE49-F238E27FC236}">
                      <a16:creationId xmlns:a16="http://schemas.microsoft.com/office/drawing/2014/main" id="{11FD0082-42CA-4AC0-91A1-EC43BCB27A29}"/>
                    </a:ext>
                  </a:extLst>
                </p:cNvPr>
                <p:cNvSpPr/>
                <p:nvPr/>
              </p:nvSpPr>
              <p:spPr>
                <a:xfrm>
                  <a:off x="9706991" y="6003202"/>
                  <a:ext cx="266065" cy="266065"/>
                </a:xfrm>
                <a:custGeom>
                  <a:avLst/>
                  <a:gdLst/>
                  <a:ahLst/>
                  <a:cxnLst/>
                  <a:rect l="l" t="t" r="r" b="b"/>
                  <a:pathLst>
                    <a:path w="266065" h="266064">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13AAA8"/>
                  </a:solidFill>
                </a:ln>
              </p:spPr>
              <p:txBody>
                <a:bodyPr wrap="square" lIns="0" tIns="0" rIns="0" bIns="0" rtlCol="0"/>
                <a:lstStyle/>
                <a:p>
                  <a:pPr rtl="0"/>
                  <a:endParaRPr sz="813" dirty="0"/>
                </a:p>
              </p:txBody>
            </p:sp>
            <p:pic>
              <p:nvPicPr>
                <p:cNvPr id="454" name="object 179">
                  <a:extLst>
                    <a:ext uri="{FF2B5EF4-FFF2-40B4-BE49-F238E27FC236}">
                      <a16:creationId xmlns:a16="http://schemas.microsoft.com/office/drawing/2014/main" id="{4C5E1758-362C-402D-9765-53399B625C22}"/>
                    </a:ext>
                  </a:extLst>
                </p:cNvPr>
                <p:cNvPicPr/>
                <p:nvPr/>
              </p:nvPicPr>
              <p:blipFill>
                <a:blip r:embed="rId95" cstate="print"/>
                <a:stretch>
                  <a:fillRect/>
                </a:stretch>
              </p:blipFill>
              <p:spPr>
                <a:xfrm>
                  <a:off x="9765495" y="6061711"/>
                  <a:ext cx="149009" cy="148996"/>
                </a:xfrm>
                <a:prstGeom prst="rect">
                  <a:avLst/>
                </a:prstGeom>
              </p:spPr>
            </p:pic>
          </p:grpSp>
          <p:sp>
            <p:nvSpPr>
              <p:cNvPr id="378" name="object 197">
                <a:extLst>
                  <a:ext uri="{FF2B5EF4-FFF2-40B4-BE49-F238E27FC236}">
                    <a16:creationId xmlns:a16="http://schemas.microsoft.com/office/drawing/2014/main" id="{56FCEA8F-9DA0-4110-A5D3-CF664DCDBEA0}"/>
                  </a:ext>
                </a:extLst>
              </p:cNvPr>
              <p:cNvSpPr txBox="1">
                <a:spLocks/>
              </p:cNvSpPr>
              <p:nvPr/>
            </p:nvSpPr>
            <p:spPr>
              <a:xfrm>
                <a:off x="845923" y="4327688"/>
                <a:ext cx="74986" cy="172053"/>
              </a:xfrm>
              <a:prstGeom prst="rect">
                <a:avLst/>
              </a:prstGeom>
            </p:spPr>
            <p:txBody>
              <a:bodyPr vert="horz" wrap="square" lIns="0" tIns="10319" rIns="0" bIns="0" rtlCol="0" anchor="ctr">
                <a:noAutofit/>
              </a:bodyPr>
              <a:lstStyle/>
              <a:p>
                <a:pPr marL="10319">
                  <a:spcBef>
                    <a:spcPts val="81"/>
                  </a:spcBef>
                </a:pPr>
                <a:r>
                  <a:rPr lang="en-US" altLang="ja" sz="1200" spc="8">
                    <a:cs typeface="Arial"/>
                  </a:rPr>
                  <a:t>3</a:t>
                </a:r>
                <a:endParaRPr sz="1200" dirty="0">
                  <a:cs typeface="Arial"/>
                </a:endParaRPr>
              </a:p>
            </p:txBody>
          </p:sp>
        </p:grpSp>
        <p:grpSp>
          <p:nvGrpSpPr>
            <p:cNvPr id="16" name="Group 15">
              <a:extLst>
                <a:ext uri="{FF2B5EF4-FFF2-40B4-BE49-F238E27FC236}">
                  <a16:creationId xmlns:a16="http://schemas.microsoft.com/office/drawing/2014/main" id="{CA82C8BC-9A0C-4C3F-9C56-FDAFB36720F2}"/>
                </a:ext>
              </a:extLst>
            </p:cNvPr>
            <p:cNvGrpSpPr/>
            <p:nvPr/>
          </p:nvGrpSpPr>
          <p:grpSpPr>
            <a:xfrm>
              <a:off x="617989" y="5072331"/>
              <a:ext cx="432525" cy="415181"/>
              <a:chOff x="617989" y="4708604"/>
              <a:chExt cx="432525" cy="415181"/>
            </a:xfrm>
          </p:grpSpPr>
          <p:grpSp>
            <p:nvGrpSpPr>
              <p:cNvPr id="365" name="object 180">
                <a:extLst>
                  <a:ext uri="{FF2B5EF4-FFF2-40B4-BE49-F238E27FC236}">
                    <a16:creationId xmlns:a16="http://schemas.microsoft.com/office/drawing/2014/main" id="{4ACC8EA0-0DF2-4246-9669-0D4AF35AE539}"/>
                  </a:ext>
                </a:extLst>
              </p:cNvPr>
              <p:cNvGrpSpPr/>
              <p:nvPr/>
            </p:nvGrpSpPr>
            <p:grpSpPr>
              <a:xfrm>
                <a:off x="617989" y="4708604"/>
                <a:ext cx="432525" cy="415181"/>
                <a:chOff x="9700641" y="6669182"/>
                <a:chExt cx="808990" cy="805815"/>
              </a:xfrm>
            </p:grpSpPr>
            <p:sp>
              <p:nvSpPr>
                <p:cNvPr id="387" name="object 181">
                  <a:extLst>
                    <a:ext uri="{FF2B5EF4-FFF2-40B4-BE49-F238E27FC236}">
                      <a16:creationId xmlns:a16="http://schemas.microsoft.com/office/drawing/2014/main" id="{CBFCDCE3-EE6F-4D26-BF0F-65F1DF34C965}"/>
                    </a:ext>
                  </a:extLst>
                </p:cNvPr>
                <p:cNvSpPr/>
                <p:nvPr/>
              </p:nvSpPr>
              <p:spPr>
                <a:xfrm>
                  <a:off x="9839996" y="6675532"/>
                  <a:ext cx="663575" cy="793115"/>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6"/>
                      </a:lnTo>
                      <a:lnTo>
                        <a:pt x="0" y="640270"/>
                      </a:lnTo>
                      <a:lnTo>
                        <a:pt x="7775" y="688481"/>
                      </a:lnTo>
                      <a:lnTo>
                        <a:pt x="29428" y="730351"/>
                      </a:lnTo>
                      <a:lnTo>
                        <a:pt x="62446" y="763368"/>
                      </a:lnTo>
                      <a:lnTo>
                        <a:pt x="104316" y="785021"/>
                      </a:lnTo>
                      <a:lnTo>
                        <a:pt x="152526" y="792797"/>
                      </a:lnTo>
                      <a:close/>
                    </a:path>
                  </a:pathLst>
                </a:custGeom>
                <a:ln w="12700">
                  <a:solidFill>
                    <a:srgbClr val="4F8EC9"/>
                  </a:solidFill>
                </a:ln>
              </p:spPr>
              <p:txBody>
                <a:bodyPr wrap="square" lIns="0" tIns="0" rIns="0" bIns="0" rtlCol="0"/>
                <a:lstStyle/>
                <a:p>
                  <a:pPr rtl="0"/>
                  <a:endParaRPr sz="813" dirty="0"/>
                </a:p>
              </p:txBody>
            </p:sp>
            <p:sp>
              <p:nvSpPr>
                <p:cNvPr id="420" name="object 182">
                  <a:extLst>
                    <a:ext uri="{FF2B5EF4-FFF2-40B4-BE49-F238E27FC236}">
                      <a16:creationId xmlns:a16="http://schemas.microsoft.com/office/drawing/2014/main" id="{7917AB05-F702-443C-8EDF-70D999850BA4}"/>
                    </a:ext>
                  </a:extLst>
                </p:cNvPr>
                <p:cNvSpPr/>
                <p:nvPr/>
              </p:nvSpPr>
              <p:spPr>
                <a:xfrm>
                  <a:off x="9706991" y="6938923"/>
                  <a:ext cx="266065" cy="266065"/>
                </a:xfrm>
                <a:custGeom>
                  <a:avLst/>
                  <a:gdLst/>
                  <a:ahLst/>
                  <a:cxnLst/>
                  <a:rect l="l" t="t" r="r" b="b"/>
                  <a:pathLst>
                    <a:path w="266065" h="266065">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438BCA"/>
                </a:solidFill>
              </p:spPr>
              <p:txBody>
                <a:bodyPr wrap="square" lIns="0" tIns="0" rIns="0" bIns="0" rtlCol="0"/>
                <a:lstStyle/>
                <a:p>
                  <a:pPr rtl="0"/>
                  <a:endParaRPr sz="813" dirty="0"/>
                </a:p>
              </p:txBody>
            </p:sp>
            <p:sp>
              <p:nvSpPr>
                <p:cNvPr id="421" name="object 183">
                  <a:extLst>
                    <a:ext uri="{FF2B5EF4-FFF2-40B4-BE49-F238E27FC236}">
                      <a16:creationId xmlns:a16="http://schemas.microsoft.com/office/drawing/2014/main" id="{A8E9B12A-C959-4752-B57F-2765854FE47D}"/>
                    </a:ext>
                  </a:extLst>
                </p:cNvPr>
                <p:cNvSpPr/>
                <p:nvPr/>
              </p:nvSpPr>
              <p:spPr>
                <a:xfrm>
                  <a:off x="9706991" y="6938923"/>
                  <a:ext cx="266065" cy="266065"/>
                </a:xfrm>
                <a:custGeom>
                  <a:avLst/>
                  <a:gdLst/>
                  <a:ahLst/>
                  <a:cxnLst/>
                  <a:rect l="l" t="t" r="r" b="b"/>
                  <a:pathLst>
                    <a:path w="266065" h="266065">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4F8EC9"/>
                  </a:solidFill>
                </a:ln>
              </p:spPr>
              <p:txBody>
                <a:bodyPr wrap="square" lIns="0" tIns="0" rIns="0" bIns="0" rtlCol="0"/>
                <a:lstStyle/>
                <a:p>
                  <a:pPr rtl="0"/>
                  <a:endParaRPr sz="813" dirty="0"/>
                </a:p>
              </p:txBody>
            </p:sp>
            <p:pic>
              <p:nvPicPr>
                <p:cNvPr id="422" name="object 184">
                  <a:extLst>
                    <a:ext uri="{FF2B5EF4-FFF2-40B4-BE49-F238E27FC236}">
                      <a16:creationId xmlns:a16="http://schemas.microsoft.com/office/drawing/2014/main" id="{480367A7-3571-4C92-A218-E7C0602C5E7E}"/>
                    </a:ext>
                  </a:extLst>
                </p:cNvPr>
                <p:cNvPicPr/>
                <p:nvPr/>
              </p:nvPicPr>
              <p:blipFill>
                <a:blip r:embed="rId96" cstate="print"/>
                <a:stretch>
                  <a:fillRect/>
                </a:stretch>
              </p:blipFill>
              <p:spPr>
                <a:xfrm>
                  <a:off x="9765495" y="6997432"/>
                  <a:ext cx="149009" cy="148996"/>
                </a:xfrm>
                <a:prstGeom prst="rect">
                  <a:avLst/>
                </a:prstGeom>
              </p:spPr>
            </p:pic>
          </p:grpSp>
          <p:sp>
            <p:nvSpPr>
              <p:cNvPr id="379" name="object 198">
                <a:extLst>
                  <a:ext uri="{FF2B5EF4-FFF2-40B4-BE49-F238E27FC236}">
                    <a16:creationId xmlns:a16="http://schemas.microsoft.com/office/drawing/2014/main" id="{5118130F-4567-4500-84A2-F2EE383B4A3F}"/>
                  </a:ext>
                </a:extLst>
              </p:cNvPr>
              <p:cNvSpPr txBox="1">
                <a:spLocks/>
              </p:cNvSpPr>
              <p:nvPr/>
            </p:nvSpPr>
            <p:spPr>
              <a:xfrm>
                <a:off x="845923" y="4830168"/>
                <a:ext cx="74986" cy="172053"/>
              </a:xfrm>
              <a:prstGeom prst="rect">
                <a:avLst/>
              </a:prstGeom>
            </p:spPr>
            <p:txBody>
              <a:bodyPr vert="horz" wrap="square" lIns="0" tIns="10319" rIns="0" bIns="0" rtlCol="0" anchor="ctr">
                <a:noAutofit/>
              </a:bodyPr>
              <a:lstStyle/>
              <a:p>
                <a:pPr marL="10319">
                  <a:spcBef>
                    <a:spcPts val="81"/>
                  </a:spcBef>
                </a:pPr>
                <a:r>
                  <a:rPr lang="en-US" altLang="ja" sz="1200" spc="24">
                    <a:cs typeface="Arial"/>
                  </a:rPr>
                  <a:t>4</a:t>
                </a:r>
                <a:endParaRPr sz="1200" dirty="0">
                  <a:cs typeface="Arial"/>
                </a:endParaRPr>
              </a:p>
            </p:txBody>
          </p:sp>
        </p:grpSp>
        <p:grpSp>
          <p:nvGrpSpPr>
            <p:cNvPr id="11" name="Group 10">
              <a:extLst>
                <a:ext uri="{FF2B5EF4-FFF2-40B4-BE49-F238E27FC236}">
                  <a16:creationId xmlns:a16="http://schemas.microsoft.com/office/drawing/2014/main" id="{D259312B-4A1F-499F-9F53-54474146145A}"/>
                </a:ext>
              </a:extLst>
            </p:cNvPr>
            <p:cNvGrpSpPr/>
            <p:nvPr/>
          </p:nvGrpSpPr>
          <p:grpSpPr>
            <a:xfrm>
              <a:off x="620033" y="5652673"/>
              <a:ext cx="425891" cy="408638"/>
              <a:chOff x="620033" y="5413428"/>
              <a:chExt cx="425891" cy="408638"/>
            </a:xfrm>
          </p:grpSpPr>
          <p:grpSp>
            <p:nvGrpSpPr>
              <p:cNvPr id="369" name="object 185">
                <a:extLst>
                  <a:ext uri="{FF2B5EF4-FFF2-40B4-BE49-F238E27FC236}">
                    <a16:creationId xmlns:a16="http://schemas.microsoft.com/office/drawing/2014/main" id="{2B6C4202-353F-42F4-805A-2C122D6EE95C}"/>
                  </a:ext>
                </a:extLst>
              </p:cNvPr>
              <p:cNvGrpSpPr/>
              <p:nvPr/>
            </p:nvGrpSpPr>
            <p:grpSpPr>
              <a:xfrm>
                <a:off x="620033" y="5413428"/>
                <a:ext cx="425891" cy="408638"/>
                <a:chOff x="9704480" y="7611235"/>
                <a:chExt cx="796583" cy="793114"/>
              </a:xfrm>
            </p:grpSpPr>
            <p:sp>
              <p:nvSpPr>
                <p:cNvPr id="382" name="object 186">
                  <a:extLst>
                    <a:ext uri="{FF2B5EF4-FFF2-40B4-BE49-F238E27FC236}">
                      <a16:creationId xmlns:a16="http://schemas.microsoft.com/office/drawing/2014/main" id="{E70C5D30-7485-429D-BC82-605BF2549297}"/>
                    </a:ext>
                  </a:extLst>
                </p:cNvPr>
                <p:cNvSpPr/>
                <p:nvPr/>
              </p:nvSpPr>
              <p:spPr>
                <a:xfrm>
                  <a:off x="9837487" y="7611235"/>
                  <a:ext cx="663576" cy="793114"/>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2A347E"/>
                  </a:solidFill>
                </a:ln>
              </p:spPr>
              <p:txBody>
                <a:bodyPr wrap="square" lIns="0" tIns="0" rIns="0" bIns="0" rtlCol="0"/>
                <a:lstStyle/>
                <a:p>
                  <a:pPr rtl="0"/>
                  <a:endParaRPr sz="813" dirty="0"/>
                </a:p>
              </p:txBody>
            </p:sp>
            <p:sp>
              <p:nvSpPr>
                <p:cNvPr id="383" name="object 187">
                  <a:extLst>
                    <a:ext uri="{FF2B5EF4-FFF2-40B4-BE49-F238E27FC236}">
                      <a16:creationId xmlns:a16="http://schemas.microsoft.com/office/drawing/2014/main" id="{48BEAB0C-5FF7-4D24-9353-30B37E6D868D}"/>
                    </a:ext>
                  </a:extLst>
                </p:cNvPr>
                <p:cNvSpPr/>
                <p:nvPr/>
              </p:nvSpPr>
              <p:spPr>
                <a:xfrm>
                  <a:off x="9704483" y="7874632"/>
                  <a:ext cx="266065" cy="266064"/>
                </a:xfrm>
                <a:custGeom>
                  <a:avLst/>
                  <a:gdLst/>
                  <a:ahLst/>
                  <a:cxnLst/>
                  <a:rect l="l" t="t" r="r" b="b"/>
                  <a:pathLst>
                    <a:path w="266065" h="266065">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2A347E"/>
                </a:solidFill>
              </p:spPr>
              <p:txBody>
                <a:bodyPr wrap="square" lIns="0" tIns="0" rIns="0" bIns="0" rtlCol="0"/>
                <a:lstStyle/>
                <a:p>
                  <a:pPr rtl="0"/>
                  <a:endParaRPr sz="813" dirty="0"/>
                </a:p>
              </p:txBody>
            </p:sp>
            <p:sp>
              <p:nvSpPr>
                <p:cNvPr id="384" name="object 188">
                  <a:extLst>
                    <a:ext uri="{FF2B5EF4-FFF2-40B4-BE49-F238E27FC236}">
                      <a16:creationId xmlns:a16="http://schemas.microsoft.com/office/drawing/2014/main" id="{EE3FCCA8-19EA-4CA1-9392-776A2A67C8AB}"/>
                    </a:ext>
                  </a:extLst>
                </p:cNvPr>
                <p:cNvSpPr/>
                <p:nvPr/>
              </p:nvSpPr>
              <p:spPr>
                <a:xfrm>
                  <a:off x="9704480" y="7874622"/>
                  <a:ext cx="266065" cy="266064"/>
                </a:xfrm>
                <a:custGeom>
                  <a:avLst/>
                  <a:gdLst/>
                  <a:ahLst/>
                  <a:cxnLst/>
                  <a:rect l="l" t="t" r="r" b="b"/>
                  <a:pathLst>
                    <a:path w="266065" h="266065">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2A347E"/>
                  </a:solidFill>
                </a:ln>
              </p:spPr>
              <p:txBody>
                <a:bodyPr wrap="square" lIns="0" tIns="0" rIns="0" bIns="0" rtlCol="0"/>
                <a:lstStyle/>
                <a:p>
                  <a:pPr rtl="0"/>
                  <a:endParaRPr sz="813" dirty="0"/>
                </a:p>
              </p:txBody>
            </p:sp>
            <p:pic>
              <p:nvPicPr>
                <p:cNvPr id="386" name="object 189">
                  <a:extLst>
                    <a:ext uri="{FF2B5EF4-FFF2-40B4-BE49-F238E27FC236}">
                      <a16:creationId xmlns:a16="http://schemas.microsoft.com/office/drawing/2014/main" id="{7513F78D-825C-4920-9D40-16CADAED3985}"/>
                    </a:ext>
                  </a:extLst>
                </p:cNvPr>
                <p:cNvPicPr/>
                <p:nvPr/>
              </p:nvPicPr>
              <p:blipFill>
                <a:blip r:embed="rId97" cstate="print"/>
                <a:stretch>
                  <a:fillRect/>
                </a:stretch>
              </p:blipFill>
              <p:spPr>
                <a:xfrm>
                  <a:off x="9762976" y="7933154"/>
                  <a:ext cx="149009" cy="148995"/>
                </a:xfrm>
                <a:prstGeom prst="rect">
                  <a:avLst/>
                </a:prstGeom>
              </p:spPr>
            </p:pic>
          </p:grpSp>
          <p:sp>
            <p:nvSpPr>
              <p:cNvPr id="380" name="object 199">
                <a:extLst>
                  <a:ext uri="{FF2B5EF4-FFF2-40B4-BE49-F238E27FC236}">
                    <a16:creationId xmlns:a16="http://schemas.microsoft.com/office/drawing/2014/main" id="{D9432035-8EAF-4712-B7F8-78B9C3CD19EF}"/>
                  </a:ext>
                </a:extLst>
              </p:cNvPr>
              <p:cNvSpPr txBox="1">
                <a:spLocks/>
              </p:cNvSpPr>
              <p:nvPr/>
            </p:nvSpPr>
            <p:spPr>
              <a:xfrm>
                <a:off x="845923" y="5531721"/>
                <a:ext cx="74986" cy="172053"/>
              </a:xfrm>
              <a:prstGeom prst="rect">
                <a:avLst/>
              </a:prstGeom>
            </p:spPr>
            <p:txBody>
              <a:bodyPr vert="horz" wrap="square" lIns="0" tIns="10319" rIns="0" bIns="0" rtlCol="0" anchor="ctr">
                <a:noAutofit/>
              </a:bodyPr>
              <a:lstStyle/>
              <a:p>
                <a:pPr marL="10319">
                  <a:spcBef>
                    <a:spcPts val="81"/>
                  </a:spcBef>
                </a:pPr>
                <a:r>
                  <a:rPr lang="en-US" altLang="ja" sz="1200" spc="20" dirty="0">
                    <a:cs typeface="Arial"/>
                  </a:rPr>
                  <a:t>5</a:t>
                </a:r>
                <a:endParaRPr lang="en-GB" sz="1200" dirty="0">
                  <a:cs typeface="Arial"/>
                </a:endParaRPr>
              </a:p>
            </p:txBody>
          </p:sp>
        </p:grpSp>
        <p:grpSp>
          <p:nvGrpSpPr>
            <p:cNvPr id="13" name="Group 12">
              <a:extLst>
                <a:ext uri="{FF2B5EF4-FFF2-40B4-BE49-F238E27FC236}">
                  <a16:creationId xmlns:a16="http://schemas.microsoft.com/office/drawing/2014/main" id="{6DBC69D4-530C-46B6-B8D3-DB762E59B7F9}"/>
                </a:ext>
              </a:extLst>
            </p:cNvPr>
            <p:cNvGrpSpPr/>
            <p:nvPr/>
          </p:nvGrpSpPr>
          <p:grpSpPr>
            <a:xfrm>
              <a:off x="621389" y="3337848"/>
              <a:ext cx="425887" cy="408638"/>
              <a:chOff x="621389" y="3098603"/>
              <a:chExt cx="425887" cy="408638"/>
            </a:xfrm>
          </p:grpSpPr>
          <p:sp>
            <p:nvSpPr>
              <p:cNvPr id="372" name="object 168">
                <a:extLst>
                  <a:ext uri="{FF2B5EF4-FFF2-40B4-BE49-F238E27FC236}">
                    <a16:creationId xmlns:a16="http://schemas.microsoft.com/office/drawing/2014/main" id="{9016268E-7F75-4F0E-9300-1C579A8317F5}"/>
                  </a:ext>
                </a:extLst>
              </p:cNvPr>
              <p:cNvSpPr/>
              <p:nvPr/>
            </p:nvSpPr>
            <p:spPr>
              <a:xfrm>
                <a:off x="621389" y="3234380"/>
                <a:ext cx="142251" cy="137084"/>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FFCC01"/>
              </a:solidFill>
            </p:spPr>
            <p:txBody>
              <a:bodyPr wrap="square" lIns="0" tIns="0" rIns="0" bIns="0" rtlCol="0"/>
              <a:lstStyle/>
              <a:p>
                <a:pPr rtl="0"/>
                <a:endParaRPr sz="813" dirty="0"/>
              </a:p>
            </p:txBody>
          </p:sp>
          <p:sp>
            <p:nvSpPr>
              <p:cNvPr id="371" name="object 167">
                <a:extLst>
                  <a:ext uri="{FF2B5EF4-FFF2-40B4-BE49-F238E27FC236}">
                    <a16:creationId xmlns:a16="http://schemas.microsoft.com/office/drawing/2014/main" id="{BBB62250-D62B-43C3-BBAF-081633EF4260}"/>
                  </a:ext>
                </a:extLst>
              </p:cNvPr>
              <p:cNvSpPr/>
              <p:nvPr/>
            </p:nvSpPr>
            <p:spPr>
              <a:xfrm>
                <a:off x="692498" y="3098603"/>
                <a:ext cx="354778" cy="408638"/>
              </a:xfrm>
              <a:custGeom>
                <a:avLst/>
                <a:gdLst/>
                <a:ahLst/>
                <a:cxnLst/>
                <a:rect l="l" t="t" r="r" b="b"/>
                <a:pathLst>
                  <a:path w="663575" h="793114">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FECD16"/>
                </a:solidFill>
              </a:ln>
            </p:spPr>
            <p:txBody>
              <a:bodyPr wrap="square" lIns="0" tIns="0" rIns="0" bIns="0" rtlCol="0"/>
              <a:lstStyle/>
              <a:p>
                <a:pPr rtl="0"/>
                <a:endParaRPr sz="813" dirty="0"/>
              </a:p>
            </p:txBody>
          </p:sp>
          <p:pic>
            <p:nvPicPr>
              <p:cNvPr id="373" name="object 169">
                <a:extLst>
                  <a:ext uri="{FF2B5EF4-FFF2-40B4-BE49-F238E27FC236}">
                    <a16:creationId xmlns:a16="http://schemas.microsoft.com/office/drawing/2014/main" id="{7E9E13B6-785E-421C-B4C1-DBA8AA0A304D}"/>
                  </a:ext>
                </a:extLst>
              </p:cNvPr>
              <p:cNvPicPr/>
              <p:nvPr/>
            </p:nvPicPr>
            <p:blipFill>
              <a:blip r:embed="rId98" cstate="print"/>
              <a:stretch>
                <a:fillRect/>
              </a:stretch>
            </p:blipFill>
            <p:spPr>
              <a:xfrm>
                <a:off x="656061" y="3267810"/>
                <a:ext cx="72877" cy="70224"/>
              </a:xfrm>
              <a:prstGeom prst="rect">
                <a:avLst/>
              </a:prstGeom>
            </p:spPr>
          </p:pic>
          <p:sp>
            <p:nvSpPr>
              <p:cNvPr id="381" name="TextBox 380">
                <a:extLst>
                  <a:ext uri="{FF2B5EF4-FFF2-40B4-BE49-F238E27FC236}">
                    <a16:creationId xmlns:a16="http://schemas.microsoft.com/office/drawing/2014/main" id="{CBD63FFE-9A71-4E46-8FCE-67A7A83DEE60}"/>
                  </a:ext>
                </a:extLst>
              </p:cNvPr>
              <p:cNvSpPr txBox="1">
                <a:spLocks/>
              </p:cNvSpPr>
              <p:nvPr/>
            </p:nvSpPr>
            <p:spPr>
              <a:xfrm>
                <a:off x="845923" y="3221729"/>
                <a:ext cx="74986" cy="1623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altLang="ja" sz="1200" dirty="0">
                    <a:sym typeface=""/>
                  </a:rPr>
                  <a:t>1</a:t>
                </a:r>
                <a:endParaRPr lang="pt-PT" sz="1200" dirty="0">
                  <a:cs typeface="Tahoma" panose="020B0604030504040204" pitchFamily="34" charset="0"/>
                  <a:sym typeface=""/>
                </a:endParaRPr>
              </a:p>
            </p:txBody>
          </p:sp>
        </p:grpSp>
      </p:grpSp>
      <p:sp>
        <p:nvSpPr>
          <p:cNvPr id="472" name="TextBox 471">
            <a:extLst>
              <a:ext uri="{FF2B5EF4-FFF2-40B4-BE49-F238E27FC236}">
                <a16:creationId xmlns:a16="http://schemas.microsoft.com/office/drawing/2014/main" id="{4D4647D4-8B39-47CB-A2A6-43057BA35AF7}"/>
              </a:ext>
            </a:extLst>
          </p:cNvPr>
          <p:cNvSpPr txBox="1">
            <a:spLocks/>
          </p:cNvSpPr>
          <p:nvPr/>
        </p:nvSpPr>
        <p:spPr>
          <a:xfrm>
            <a:off x="435223" y="2373252"/>
            <a:ext cx="1938110"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dirty="0"/>
              <a:t>1.</a:t>
            </a:r>
            <a:r>
              <a:rPr lang="ja-JP" altLang="en-US" dirty="0"/>
              <a:t> </a:t>
            </a:r>
            <a:r>
              <a:rPr lang="en-US" altLang="ja" dirty="0"/>
              <a:t>E</a:t>
            </a:r>
            <a:r>
              <a:rPr lang="ja" altLang="en-US" dirty="0"/>
              <a:t>ヘルス</a:t>
            </a:r>
          </a:p>
        </p:txBody>
      </p:sp>
      <p:sp>
        <p:nvSpPr>
          <p:cNvPr id="477" name="object 154">
            <a:extLst>
              <a:ext uri="{FF2B5EF4-FFF2-40B4-BE49-F238E27FC236}">
                <a16:creationId xmlns:a16="http://schemas.microsoft.com/office/drawing/2014/main" id="{37EB5E54-D608-428E-9D40-0C4CF62BA71D}"/>
              </a:ext>
            </a:extLst>
          </p:cNvPr>
          <p:cNvSpPr>
            <a:spLocks/>
          </p:cNvSpPr>
          <p:nvPr/>
        </p:nvSpPr>
        <p:spPr>
          <a:xfrm>
            <a:off x="5245697" y="4198868"/>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4F8EC9"/>
            </a:solidFill>
          </a:ln>
        </p:spPr>
        <p:txBody>
          <a:bodyPr wrap="square" lIns="0" tIns="0" rIns="0" bIns="0" rtlCol="0" anchor="ctr" anchorCtr="0">
            <a:noAutofit/>
          </a:bodyPr>
          <a:lstStyle/>
          <a:p>
            <a:pPr algn="ctr" rtl="0"/>
            <a:endParaRPr sz="1000" dirty="0"/>
          </a:p>
        </p:txBody>
      </p:sp>
      <p:sp>
        <p:nvSpPr>
          <p:cNvPr id="478" name="object 160">
            <a:extLst>
              <a:ext uri="{FF2B5EF4-FFF2-40B4-BE49-F238E27FC236}">
                <a16:creationId xmlns:a16="http://schemas.microsoft.com/office/drawing/2014/main" id="{8E9A9144-E4C8-4B53-BA65-38AA9A73808A}"/>
              </a:ext>
            </a:extLst>
          </p:cNvPr>
          <p:cNvSpPr txBox="1"/>
          <p:nvPr/>
        </p:nvSpPr>
        <p:spPr>
          <a:xfrm>
            <a:off x="5245697" y="419750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4</a:t>
            </a:r>
            <a:endParaRPr sz="1000" dirty="0">
              <a:cs typeface="Arial"/>
            </a:endParaRPr>
          </a:p>
        </p:txBody>
      </p:sp>
      <p:sp>
        <p:nvSpPr>
          <p:cNvPr id="476" name="object 162">
            <a:extLst>
              <a:ext uri="{FF2B5EF4-FFF2-40B4-BE49-F238E27FC236}">
                <a16:creationId xmlns:a16="http://schemas.microsoft.com/office/drawing/2014/main" id="{5E4BFA1E-FE8B-43EE-80CD-176E68758167}"/>
              </a:ext>
            </a:extLst>
          </p:cNvPr>
          <p:cNvSpPr txBox="1">
            <a:spLocks/>
          </p:cNvSpPr>
          <p:nvPr/>
        </p:nvSpPr>
        <p:spPr>
          <a:xfrm>
            <a:off x="5453727" y="4198868"/>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4">
                <a:cs typeface="Arial"/>
              </a:rPr>
              <a:t>医薬品</a:t>
            </a:r>
            <a:endParaRPr sz="1200" dirty="0">
              <a:cs typeface="Arial"/>
            </a:endParaRPr>
          </a:p>
        </p:txBody>
      </p:sp>
      <p:sp>
        <p:nvSpPr>
          <p:cNvPr id="482" name="object 148">
            <a:extLst>
              <a:ext uri="{FF2B5EF4-FFF2-40B4-BE49-F238E27FC236}">
                <a16:creationId xmlns:a16="http://schemas.microsoft.com/office/drawing/2014/main" id="{30C46125-3EF6-42D0-A73A-056B2FC8F1BA}"/>
              </a:ext>
            </a:extLst>
          </p:cNvPr>
          <p:cNvSpPr>
            <a:spLocks/>
          </p:cNvSpPr>
          <p:nvPr/>
        </p:nvSpPr>
        <p:spPr>
          <a:xfrm>
            <a:off x="5245697" y="3387002"/>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FECD16"/>
            </a:solidFill>
          </a:ln>
        </p:spPr>
        <p:txBody>
          <a:bodyPr wrap="square" lIns="0" tIns="0" rIns="0" bIns="0" rtlCol="0" anchor="ctr" anchorCtr="0">
            <a:noAutofit/>
          </a:bodyPr>
          <a:lstStyle/>
          <a:p>
            <a:pPr algn="ctr" rtl="0"/>
            <a:endParaRPr sz="1000" dirty="0"/>
          </a:p>
        </p:txBody>
      </p:sp>
      <p:sp>
        <p:nvSpPr>
          <p:cNvPr id="483" name="object 157">
            <a:extLst>
              <a:ext uri="{FF2B5EF4-FFF2-40B4-BE49-F238E27FC236}">
                <a16:creationId xmlns:a16="http://schemas.microsoft.com/office/drawing/2014/main" id="{5E0BE8CD-9095-4E4B-83DA-B6E849AA5C4F}"/>
              </a:ext>
            </a:extLst>
          </p:cNvPr>
          <p:cNvSpPr txBox="1"/>
          <p:nvPr/>
        </p:nvSpPr>
        <p:spPr>
          <a:xfrm>
            <a:off x="5245697" y="3387002"/>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1</a:t>
            </a:r>
            <a:endParaRPr sz="1000" dirty="0">
              <a:cs typeface="Arial"/>
            </a:endParaRPr>
          </a:p>
        </p:txBody>
      </p:sp>
      <p:sp>
        <p:nvSpPr>
          <p:cNvPr id="481" name="object 164">
            <a:extLst>
              <a:ext uri="{FF2B5EF4-FFF2-40B4-BE49-F238E27FC236}">
                <a16:creationId xmlns:a16="http://schemas.microsoft.com/office/drawing/2014/main" id="{1FF4F06C-EC88-43C4-A7DA-F17932A57076}"/>
              </a:ext>
            </a:extLst>
          </p:cNvPr>
          <p:cNvSpPr txBox="1">
            <a:spLocks/>
          </p:cNvSpPr>
          <p:nvPr/>
        </p:nvSpPr>
        <p:spPr>
          <a:xfrm>
            <a:off x="5453727" y="3387002"/>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37" dirty="0">
                <a:cs typeface="Arial"/>
              </a:rPr>
              <a:t>リハビリテーション</a:t>
            </a:r>
            <a:endParaRPr sz="1200" dirty="0">
              <a:cs typeface="Arial"/>
            </a:endParaRPr>
          </a:p>
        </p:txBody>
      </p:sp>
      <p:sp>
        <p:nvSpPr>
          <p:cNvPr id="487" name="object 158">
            <a:extLst>
              <a:ext uri="{FF2B5EF4-FFF2-40B4-BE49-F238E27FC236}">
                <a16:creationId xmlns:a16="http://schemas.microsoft.com/office/drawing/2014/main" id="{1F92C2CD-158E-4F2D-82C1-6DD26D8225A5}"/>
              </a:ext>
            </a:extLst>
          </p:cNvPr>
          <p:cNvSpPr txBox="1"/>
          <p:nvPr/>
        </p:nvSpPr>
        <p:spPr>
          <a:xfrm>
            <a:off x="5245697" y="3657168"/>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2</a:t>
            </a:r>
            <a:endParaRPr sz="1000" dirty="0">
              <a:cs typeface="Arial"/>
            </a:endParaRPr>
          </a:p>
        </p:txBody>
      </p:sp>
      <p:sp>
        <p:nvSpPr>
          <p:cNvPr id="488" name="object 150">
            <a:extLst>
              <a:ext uri="{FF2B5EF4-FFF2-40B4-BE49-F238E27FC236}">
                <a16:creationId xmlns:a16="http://schemas.microsoft.com/office/drawing/2014/main" id="{BC3CEEEC-0520-4ED4-9B7B-2EC067C7B9DF}"/>
              </a:ext>
            </a:extLst>
          </p:cNvPr>
          <p:cNvSpPr>
            <a:spLocks/>
          </p:cNvSpPr>
          <p:nvPr/>
        </p:nvSpPr>
        <p:spPr>
          <a:xfrm>
            <a:off x="5245697" y="3657624"/>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96D5F1"/>
            </a:solidFill>
          </a:ln>
        </p:spPr>
        <p:txBody>
          <a:bodyPr wrap="square" lIns="0" tIns="0" rIns="0" bIns="0" rtlCol="0" anchor="ctr" anchorCtr="0">
            <a:noAutofit/>
          </a:bodyPr>
          <a:lstStyle/>
          <a:p>
            <a:pPr algn="ctr" rtl="0"/>
            <a:endParaRPr sz="1000" dirty="0"/>
          </a:p>
        </p:txBody>
      </p:sp>
      <p:sp>
        <p:nvSpPr>
          <p:cNvPr id="486" name="object 165">
            <a:extLst>
              <a:ext uri="{FF2B5EF4-FFF2-40B4-BE49-F238E27FC236}">
                <a16:creationId xmlns:a16="http://schemas.microsoft.com/office/drawing/2014/main" id="{A4603D6A-8E4B-485B-98FB-E755F5328831}"/>
              </a:ext>
            </a:extLst>
          </p:cNvPr>
          <p:cNvSpPr txBox="1">
            <a:spLocks/>
          </p:cNvSpPr>
          <p:nvPr/>
        </p:nvSpPr>
        <p:spPr>
          <a:xfrm>
            <a:off x="5453727" y="3657624"/>
            <a:ext cx="1267633" cy="144000"/>
          </a:xfrm>
          <a:prstGeom prst="rect">
            <a:avLst/>
          </a:prstGeom>
        </p:spPr>
        <p:txBody>
          <a:bodyPr vert="horz" wrap="square" lIns="0" tIns="10319" rIns="0" bIns="0" rtlCol="0">
            <a:spAutoFit/>
          </a:bodyPr>
          <a:lstStyle/>
          <a:p>
            <a:pPr marL="10319">
              <a:lnSpc>
                <a:spcPct val="85000"/>
              </a:lnSpc>
              <a:spcBef>
                <a:spcPts val="81"/>
              </a:spcBef>
            </a:pPr>
            <a:r>
              <a:rPr sz="1200" dirty="0" err="1"/>
              <a:t>長期治療</a:t>
            </a:r>
            <a:endParaRPr sz="1200" dirty="0"/>
          </a:p>
        </p:txBody>
      </p:sp>
      <p:sp>
        <p:nvSpPr>
          <p:cNvPr id="492" name="object 152">
            <a:extLst>
              <a:ext uri="{FF2B5EF4-FFF2-40B4-BE49-F238E27FC236}">
                <a16:creationId xmlns:a16="http://schemas.microsoft.com/office/drawing/2014/main" id="{78F5C735-DEFA-46A8-977F-2E2C4FA80AC8}"/>
              </a:ext>
            </a:extLst>
          </p:cNvPr>
          <p:cNvSpPr>
            <a:spLocks/>
          </p:cNvSpPr>
          <p:nvPr/>
        </p:nvSpPr>
        <p:spPr>
          <a:xfrm>
            <a:off x="5245697" y="3928246"/>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13AAA8"/>
            </a:solidFill>
          </a:ln>
        </p:spPr>
        <p:txBody>
          <a:bodyPr wrap="square" lIns="0" tIns="0" rIns="0" bIns="0" rtlCol="0" anchor="ctr" anchorCtr="0">
            <a:noAutofit/>
          </a:bodyPr>
          <a:lstStyle/>
          <a:p>
            <a:pPr algn="ctr" rtl="0"/>
            <a:endParaRPr sz="1000" dirty="0"/>
          </a:p>
        </p:txBody>
      </p:sp>
      <p:sp>
        <p:nvSpPr>
          <p:cNvPr id="493" name="object 159">
            <a:extLst>
              <a:ext uri="{FF2B5EF4-FFF2-40B4-BE49-F238E27FC236}">
                <a16:creationId xmlns:a16="http://schemas.microsoft.com/office/drawing/2014/main" id="{05C46BF1-5D67-4974-8351-FCA433C17A38}"/>
              </a:ext>
            </a:extLst>
          </p:cNvPr>
          <p:cNvSpPr txBox="1"/>
          <p:nvPr/>
        </p:nvSpPr>
        <p:spPr>
          <a:xfrm>
            <a:off x="5245697" y="3927334"/>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3</a:t>
            </a:r>
            <a:endParaRPr sz="1000" dirty="0">
              <a:cs typeface="Arial"/>
            </a:endParaRPr>
          </a:p>
        </p:txBody>
      </p:sp>
      <p:sp>
        <p:nvSpPr>
          <p:cNvPr id="491" name="object 166">
            <a:extLst>
              <a:ext uri="{FF2B5EF4-FFF2-40B4-BE49-F238E27FC236}">
                <a16:creationId xmlns:a16="http://schemas.microsoft.com/office/drawing/2014/main" id="{1B6273D4-1A24-4965-83D1-66C828AF8CB8}"/>
              </a:ext>
            </a:extLst>
          </p:cNvPr>
          <p:cNvSpPr txBox="1">
            <a:spLocks/>
          </p:cNvSpPr>
          <p:nvPr/>
        </p:nvSpPr>
        <p:spPr>
          <a:xfrm>
            <a:off x="5453727" y="3928246"/>
            <a:ext cx="1267633" cy="144000"/>
          </a:xfrm>
          <a:prstGeom prst="rect">
            <a:avLst/>
          </a:prstGeom>
        </p:spPr>
        <p:txBody>
          <a:bodyPr vert="horz" wrap="square" lIns="0" tIns="10319" rIns="0" bIns="0" rtlCol="0">
            <a:spAutoFit/>
          </a:bodyPr>
          <a:lstStyle/>
          <a:p>
            <a:pPr marL="10319">
              <a:lnSpc>
                <a:spcPct val="85000"/>
              </a:lnSpc>
              <a:spcBef>
                <a:spcPts val="81"/>
              </a:spcBef>
            </a:pPr>
            <a:r>
              <a:rPr sz="1200"/>
              <a:t>ホームケア</a:t>
            </a:r>
          </a:p>
        </p:txBody>
      </p:sp>
      <p:sp>
        <p:nvSpPr>
          <p:cNvPr id="495" name="object 163">
            <a:extLst>
              <a:ext uri="{FF2B5EF4-FFF2-40B4-BE49-F238E27FC236}">
                <a16:creationId xmlns:a16="http://schemas.microsoft.com/office/drawing/2014/main" id="{1292E82E-D8EA-48FC-B49A-8A0C6138E8D6}"/>
              </a:ext>
            </a:extLst>
          </p:cNvPr>
          <p:cNvSpPr txBox="1">
            <a:spLocks/>
          </p:cNvSpPr>
          <p:nvPr/>
        </p:nvSpPr>
        <p:spPr>
          <a:xfrm>
            <a:off x="5453727" y="4469490"/>
            <a:ext cx="1267633" cy="144000"/>
          </a:xfrm>
          <a:prstGeom prst="rect">
            <a:avLst/>
          </a:prstGeom>
        </p:spPr>
        <p:txBody>
          <a:bodyPr vert="horz" wrap="square" lIns="0" tIns="10319" rIns="0" bIns="0" rtlCol="0">
            <a:spAutoFit/>
          </a:bodyPr>
          <a:lstStyle/>
          <a:p>
            <a:pPr marL="10319">
              <a:lnSpc>
                <a:spcPct val="85000"/>
              </a:lnSpc>
              <a:spcBef>
                <a:spcPts val="81"/>
              </a:spcBef>
            </a:pPr>
            <a:r>
              <a:rPr sz="1200"/>
              <a:t>長期療養</a:t>
            </a:r>
          </a:p>
        </p:txBody>
      </p:sp>
      <p:sp>
        <p:nvSpPr>
          <p:cNvPr id="497" name="object 156">
            <a:extLst>
              <a:ext uri="{FF2B5EF4-FFF2-40B4-BE49-F238E27FC236}">
                <a16:creationId xmlns:a16="http://schemas.microsoft.com/office/drawing/2014/main" id="{E5149AFB-1DBF-46F9-A7AF-C3FDCB4EB290}"/>
              </a:ext>
            </a:extLst>
          </p:cNvPr>
          <p:cNvSpPr>
            <a:spLocks/>
          </p:cNvSpPr>
          <p:nvPr/>
        </p:nvSpPr>
        <p:spPr>
          <a:xfrm>
            <a:off x="5245697" y="4469490"/>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2A347E"/>
            </a:solidFill>
          </a:ln>
        </p:spPr>
        <p:txBody>
          <a:bodyPr wrap="square" lIns="0" tIns="0" rIns="0" bIns="0" rtlCol="0" anchor="ctr" anchorCtr="0">
            <a:noAutofit/>
          </a:bodyPr>
          <a:lstStyle/>
          <a:p>
            <a:pPr algn="ctr" rtl="0"/>
            <a:endParaRPr sz="1000" dirty="0"/>
          </a:p>
        </p:txBody>
      </p:sp>
      <p:sp>
        <p:nvSpPr>
          <p:cNvPr id="498" name="object 161">
            <a:extLst>
              <a:ext uri="{FF2B5EF4-FFF2-40B4-BE49-F238E27FC236}">
                <a16:creationId xmlns:a16="http://schemas.microsoft.com/office/drawing/2014/main" id="{C0FFAE15-BF0D-4912-A7F9-AFFE58480987}"/>
              </a:ext>
            </a:extLst>
          </p:cNvPr>
          <p:cNvSpPr txBox="1"/>
          <p:nvPr/>
        </p:nvSpPr>
        <p:spPr>
          <a:xfrm>
            <a:off x="5245697" y="4467666"/>
            <a:ext cx="144000" cy="144000"/>
          </a:xfrm>
          <a:prstGeom prst="rect">
            <a:avLst/>
          </a:prstGeom>
        </p:spPr>
        <p:txBody>
          <a:bodyPr vert="horz" wrap="square" lIns="0" tIns="12898" rIns="0" bIns="0" rtlCol="0" anchor="ctr" anchorCtr="0">
            <a:noAutofit/>
          </a:bodyPr>
          <a:lstStyle/>
          <a:p>
            <a:pPr marL="10319" algn="ctr">
              <a:spcBef>
                <a:spcPts val="102"/>
              </a:spcBef>
            </a:pPr>
            <a:r>
              <a:rPr lang="en-US" altLang="ja" sz="1000" b="1" spc="8">
                <a:cs typeface="Arial"/>
              </a:rPr>
              <a:t>5</a:t>
            </a:r>
            <a:endParaRPr sz="1000" dirty="0">
              <a:cs typeface="Arial"/>
            </a:endParaRPr>
          </a:p>
        </p:txBody>
      </p:sp>
      <p:sp>
        <p:nvSpPr>
          <p:cNvPr id="502" name="object 149">
            <a:extLst>
              <a:ext uri="{FF2B5EF4-FFF2-40B4-BE49-F238E27FC236}">
                <a16:creationId xmlns:a16="http://schemas.microsoft.com/office/drawing/2014/main" id="{06BDCF3F-22BD-42B6-9E3D-A61D5F0BEDEE}"/>
              </a:ext>
            </a:extLst>
          </p:cNvPr>
          <p:cNvSpPr>
            <a:spLocks/>
          </p:cNvSpPr>
          <p:nvPr/>
        </p:nvSpPr>
        <p:spPr>
          <a:xfrm>
            <a:off x="5245697" y="4740112"/>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FECD16"/>
            </a:solidFill>
          </a:ln>
        </p:spPr>
        <p:txBody>
          <a:bodyPr wrap="square" lIns="0" tIns="0" rIns="0" bIns="0" rtlCol="0" anchor="ctr" anchorCtr="0">
            <a:noAutofit/>
          </a:bodyPr>
          <a:lstStyle/>
          <a:p>
            <a:pPr algn="ctr" rtl="0"/>
            <a:endParaRPr sz="1000" dirty="0"/>
          </a:p>
        </p:txBody>
      </p:sp>
      <p:sp>
        <p:nvSpPr>
          <p:cNvPr id="503" name="object 167">
            <a:extLst>
              <a:ext uri="{FF2B5EF4-FFF2-40B4-BE49-F238E27FC236}">
                <a16:creationId xmlns:a16="http://schemas.microsoft.com/office/drawing/2014/main" id="{0A7FD2B2-4BA7-4D9C-B08A-726A86F21C37}"/>
              </a:ext>
            </a:extLst>
          </p:cNvPr>
          <p:cNvSpPr txBox="1"/>
          <p:nvPr/>
        </p:nvSpPr>
        <p:spPr>
          <a:xfrm>
            <a:off x="5245697" y="4741478"/>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6</a:t>
            </a:r>
            <a:endParaRPr sz="1000" dirty="0">
              <a:cs typeface="Arial"/>
            </a:endParaRPr>
          </a:p>
        </p:txBody>
      </p:sp>
      <p:sp>
        <p:nvSpPr>
          <p:cNvPr id="501" name="object 171">
            <a:extLst>
              <a:ext uri="{FF2B5EF4-FFF2-40B4-BE49-F238E27FC236}">
                <a16:creationId xmlns:a16="http://schemas.microsoft.com/office/drawing/2014/main" id="{AA70708F-F41A-45EF-B382-A0BE3D5A9B03}"/>
              </a:ext>
            </a:extLst>
          </p:cNvPr>
          <p:cNvSpPr txBox="1">
            <a:spLocks/>
          </p:cNvSpPr>
          <p:nvPr/>
        </p:nvSpPr>
        <p:spPr>
          <a:xfrm>
            <a:off x="5453727" y="4740112"/>
            <a:ext cx="1267633" cy="144000"/>
          </a:xfrm>
          <a:prstGeom prst="rect">
            <a:avLst/>
          </a:prstGeom>
        </p:spPr>
        <p:txBody>
          <a:bodyPr vert="horz" wrap="square" lIns="0" tIns="10319" rIns="0" bIns="0" rtlCol="0">
            <a:spAutoFit/>
          </a:bodyPr>
          <a:lstStyle/>
          <a:p>
            <a:pPr marL="10319">
              <a:lnSpc>
                <a:spcPct val="85000"/>
              </a:lnSpc>
              <a:spcBef>
                <a:spcPts val="81"/>
              </a:spcBef>
            </a:pPr>
            <a:r>
              <a:rPr sz="1200"/>
              <a:t>初期診療</a:t>
            </a:r>
            <a:endParaRPr sz="1200" dirty="0">
              <a:cs typeface="Arial"/>
            </a:endParaRPr>
          </a:p>
        </p:txBody>
      </p:sp>
      <p:sp>
        <p:nvSpPr>
          <p:cNvPr id="507" name="object 151">
            <a:extLst>
              <a:ext uri="{FF2B5EF4-FFF2-40B4-BE49-F238E27FC236}">
                <a16:creationId xmlns:a16="http://schemas.microsoft.com/office/drawing/2014/main" id="{C09E3077-0347-4BA4-953D-78A5D61E9242}"/>
              </a:ext>
            </a:extLst>
          </p:cNvPr>
          <p:cNvSpPr>
            <a:spLocks/>
          </p:cNvSpPr>
          <p:nvPr/>
        </p:nvSpPr>
        <p:spPr>
          <a:xfrm>
            <a:off x="5245697" y="5010734"/>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96D5F1"/>
            </a:solidFill>
          </a:ln>
        </p:spPr>
        <p:txBody>
          <a:bodyPr wrap="square" lIns="0" tIns="0" rIns="0" bIns="0" rtlCol="0" anchor="ctr" anchorCtr="0">
            <a:noAutofit/>
          </a:bodyPr>
          <a:lstStyle/>
          <a:p>
            <a:pPr algn="ctr" rtl="0"/>
            <a:endParaRPr sz="1000" dirty="0"/>
          </a:p>
        </p:txBody>
      </p:sp>
      <p:sp>
        <p:nvSpPr>
          <p:cNvPr id="508" name="object 168">
            <a:extLst>
              <a:ext uri="{FF2B5EF4-FFF2-40B4-BE49-F238E27FC236}">
                <a16:creationId xmlns:a16="http://schemas.microsoft.com/office/drawing/2014/main" id="{D8DDBC4A-C5E0-478C-AC07-0D55B38B62E8}"/>
              </a:ext>
            </a:extLst>
          </p:cNvPr>
          <p:cNvSpPr txBox="1"/>
          <p:nvPr/>
        </p:nvSpPr>
        <p:spPr>
          <a:xfrm>
            <a:off x="5245697" y="5011644"/>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7</a:t>
            </a:r>
            <a:endParaRPr sz="1000" dirty="0">
              <a:cs typeface="Arial"/>
            </a:endParaRPr>
          </a:p>
        </p:txBody>
      </p:sp>
      <p:sp>
        <p:nvSpPr>
          <p:cNvPr id="506" name="object 172">
            <a:extLst>
              <a:ext uri="{FF2B5EF4-FFF2-40B4-BE49-F238E27FC236}">
                <a16:creationId xmlns:a16="http://schemas.microsoft.com/office/drawing/2014/main" id="{8D7DCAF9-8C79-4A2D-B368-6BE8BD91357E}"/>
              </a:ext>
            </a:extLst>
          </p:cNvPr>
          <p:cNvSpPr txBox="1">
            <a:spLocks/>
          </p:cNvSpPr>
          <p:nvPr/>
        </p:nvSpPr>
        <p:spPr>
          <a:xfrm>
            <a:off x="5453727" y="5010734"/>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20" dirty="0">
                <a:cs typeface="Arial"/>
              </a:rPr>
              <a:t>放射線療法</a:t>
            </a:r>
            <a:endParaRPr sz="1200" dirty="0">
              <a:cs typeface="Arial"/>
            </a:endParaRPr>
          </a:p>
        </p:txBody>
      </p:sp>
      <p:sp>
        <p:nvSpPr>
          <p:cNvPr id="512" name="object 153">
            <a:extLst>
              <a:ext uri="{FF2B5EF4-FFF2-40B4-BE49-F238E27FC236}">
                <a16:creationId xmlns:a16="http://schemas.microsoft.com/office/drawing/2014/main" id="{659B32E2-9853-43A8-830F-FB3CC6E809F5}"/>
              </a:ext>
            </a:extLst>
          </p:cNvPr>
          <p:cNvSpPr>
            <a:spLocks/>
          </p:cNvSpPr>
          <p:nvPr/>
        </p:nvSpPr>
        <p:spPr>
          <a:xfrm>
            <a:off x="5245697" y="5281356"/>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13AAA8"/>
            </a:solidFill>
          </a:ln>
        </p:spPr>
        <p:txBody>
          <a:bodyPr wrap="square" lIns="0" tIns="0" rIns="0" bIns="0" rtlCol="0" anchor="ctr" anchorCtr="0">
            <a:noAutofit/>
          </a:bodyPr>
          <a:lstStyle/>
          <a:p>
            <a:pPr algn="ctr" rtl="0"/>
            <a:endParaRPr sz="1000" dirty="0"/>
          </a:p>
        </p:txBody>
      </p:sp>
      <p:sp>
        <p:nvSpPr>
          <p:cNvPr id="513" name="object 169">
            <a:extLst>
              <a:ext uri="{FF2B5EF4-FFF2-40B4-BE49-F238E27FC236}">
                <a16:creationId xmlns:a16="http://schemas.microsoft.com/office/drawing/2014/main" id="{555033AC-D2AB-4BE5-84DF-961A5CC5C5E8}"/>
              </a:ext>
            </a:extLst>
          </p:cNvPr>
          <p:cNvSpPr txBox="1"/>
          <p:nvPr/>
        </p:nvSpPr>
        <p:spPr>
          <a:xfrm>
            <a:off x="5245697" y="528181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8</a:t>
            </a:r>
            <a:endParaRPr sz="1000" dirty="0">
              <a:cs typeface="Arial"/>
            </a:endParaRPr>
          </a:p>
        </p:txBody>
      </p:sp>
      <p:sp>
        <p:nvSpPr>
          <p:cNvPr id="511" name="object 173">
            <a:extLst>
              <a:ext uri="{FF2B5EF4-FFF2-40B4-BE49-F238E27FC236}">
                <a16:creationId xmlns:a16="http://schemas.microsoft.com/office/drawing/2014/main" id="{7EB9CD8A-A0F2-4872-A1DC-07D269C440C6}"/>
              </a:ext>
            </a:extLst>
          </p:cNvPr>
          <p:cNvSpPr txBox="1">
            <a:spLocks/>
          </p:cNvSpPr>
          <p:nvPr/>
        </p:nvSpPr>
        <p:spPr>
          <a:xfrm>
            <a:off x="5453727" y="5281356"/>
            <a:ext cx="1267633" cy="144000"/>
          </a:xfrm>
          <a:prstGeom prst="rect">
            <a:avLst/>
          </a:prstGeom>
        </p:spPr>
        <p:txBody>
          <a:bodyPr vert="horz" wrap="square" lIns="0" tIns="10319" rIns="0" bIns="0" rtlCol="0">
            <a:spAutoFit/>
          </a:bodyPr>
          <a:lstStyle/>
          <a:p>
            <a:pPr marL="10319">
              <a:lnSpc>
                <a:spcPct val="85000"/>
              </a:lnSpc>
              <a:spcBef>
                <a:spcPts val="81"/>
              </a:spcBef>
            </a:pPr>
            <a:r>
              <a:rPr sz="1200"/>
              <a:t>検査サービス</a:t>
            </a:r>
            <a:endParaRPr sz="1200" dirty="0">
              <a:cs typeface="Arial"/>
            </a:endParaRPr>
          </a:p>
        </p:txBody>
      </p:sp>
      <p:sp>
        <p:nvSpPr>
          <p:cNvPr id="517" name="object 155">
            <a:extLst>
              <a:ext uri="{FF2B5EF4-FFF2-40B4-BE49-F238E27FC236}">
                <a16:creationId xmlns:a16="http://schemas.microsoft.com/office/drawing/2014/main" id="{DBC3C108-7CA3-4FD0-9349-05CAD1FBC1D5}"/>
              </a:ext>
            </a:extLst>
          </p:cNvPr>
          <p:cNvSpPr>
            <a:spLocks/>
          </p:cNvSpPr>
          <p:nvPr/>
        </p:nvSpPr>
        <p:spPr>
          <a:xfrm>
            <a:off x="5245697" y="5551980"/>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4F8EC9"/>
            </a:solidFill>
          </a:ln>
        </p:spPr>
        <p:txBody>
          <a:bodyPr wrap="square" lIns="0" tIns="0" rIns="0" bIns="0" rtlCol="0" anchor="ctr" anchorCtr="0">
            <a:noAutofit/>
          </a:bodyPr>
          <a:lstStyle/>
          <a:p>
            <a:pPr algn="ctr" rtl="0"/>
            <a:endParaRPr sz="1000" dirty="0"/>
          </a:p>
        </p:txBody>
      </p:sp>
      <p:sp>
        <p:nvSpPr>
          <p:cNvPr id="518" name="object 170">
            <a:extLst>
              <a:ext uri="{FF2B5EF4-FFF2-40B4-BE49-F238E27FC236}">
                <a16:creationId xmlns:a16="http://schemas.microsoft.com/office/drawing/2014/main" id="{249C7A51-B480-4249-A33E-BFA30152B705}"/>
              </a:ext>
            </a:extLst>
          </p:cNvPr>
          <p:cNvSpPr txBox="1"/>
          <p:nvPr/>
        </p:nvSpPr>
        <p:spPr>
          <a:xfrm>
            <a:off x="5245697" y="555198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9</a:t>
            </a:r>
            <a:endParaRPr sz="1000" dirty="0">
              <a:cs typeface="Arial"/>
            </a:endParaRPr>
          </a:p>
        </p:txBody>
      </p:sp>
      <p:sp>
        <p:nvSpPr>
          <p:cNvPr id="516" name="object 174">
            <a:extLst>
              <a:ext uri="{FF2B5EF4-FFF2-40B4-BE49-F238E27FC236}">
                <a16:creationId xmlns:a16="http://schemas.microsoft.com/office/drawing/2014/main" id="{0659A572-4F2A-431F-BA90-D71A8FA3C91A}"/>
              </a:ext>
            </a:extLst>
          </p:cNvPr>
          <p:cNvSpPr txBox="1">
            <a:spLocks/>
          </p:cNvSpPr>
          <p:nvPr/>
        </p:nvSpPr>
        <p:spPr>
          <a:xfrm>
            <a:off x="5453727" y="5551980"/>
            <a:ext cx="1267633" cy="144000"/>
          </a:xfrm>
          <a:prstGeom prst="rect">
            <a:avLst/>
          </a:prstGeom>
        </p:spPr>
        <p:txBody>
          <a:bodyPr vert="horz" wrap="square" lIns="0" tIns="10319" rIns="0" bIns="0" rtlCol="0">
            <a:spAutoFit/>
          </a:bodyPr>
          <a:lstStyle/>
          <a:p>
            <a:pPr marL="10319">
              <a:lnSpc>
                <a:spcPct val="85000"/>
              </a:lnSpc>
              <a:spcBef>
                <a:spcPts val="81"/>
              </a:spcBef>
            </a:pPr>
            <a:r>
              <a:rPr sz="1200" dirty="0" err="1"/>
              <a:t>病院と医師向けのサービス創設</a:t>
            </a:r>
            <a:endParaRPr lang="en-GB" sz="1200" dirty="0">
              <a:cs typeface="Arial"/>
            </a:endParaRPr>
          </a:p>
        </p:txBody>
      </p:sp>
      <p:sp>
        <p:nvSpPr>
          <p:cNvPr id="519" name="TextBox 518">
            <a:extLst>
              <a:ext uri="{FF2B5EF4-FFF2-40B4-BE49-F238E27FC236}">
                <a16:creationId xmlns:a16="http://schemas.microsoft.com/office/drawing/2014/main" id="{CF5D859B-68FE-48CD-B592-63FA7CD77E93}"/>
              </a:ext>
            </a:extLst>
          </p:cNvPr>
          <p:cNvSpPr txBox="1">
            <a:spLocks/>
          </p:cNvSpPr>
          <p:nvPr/>
        </p:nvSpPr>
        <p:spPr>
          <a:xfrm>
            <a:off x="5245695" y="3127751"/>
            <a:ext cx="147708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ja" altLang="en-US" sz="1200" b="1" dirty="0"/>
              <a:t>対象となるセクター </a:t>
            </a:r>
          </a:p>
        </p:txBody>
      </p:sp>
      <p:grpSp>
        <p:nvGrpSpPr>
          <p:cNvPr id="3" name="Group 2">
            <a:extLst>
              <a:ext uri="{FF2B5EF4-FFF2-40B4-BE49-F238E27FC236}">
                <a16:creationId xmlns:a16="http://schemas.microsoft.com/office/drawing/2014/main" id="{545530D7-CCED-4FE2-8E59-AED12820786E}"/>
              </a:ext>
            </a:extLst>
          </p:cNvPr>
          <p:cNvGrpSpPr/>
          <p:nvPr/>
        </p:nvGrpSpPr>
        <p:grpSpPr>
          <a:xfrm>
            <a:off x="2407515" y="2576823"/>
            <a:ext cx="4480392" cy="3605035"/>
            <a:chOff x="2407515" y="2576823"/>
            <a:chExt cx="4480392" cy="3378961"/>
          </a:xfrm>
        </p:grpSpPr>
        <p:cxnSp>
          <p:nvCxnSpPr>
            <p:cNvPr id="209" name="Straight Connector 208">
              <a:extLst>
                <a:ext uri="{FF2B5EF4-FFF2-40B4-BE49-F238E27FC236}">
                  <a16:creationId xmlns:a16="http://schemas.microsoft.com/office/drawing/2014/main" id="{A05D0FFB-3076-41C8-94B8-8A2F00FD419B}"/>
                </a:ext>
              </a:extLst>
            </p:cNvPr>
            <p:cNvCxnSpPr>
              <a:cxnSpLocks/>
            </p:cNvCxnSpPr>
            <p:nvPr/>
          </p:nvCxnSpPr>
          <p:spPr>
            <a:xfrm>
              <a:off x="2407515" y="2585452"/>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DD31623-77BD-4F03-845C-13A9A494682C}"/>
                </a:ext>
              </a:extLst>
            </p:cNvPr>
            <p:cNvCxnSpPr>
              <a:cxnSpLocks/>
            </p:cNvCxnSpPr>
            <p:nvPr/>
          </p:nvCxnSpPr>
          <p:spPr>
            <a:xfrm>
              <a:off x="6887907" y="2576823"/>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2FBF3937-865F-4490-B86F-B77A234CD4C7}"/>
                </a:ext>
              </a:extLst>
            </p:cNvPr>
            <p:cNvCxnSpPr>
              <a:cxnSpLocks/>
            </p:cNvCxnSpPr>
            <p:nvPr/>
          </p:nvCxnSpPr>
          <p:spPr>
            <a:xfrm>
              <a:off x="5139270" y="2585452"/>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21" name="TextBox 520">
            <a:extLst>
              <a:ext uri="{FF2B5EF4-FFF2-40B4-BE49-F238E27FC236}">
                <a16:creationId xmlns:a16="http://schemas.microsoft.com/office/drawing/2014/main" id="{6B2FC9D6-AB7D-4979-BE07-A92D0AC5AF77}"/>
              </a:ext>
            </a:extLst>
          </p:cNvPr>
          <p:cNvSpPr txBox="1">
            <a:spLocks/>
          </p:cNvSpPr>
          <p:nvPr/>
        </p:nvSpPr>
        <p:spPr>
          <a:xfrm>
            <a:off x="5245694" y="2373252"/>
            <a:ext cx="1589197"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3</a:t>
            </a:r>
            <a:r>
              <a:rPr lang="en-US" altLang="ja"/>
              <a:t>. </a:t>
            </a:r>
            <a:r>
              <a:rPr lang="ja" altLang="en-US"/>
              <a:t>民間</a:t>
            </a:r>
            <a:r>
              <a:rPr lang="ja" altLang="en-US" dirty="0"/>
              <a:t>企業の参入促進</a:t>
            </a:r>
          </a:p>
        </p:txBody>
      </p:sp>
      <p:sp>
        <p:nvSpPr>
          <p:cNvPr id="522" name="Rectangle 10">
            <a:extLst>
              <a:ext uri="{FF2B5EF4-FFF2-40B4-BE49-F238E27FC236}">
                <a16:creationId xmlns:a16="http://schemas.microsoft.com/office/drawing/2014/main" id="{993903E4-078E-4653-B81E-6FF2AF116676}"/>
              </a:ext>
            </a:extLst>
          </p:cNvPr>
          <p:cNvSpPr>
            <a:spLocks noChangeArrowheads="1"/>
          </p:cNvSpPr>
          <p:nvPr>
            <p:custDataLst>
              <p:tags r:id="rId26"/>
            </p:custDataLst>
          </p:nvPr>
        </p:nvSpPr>
        <p:spPr bwMode="auto">
          <a:xfrm>
            <a:off x="5245695" y="2628262"/>
            <a:ext cx="1477088" cy="2548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pPr>
            <a:r>
              <a:rPr lang="ja" altLang="en-US" sz="900" dirty="0">
                <a:latin typeface="+mn-lt"/>
              </a:rPr>
              <a:t>民間企業の参入促進による</a:t>
            </a:r>
            <a:br>
              <a:rPr lang="ja-JP" altLang="en-US" sz="900" dirty="0">
                <a:latin typeface="+mn-lt"/>
              </a:rPr>
            </a:br>
            <a:r>
              <a:rPr lang="ja" altLang="en-US" sz="900" dirty="0">
                <a:latin typeface="+mn-lt"/>
              </a:rPr>
              <a:t>アクセスと質の改善がねらい </a:t>
            </a:r>
          </a:p>
        </p:txBody>
      </p:sp>
      <p:sp>
        <p:nvSpPr>
          <p:cNvPr id="215" name="テキスト ボックス 3">
            <a:extLst>
              <a:ext uri="{FF2B5EF4-FFF2-40B4-BE49-F238E27FC236}">
                <a16:creationId xmlns:a16="http://schemas.microsoft.com/office/drawing/2014/main" id="{6C23902A-9132-4ECF-ACE6-CE3B3E735B7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TP</a:t>
            </a:r>
            <a:r>
              <a:rPr lang="ja-JP" altLang="en-US" sz="1400" dirty="0"/>
              <a:t>は重点を絞った施策を通じて</a:t>
            </a:r>
            <a:r>
              <a:rPr lang="en-US" altLang="ja-JP" sz="1400" dirty="0"/>
              <a:t>7</a:t>
            </a:r>
            <a:r>
              <a:rPr lang="ja-JP" altLang="en-US" sz="1400" dirty="0"/>
              <a:t>つのテーマすべてで医療セクターの変革をサポートしている</a:t>
            </a:r>
            <a:r>
              <a:rPr lang="en-US" altLang="ja-JP" sz="1400" dirty="0"/>
              <a:t>(</a:t>
            </a:r>
            <a:r>
              <a:rPr lang="ja-JP" altLang="en-US" sz="1400" dirty="0"/>
              <a:t>次頁も参照</a:t>
            </a:r>
            <a:r>
              <a:rPr lang="en-US" altLang="ja-JP" sz="1400" dirty="0"/>
              <a:t>)</a:t>
            </a:r>
            <a:r>
              <a:rPr lang="ja-JP" altLang="en-US" sz="1400" dirty="0"/>
              <a:t>。</a:t>
            </a:r>
            <a:endParaRPr lang="en-US" altLang="ja-JP" sz="1400" dirty="0"/>
          </a:p>
        </p:txBody>
      </p:sp>
      <p:sp>
        <p:nvSpPr>
          <p:cNvPr id="226" name="テキスト ボックス 21">
            <a:extLst>
              <a:ext uri="{FF2B5EF4-FFF2-40B4-BE49-F238E27FC236}">
                <a16:creationId xmlns:a16="http://schemas.microsoft.com/office/drawing/2014/main" id="{1BEC3C38-AEAF-4994-B8E6-1889DC769EB6}"/>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spTree>
    <p:extLst>
      <p:ext uri="{BB962C8B-B14F-4D97-AF65-F5344CB8AC3E}">
        <p14:creationId xmlns:p14="http://schemas.microsoft.com/office/powerpoint/2010/main" val="36289019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費支出額（医療サービスの市場規模）、医療機器の市場規模、医薬品の市場規模</a:t>
            </a:r>
          </a:p>
        </p:txBody>
      </p:sp>
      <p:graphicFrame>
        <p:nvGraphicFramePr>
          <p:cNvPr id="4" name="表 3"/>
          <p:cNvGraphicFramePr>
            <a:graphicFrameLocks noGrp="1"/>
          </p:cNvGraphicFramePr>
          <p:nvPr>
            <p:extLst>
              <p:ext uri="{D42A27DB-BD31-4B8C-83A1-F6EECF244321}">
                <p14:modId xmlns:p14="http://schemas.microsoft.com/office/powerpoint/2010/main" val="358848549"/>
              </p:ext>
            </p:extLst>
          </p:nvPr>
        </p:nvGraphicFramePr>
        <p:xfrm>
          <a:off x="200025" y="1124744"/>
          <a:ext cx="4644967" cy="5261059"/>
        </p:xfrm>
        <a:graphic>
          <a:graphicData uri="http://schemas.openxmlformats.org/drawingml/2006/table">
            <a:tbl>
              <a:tblPr>
                <a:tableStyleId>{5C22544A-7EE6-4342-B048-85BDC9FD1C3A}</a:tableStyleId>
              </a:tblPr>
              <a:tblGrid>
                <a:gridCol w="1186938">
                  <a:extLst>
                    <a:ext uri="{9D8B030D-6E8A-4147-A177-3AD203B41FA5}">
                      <a16:colId xmlns:a16="http://schemas.microsoft.com/office/drawing/2014/main" val="20000"/>
                    </a:ext>
                  </a:extLst>
                </a:gridCol>
                <a:gridCol w="831403">
                  <a:extLst>
                    <a:ext uri="{9D8B030D-6E8A-4147-A177-3AD203B41FA5}">
                      <a16:colId xmlns:a16="http://schemas.microsoft.com/office/drawing/2014/main" val="20001"/>
                    </a:ext>
                  </a:extLst>
                </a:gridCol>
                <a:gridCol w="104245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348211">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18000" marR="18000" marT="0" marB="0" anchor="ctr">
                    <a:solidFill>
                      <a:srgbClr val="3D6AA7"/>
                    </a:solidFill>
                  </a:tcPr>
                </a:tc>
                <a:tc grid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費支出額</a:t>
                      </a:r>
                      <a:endParaRPr kumimoji="1" lang="en-US" altLang="ja-JP" sz="1200" b="0" kern="1200" baseline="300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サービスの市場規模）</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18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696422">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総保健医療支出額（</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THE</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に占める政府の医療費支出額の割合（</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府の医療費支出額（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当たり医療費支出額（</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extLst>
                  <a:ext uri="{0D108BD9-81ED-4DB2-BD59-A6C34878D82A}">
                    <a16:rowId xmlns:a16="http://schemas.microsoft.com/office/drawing/2014/main" val="10001"/>
                  </a:ext>
                </a:extLst>
              </a:tr>
              <a:tr h="188890">
                <a:tc>
                  <a:txBody>
                    <a:bodyPr/>
                    <a:lstStyle/>
                    <a:p>
                      <a:pPr algn="l" fontAlgn="b">
                        <a:buNone/>
                      </a:pPr>
                      <a:r>
                        <a:rPr lang="ja-JP" altLang="en-US" sz="1100" b="0" i="0" u="none" strike="noStrike" dirty="0">
                          <a:solidFill>
                            <a:srgbClr val="000000"/>
                          </a:solidFill>
                          <a:effectLst/>
                          <a:latin typeface="Calibri" panose="020F050202020403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Calibri" panose="020F0502020204030204" pitchFamily="34" charset="0"/>
                        </a:rPr>
                        <a:t>4642.89</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3.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505.0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473</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085.9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0.3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620.0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76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535.9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9.2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24.0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639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451.5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3.3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83.0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63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84835">
                <a:tc>
                  <a:txBody>
                    <a:bodyPr/>
                    <a:lstStyle/>
                    <a:p>
                      <a:pPr algn="l" fontAlgn="b">
                        <a:buNone/>
                      </a:pPr>
                      <a:r>
                        <a:rPr lang="ja-JP" altLang="en-US" sz="1100" b="0" i="0" u="none" strike="noStrike">
                          <a:solidFill>
                            <a:srgbClr val="000000"/>
                          </a:solidFill>
                          <a:effectLst/>
                          <a:latin typeface="Calibri" panose="020F050202020403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370.5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0.0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02.9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540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352.6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7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38.7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514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243.1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8.6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70.9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618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213.2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4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4.0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0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93.7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1.4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41.6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28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81.1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1.0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3.4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698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58.0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5.6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2.5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04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45.1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6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01.6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00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21.5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5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7.4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8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大韓民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98.9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3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8.1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76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69.3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6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53.9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82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188890">
                <a:tc>
                  <a:txBody>
                    <a:bodyPr/>
                    <a:lstStyle/>
                    <a:p>
                      <a:pPr algn="l" fontAlgn="b">
                        <a:buNone/>
                      </a:pPr>
                      <a:r>
                        <a:rPr lang="ja-JP" altLang="en-US" sz="1100" b="0" i="0" u="none" strike="noStrike">
                          <a:solidFill>
                            <a:srgbClr val="000000"/>
                          </a:solidFill>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66.6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6.3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0.1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45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49.3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7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7.4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54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43379">
                <a:tc>
                  <a:txBody>
                    <a:bodyPr/>
                    <a:lstStyle/>
                    <a:p>
                      <a:pPr algn="l" fontAlgn="b">
                        <a:buNone/>
                      </a:pPr>
                      <a:r>
                        <a:rPr lang="ja-JP" altLang="en-US" sz="1100" b="0" i="0" u="none" strike="noStrike">
                          <a:solidFill>
                            <a:srgbClr val="000000"/>
                          </a:solidFill>
                          <a:effectLst/>
                          <a:latin typeface="Calibri" panose="020F050202020403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37.0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8.5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9.8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88890">
                <a:tc>
                  <a:txBody>
                    <a:bodyPr/>
                    <a:lstStyle/>
                    <a:p>
                      <a:pPr algn="l" fontAlgn="b">
                        <a:buNone/>
                      </a:pPr>
                      <a:r>
                        <a:rPr lang="ja-JP" altLang="en-US" sz="1100" b="0" i="0" u="none" strike="noStrike" dirty="0">
                          <a:solidFill>
                            <a:srgbClr val="000000"/>
                          </a:solidFill>
                          <a:effectLst/>
                          <a:latin typeface="Calibri" panose="020F050202020403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33.9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a:solidFill>
                            <a:srgbClr val="000000"/>
                          </a:solidFill>
                          <a:effectLst/>
                          <a:latin typeface="Calibri" panose="020F0502020204030204" pitchFamily="34" charset="0"/>
                        </a:rPr>
                        <a:t>16.8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a:solidFill>
                            <a:srgbClr val="000000"/>
                          </a:solidFill>
                          <a:effectLst/>
                          <a:latin typeface="Calibri" panose="020F0502020204030204" pitchFamily="34" charset="0"/>
                        </a:rPr>
                        <a:t>20.9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solidFill>
                            <a:srgbClr val="000000"/>
                          </a:solidFill>
                          <a:effectLst/>
                          <a:latin typeface="Calibri" panose="020F0502020204030204" pitchFamily="34" charset="0"/>
                        </a:rPr>
                        <a:t>53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54" name="テキスト ボックス 53"/>
          <p:cNvSpPr txBox="1"/>
          <p:nvPr/>
        </p:nvSpPr>
        <p:spPr>
          <a:xfrm>
            <a:off x="200472" y="6381908"/>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費支出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医療機器の市場規模」、「医薬品の市場規模」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graphicFrame>
        <p:nvGraphicFramePr>
          <p:cNvPr id="6" name="表 5"/>
          <p:cNvGraphicFramePr>
            <a:graphicFrameLocks noGrp="1"/>
          </p:cNvGraphicFramePr>
          <p:nvPr>
            <p:extLst>
              <p:ext uri="{D42A27DB-BD31-4B8C-83A1-F6EECF244321}">
                <p14:modId xmlns:p14="http://schemas.microsoft.com/office/powerpoint/2010/main" val="1546654190"/>
              </p:ext>
            </p:extLst>
          </p:nvPr>
        </p:nvGraphicFramePr>
        <p:xfrm>
          <a:off x="4907879" y="1124744"/>
          <a:ext cx="2287484" cy="5280024"/>
        </p:xfrm>
        <a:graphic>
          <a:graphicData uri="http://schemas.openxmlformats.org/drawingml/2006/table">
            <a:tbl>
              <a:tblPr>
                <a:tableStyleId>{5C22544A-7EE6-4342-B048-85BDC9FD1C3A}</a:tableStyleId>
              </a:tblPr>
              <a:tblGrid>
                <a:gridCol w="1150938">
                  <a:extLst>
                    <a:ext uri="{9D8B030D-6E8A-4147-A177-3AD203B41FA5}">
                      <a16:colId xmlns:a16="http://schemas.microsoft.com/office/drawing/2014/main" val="20000"/>
                    </a:ext>
                  </a:extLst>
                </a:gridCol>
                <a:gridCol w="1136546">
                  <a:extLst>
                    <a:ext uri="{9D8B030D-6E8A-4147-A177-3AD203B41FA5}">
                      <a16:colId xmlns:a16="http://schemas.microsoft.com/office/drawing/2014/main" val="20001"/>
                    </a:ext>
                  </a:extLst>
                </a:gridCol>
              </a:tblGrid>
              <a:tr h="104011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0" marR="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機器の</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市場規模</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00</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万米ドル）</a:t>
                      </a:r>
                    </a:p>
                  </a:txBody>
                  <a:tcPr marL="0" marR="0" marT="0" marB="0" anchor="ctr">
                    <a:solidFill>
                      <a:srgbClr val="3D6AA7"/>
                    </a:solidFill>
                  </a:tcPr>
                </a:tc>
                <a:extLst>
                  <a:ext uri="{0D108BD9-81ED-4DB2-BD59-A6C34878D82A}">
                    <a16:rowId xmlns:a16="http://schemas.microsoft.com/office/drawing/2014/main" val="10000"/>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アメリカ合衆国</a:t>
                      </a:r>
                    </a:p>
                  </a:txBody>
                  <a:tcPr marL="6350" marR="6350" marT="6350" marB="0" anchor="b">
                    <a:solidFill>
                      <a:schemeClr val="bg1"/>
                    </a:solidFill>
                  </a:tcPr>
                </a:tc>
                <a:tc>
                  <a:txBody>
                    <a:bodyPr/>
                    <a:lstStyle/>
                    <a:p>
                      <a:pPr algn="r" fontAlgn="b">
                        <a:buNone/>
                      </a:pPr>
                      <a:r>
                        <a:rPr lang="en-IN" sz="1100" b="0" i="0" u="none" strike="noStrike" dirty="0">
                          <a:solidFill>
                            <a:srgbClr val="000000"/>
                          </a:solidFill>
                          <a:effectLst/>
                          <a:latin typeface="Calibri" panose="020F0502020204030204" pitchFamily="34" charset="0"/>
                        </a:rPr>
                        <a:t>241875.9</a:t>
                      </a:r>
                    </a:p>
                  </a:txBody>
                  <a:tcPr marL="6350" marR="6350" marT="6350"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ドイツ</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5608.5</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中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3268.6</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日本</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5606.3</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フランス</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8741.1</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イタリ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6466.7</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カナダ</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9425.9</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486411">
                <a:tc>
                  <a:txBody>
                    <a:bodyPr/>
                    <a:lstStyle/>
                    <a:p>
                      <a:pPr algn="l" fontAlgn="b">
                        <a:buNone/>
                      </a:pPr>
                      <a:r>
                        <a:rPr lang="ja-JP" altLang="en-US" sz="1100" b="0" i="0" u="none" strike="noStrike" dirty="0">
                          <a:solidFill>
                            <a:srgbClr val="000000"/>
                          </a:solidFill>
                          <a:effectLst/>
                          <a:latin typeface="Calibri" panose="020F0502020204030204" pitchFamily="34" charset="0"/>
                        </a:rPr>
                        <a:t>グレートブリテン及び北アイルランド連合王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9095.7</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メキシ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8582.2</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大韓民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7877.2</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インド</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6588.1</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オーストラリ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6070.2</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ブラジル</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5363</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ロシア連邦</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5305.2</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トル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992.9</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サウジアラビ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960.2</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インドネシ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404.5</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南アフリカ</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186.5</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アルゼンチン</a:t>
                      </a:r>
                    </a:p>
                  </a:txBody>
                  <a:tcPr marL="6350" marR="6350" marT="6350" marB="0" anchor="b">
                    <a:solidFill>
                      <a:schemeClr val="bg1"/>
                    </a:solidFill>
                  </a:tcPr>
                </a:tc>
                <a:tc>
                  <a:txBody>
                    <a:bodyPr/>
                    <a:lstStyle/>
                    <a:p>
                      <a:pPr algn="r" fontAlgn="b">
                        <a:buNone/>
                      </a:pPr>
                      <a:r>
                        <a:rPr lang="en-IN" sz="1100" b="0" i="0" u="none" strike="noStrike" dirty="0">
                          <a:solidFill>
                            <a:srgbClr val="000000"/>
                          </a:solidFill>
                          <a:effectLst/>
                          <a:latin typeface="Calibri" panose="020F0502020204030204" pitchFamily="34" charset="0"/>
                        </a:rPr>
                        <a:t>988.5</a:t>
                      </a:r>
                    </a:p>
                  </a:txBody>
                  <a:tcPr marL="6350" marR="6350" marT="6350" marB="0" anchor="b">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graphicFrame>
        <p:nvGraphicFramePr>
          <p:cNvPr id="7" name="表 6"/>
          <p:cNvGraphicFramePr>
            <a:graphicFrameLocks noGrp="1"/>
          </p:cNvGraphicFramePr>
          <p:nvPr>
            <p:extLst>
              <p:ext uri="{D42A27DB-BD31-4B8C-83A1-F6EECF244321}">
                <p14:modId xmlns:p14="http://schemas.microsoft.com/office/powerpoint/2010/main" val="274146373"/>
              </p:ext>
            </p:extLst>
          </p:nvPr>
        </p:nvGraphicFramePr>
        <p:xfrm>
          <a:off x="7292544" y="1124745"/>
          <a:ext cx="2340976" cy="528013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1118038">
                  <a:extLst>
                    <a:ext uri="{9D8B030D-6E8A-4147-A177-3AD203B41FA5}">
                      <a16:colId xmlns:a16="http://schemas.microsoft.com/office/drawing/2014/main" val="20001"/>
                    </a:ext>
                  </a:extLst>
                </a:gridCol>
              </a:tblGrid>
              <a:tr h="106222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薬品の</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市場規模</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00</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万米ドル）</a:t>
                      </a:r>
                    </a:p>
                  </a:txBody>
                  <a:tcPr marL="36000" marR="36000" marT="0" marB="0" anchor="ctr">
                    <a:solidFill>
                      <a:srgbClr val="3D6AA7"/>
                    </a:solidFill>
                  </a:tcPr>
                </a:tc>
                <a:extLst>
                  <a:ext uri="{0D108BD9-81ED-4DB2-BD59-A6C34878D82A}">
                    <a16:rowId xmlns:a16="http://schemas.microsoft.com/office/drawing/2014/main" val="10000"/>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アメリカ合衆国</a:t>
                      </a:r>
                    </a:p>
                  </a:txBody>
                  <a:tcPr marL="6350" marR="6350" marT="6350" marB="0" anchor="b">
                    <a:solidFill>
                      <a:schemeClr val="bg1"/>
                    </a:solidFill>
                  </a:tcPr>
                </a:tc>
                <a:tc>
                  <a:txBody>
                    <a:bodyPr/>
                    <a:lstStyle/>
                    <a:p>
                      <a:pPr algn="r" fontAlgn="b">
                        <a:buNone/>
                      </a:pPr>
                      <a:r>
                        <a:rPr lang="en-IN" sz="1100" b="0" i="0" u="none" strike="noStrike" dirty="0">
                          <a:solidFill>
                            <a:srgbClr val="000000"/>
                          </a:solidFill>
                          <a:effectLst/>
                          <a:latin typeface="Calibri" panose="020F0502020204030204" pitchFamily="34" charset="0"/>
                        </a:rPr>
                        <a:t>457100</a:t>
                      </a:r>
                    </a:p>
                  </a:txBody>
                  <a:tcPr marL="6350" marR="6350" marT="6350"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中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468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日本</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899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ドイツ</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815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フランス</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415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イタリ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93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86303">
                <a:tc>
                  <a:txBody>
                    <a:bodyPr/>
                    <a:lstStyle/>
                    <a:p>
                      <a:pPr algn="l" fontAlgn="b">
                        <a:buNone/>
                      </a:pPr>
                      <a:r>
                        <a:rPr lang="ja-JP" altLang="en-US" sz="1100" b="0" i="0" u="none" strike="noStrike">
                          <a:solidFill>
                            <a:srgbClr val="000000"/>
                          </a:solidFill>
                          <a:effectLst/>
                          <a:latin typeface="Calibri" panose="020F0502020204030204" pitchFamily="34" charset="0"/>
                        </a:rPr>
                        <a:t>グレートブリテン及び北アイルランド連合王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84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カナダ</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56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インド</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32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ブラジル</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79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ロシア連邦</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75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大韓民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27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メキシ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74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オーストラリ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39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サウジアラビ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19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インドネシ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92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トル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84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アルゼンチ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56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南アフリカ</a:t>
                      </a:r>
                    </a:p>
                  </a:txBody>
                  <a:tcPr marL="6350" marR="6350" marT="6350" marB="0" anchor="b">
                    <a:solidFill>
                      <a:schemeClr val="bg1"/>
                    </a:solidFill>
                  </a:tcPr>
                </a:tc>
                <a:tc>
                  <a:txBody>
                    <a:bodyPr/>
                    <a:lstStyle/>
                    <a:p>
                      <a:pPr algn="r" fontAlgn="b">
                        <a:buNone/>
                      </a:pPr>
                      <a:r>
                        <a:rPr lang="en-IN" sz="1100" b="0" i="0" u="none" strike="noStrike" dirty="0">
                          <a:solidFill>
                            <a:srgbClr val="000000"/>
                          </a:solidFill>
                          <a:effectLst/>
                          <a:latin typeface="Calibri" panose="020F0502020204030204" pitchFamily="34" charset="0"/>
                        </a:rPr>
                        <a:t>3800</a:t>
                      </a:r>
                    </a:p>
                  </a:txBody>
                  <a:tcPr marL="6350" marR="6350" marT="6350" marB="0" anchor="b">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sp>
        <p:nvSpPr>
          <p:cNvPr id="81" name="テキスト ボックス 80"/>
          <p:cNvSpPr txBox="1"/>
          <p:nvPr/>
        </p:nvSpPr>
        <p:spPr>
          <a:xfrm>
            <a:off x="200472" y="6669360"/>
            <a:ext cx="5904656"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世界保健機関「</a:t>
            </a:r>
            <a:r>
              <a:rPr lang="en-US" altLang="ja-JP" sz="800" dirty="0">
                <a:solidFill>
                  <a:srgbClr val="000000"/>
                </a:solidFill>
                <a:cs typeface="Arial" panose="020B0604020202020204" pitchFamily="34" charset="0"/>
              </a:rPr>
              <a:t>Global Health Expenditure Database</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Tree>
    <p:extLst>
      <p:ext uri="{BB962C8B-B14F-4D97-AF65-F5344CB8AC3E}">
        <p14:creationId xmlns:p14="http://schemas.microsoft.com/office/powerpoint/2010/main" val="39096394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42C7A295-9B4D-4FEA-A95E-3B45C5E52E68}"/>
              </a:ext>
            </a:extLst>
          </p:cNvPr>
          <p:cNvGraphicFramePr>
            <a:graphicFrameLocks noChangeAspect="1"/>
          </p:cNvGraphicFramePr>
          <p:nvPr>
            <p:custDataLst>
              <p:tags r:id="rId1"/>
            </p:custDataLst>
            <p:extLst>
              <p:ext uri="{D42A27DB-BD31-4B8C-83A1-F6EECF244321}">
                <p14:modId xmlns:p14="http://schemas.microsoft.com/office/powerpoint/2010/main" val="4209961665"/>
              </p:ext>
            </p:extLst>
          </p:nvPr>
        </p:nvGraphicFramePr>
        <p:xfrm>
          <a:off x="1390" y="644255"/>
          <a:ext cx="1316" cy="1316"/>
        </p:xfrm>
        <a:graphic>
          <a:graphicData uri="http://schemas.openxmlformats.org/presentationml/2006/ole">
            <mc:AlternateContent xmlns:mc="http://schemas.openxmlformats.org/markup-compatibility/2006">
              <mc:Choice xmlns:v="urn:schemas-microsoft-com:vml" Requires="v">
                <p:oleObj name="think-cellスライド" r:id="rId13" imgW="395" imgH="394" progId="TCLayout.ActiveDocument.1">
                  <p:embed/>
                </p:oleObj>
              </mc:Choice>
              <mc:Fallback>
                <p:oleObj name="think-cellスライド" r:id="rId13" imgW="395" imgH="394" progId="TCLayout.ActiveDocument.1">
                  <p:embed/>
                  <p:pic>
                    <p:nvPicPr>
                      <p:cNvPr id="27" name="Object 26" hidden="1">
                        <a:extLst>
                          <a:ext uri="{FF2B5EF4-FFF2-40B4-BE49-F238E27FC236}">
                            <a16:creationId xmlns:a16="http://schemas.microsoft.com/office/drawing/2014/main" id="{42C7A295-9B4D-4FEA-A95E-3B45C5E52E68}"/>
                          </a:ext>
                        </a:extLst>
                      </p:cNvPr>
                      <p:cNvPicPr/>
                      <p:nvPr/>
                    </p:nvPicPr>
                    <p:blipFill>
                      <a:blip r:embed="rId14"/>
                      <a:stretch>
                        <a:fillRect/>
                      </a:stretch>
                    </p:blipFill>
                    <p:spPr>
                      <a:xfrm>
                        <a:off x="1390" y="644255"/>
                        <a:ext cx="1316" cy="1316"/>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64683475-A8ED-49FD-AE63-F8D305FBA862}"/>
              </a:ext>
            </a:extLst>
          </p:cNvPr>
          <p:cNvSpPr/>
          <p:nvPr>
            <p:custDataLst>
              <p:tags r:id="rId2"/>
            </p:custDataLst>
          </p:nvPr>
        </p:nvSpPr>
        <p:spPr>
          <a:xfrm>
            <a:off x="73" y="642938"/>
            <a:ext cx="131604" cy="13160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1658" dirty="0">
              <a:solidFill>
                <a:schemeClr val="tx1"/>
              </a:solidFill>
              <a:latin typeface="Arial" panose="020B0604020202020204" pitchFamily="34" charset="0"/>
              <a:ea typeface="+mj-ea"/>
              <a:cs typeface="+mj-cs"/>
              <a:sym typeface="Arial" panose="020B0604020202020204" pitchFamily="34" charset="0"/>
            </a:endParaRPr>
          </a:p>
        </p:txBody>
      </p:sp>
      <p:cxnSp>
        <p:nvCxnSpPr>
          <p:cNvPr id="245" name="Straight Connector 244">
            <a:extLst>
              <a:ext uri="{FF2B5EF4-FFF2-40B4-BE49-F238E27FC236}">
                <a16:creationId xmlns:a16="http://schemas.microsoft.com/office/drawing/2014/main" id="{F3F60051-FCF5-4AF7-A24E-6927FDD3F758}"/>
              </a:ext>
            </a:extLst>
          </p:cNvPr>
          <p:cNvCxnSpPr>
            <a:cxnSpLocks/>
          </p:cNvCxnSpPr>
          <p:nvPr/>
        </p:nvCxnSpPr>
        <p:spPr>
          <a:xfrm>
            <a:off x="3004330" y="2586029"/>
            <a:ext cx="0" cy="3595829"/>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82C899B4-D1F5-48AF-A44A-E85EB7EC1E54}"/>
              </a:ext>
            </a:extLst>
          </p:cNvPr>
          <p:cNvCxnSpPr>
            <a:cxnSpLocks/>
          </p:cNvCxnSpPr>
          <p:nvPr/>
        </p:nvCxnSpPr>
        <p:spPr>
          <a:xfrm>
            <a:off x="6361794" y="2586029"/>
            <a:ext cx="0" cy="3595829"/>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8C17C680-F62A-4ED3-AFDB-261346FED5BF}"/>
              </a:ext>
            </a:extLst>
          </p:cNvPr>
          <p:cNvGrpSpPr/>
          <p:nvPr/>
        </p:nvGrpSpPr>
        <p:grpSpPr>
          <a:xfrm>
            <a:off x="3391785" y="3121573"/>
            <a:ext cx="2582554" cy="2739254"/>
            <a:chOff x="7712704" y="2565147"/>
            <a:chExt cx="3669785" cy="3531039"/>
          </a:xfrm>
        </p:grpSpPr>
        <p:sp>
          <p:nvSpPr>
            <p:cNvPr id="560" name="object 145">
              <a:extLst>
                <a:ext uri="{FF2B5EF4-FFF2-40B4-BE49-F238E27FC236}">
                  <a16:creationId xmlns:a16="http://schemas.microsoft.com/office/drawing/2014/main" id="{E4D7000C-8B69-4330-A824-3BFD34941538}"/>
                </a:ext>
              </a:extLst>
            </p:cNvPr>
            <p:cNvSpPr/>
            <p:nvPr/>
          </p:nvSpPr>
          <p:spPr>
            <a:xfrm>
              <a:off x="7712704" y="2626170"/>
              <a:ext cx="3669785" cy="3465355"/>
            </a:xfrm>
            <a:custGeom>
              <a:avLst/>
              <a:gdLst/>
              <a:ahLst/>
              <a:cxnLst/>
              <a:rect l="l" t="t" r="r" b="b"/>
              <a:pathLst>
                <a:path w="3609975" h="3609975">
                  <a:moveTo>
                    <a:pt x="3609428" y="1804720"/>
                  </a:moveTo>
                  <a:lnTo>
                    <a:pt x="3608800" y="1756642"/>
                  </a:lnTo>
                  <a:lnTo>
                    <a:pt x="3606927" y="1708873"/>
                  </a:lnTo>
                  <a:lnTo>
                    <a:pt x="3603823" y="1661431"/>
                  </a:lnTo>
                  <a:lnTo>
                    <a:pt x="3599505" y="1614329"/>
                  </a:lnTo>
                  <a:lnTo>
                    <a:pt x="3593988" y="1567585"/>
                  </a:lnTo>
                  <a:lnTo>
                    <a:pt x="3587288" y="1521213"/>
                  </a:lnTo>
                  <a:lnTo>
                    <a:pt x="3579421" y="1475229"/>
                  </a:lnTo>
                  <a:lnTo>
                    <a:pt x="3570401" y="1429649"/>
                  </a:lnTo>
                  <a:lnTo>
                    <a:pt x="3560245" y="1384489"/>
                  </a:lnTo>
                  <a:lnTo>
                    <a:pt x="3548968" y="1339763"/>
                  </a:lnTo>
                  <a:lnTo>
                    <a:pt x="3536585" y="1295487"/>
                  </a:lnTo>
                  <a:lnTo>
                    <a:pt x="3523113" y="1251678"/>
                  </a:lnTo>
                  <a:lnTo>
                    <a:pt x="3508567" y="1208350"/>
                  </a:lnTo>
                  <a:lnTo>
                    <a:pt x="3492962" y="1165520"/>
                  </a:lnTo>
                  <a:lnTo>
                    <a:pt x="3476315" y="1123202"/>
                  </a:lnTo>
                  <a:lnTo>
                    <a:pt x="3458640" y="1081413"/>
                  </a:lnTo>
                  <a:lnTo>
                    <a:pt x="3439953" y="1040168"/>
                  </a:lnTo>
                  <a:lnTo>
                    <a:pt x="3420270" y="999483"/>
                  </a:lnTo>
                  <a:lnTo>
                    <a:pt x="3399607" y="959372"/>
                  </a:lnTo>
                  <a:lnTo>
                    <a:pt x="3377979" y="919853"/>
                  </a:lnTo>
                  <a:lnTo>
                    <a:pt x="3355401" y="880940"/>
                  </a:lnTo>
                  <a:lnTo>
                    <a:pt x="3331890" y="842649"/>
                  </a:lnTo>
                  <a:lnTo>
                    <a:pt x="3307460" y="804995"/>
                  </a:lnTo>
                  <a:lnTo>
                    <a:pt x="3282128" y="767995"/>
                  </a:lnTo>
                  <a:lnTo>
                    <a:pt x="3255908" y="731663"/>
                  </a:lnTo>
                  <a:lnTo>
                    <a:pt x="3228818" y="696015"/>
                  </a:lnTo>
                  <a:lnTo>
                    <a:pt x="3200871" y="661068"/>
                  </a:lnTo>
                  <a:lnTo>
                    <a:pt x="3172084" y="626836"/>
                  </a:lnTo>
                  <a:lnTo>
                    <a:pt x="3142473" y="593335"/>
                  </a:lnTo>
                  <a:lnTo>
                    <a:pt x="3112052" y="560581"/>
                  </a:lnTo>
                  <a:lnTo>
                    <a:pt x="3080839" y="528589"/>
                  </a:lnTo>
                  <a:lnTo>
                    <a:pt x="3048847" y="497375"/>
                  </a:lnTo>
                  <a:lnTo>
                    <a:pt x="3016093" y="466955"/>
                  </a:lnTo>
                  <a:lnTo>
                    <a:pt x="2982592" y="437344"/>
                  </a:lnTo>
                  <a:lnTo>
                    <a:pt x="2948360" y="408557"/>
                  </a:lnTo>
                  <a:lnTo>
                    <a:pt x="2913412" y="380610"/>
                  </a:lnTo>
                  <a:lnTo>
                    <a:pt x="2877765" y="353520"/>
                  </a:lnTo>
                  <a:lnTo>
                    <a:pt x="2841433" y="327300"/>
                  </a:lnTo>
                  <a:lnTo>
                    <a:pt x="2804433" y="301968"/>
                  </a:lnTo>
                  <a:lnTo>
                    <a:pt x="2766779" y="277538"/>
                  </a:lnTo>
                  <a:lnTo>
                    <a:pt x="2728488" y="254027"/>
                  </a:lnTo>
                  <a:lnTo>
                    <a:pt x="2689575" y="231449"/>
                  </a:lnTo>
                  <a:lnTo>
                    <a:pt x="2650056" y="209821"/>
                  </a:lnTo>
                  <a:lnTo>
                    <a:pt x="2609945" y="189158"/>
                  </a:lnTo>
                  <a:lnTo>
                    <a:pt x="2569260" y="169475"/>
                  </a:lnTo>
                  <a:lnTo>
                    <a:pt x="2528015" y="150788"/>
                  </a:lnTo>
                  <a:lnTo>
                    <a:pt x="2486225" y="133113"/>
                  </a:lnTo>
                  <a:lnTo>
                    <a:pt x="2443908" y="116466"/>
                  </a:lnTo>
                  <a:lnTo>
                    <a:pt x="2401078" y="100861"/>
                  </a:lnTo>
                  <a:lnTo>
                    <a:pt x="2357750" y="86315"/>
                  </a:lnTo>
                  <a:lnTo>
                    <a:pt x="2313941" y="72843"/>
                  </a:lnTo>
                  <a:lnTo>
                    <a:pt x="2269665" y="60460"/>
                  </a:lnTo>
                  <a:lnTo>
                    <a:pt x="2224939" y="49183"/>
                  </a:lnTo>
                  <a:lnTo>
                    <a:pt x="2179779" y="39027"/>
                  </a:lnTo>
                  <a:lnTo>
                    <a:pt x="2134199" y="30007"/>
                  </a:lnTo>
                  <a:lnTo>
                    <a:pt x="2088215" y="22140"/>
                  </a:lnTo>
                  <a:lnTo>
                    <a:pt x="2041843" y="15440"/>
                  </a:lnTo>
                  <a:lnTo>
                    <a:pt x="1995099" y="9923"/>
                  </a:lnTo>
                  <a:lnTo>
                    <a:pt x="1947997" y="5605"/>
                  </a:lnTo>
                  <a:lnTo>
                    <a:pt x="1900555" y="2501"/>
                  </a:lnTo>
                  <a:lnTo>
                    <a:pt x="1852786" y="627"/>
                  </a:lnTo>
                  <a:lnTo>
                    <a:pt x="1804708" y="0"/>
                  </a:lnTo>
                  <a:lnTo>
                    <a:pt x="1756630" y="627"/>
                  </a:lnTo>
                  <a:lnTo>
                    <a:pt x="1708862" y="2501"/>
                  </a:lnTo>
                  <a:lnTo>
                    <a:pt x="1661420" y="5605"/>
                  </a:lnTo>
                  <a:lnTo>
                    <a:pt x="1614319" y="9923"/>
                  </a:lnTo>
                  <a:lnTo>
                    <a:pt x="1567575" y="15440"/>
                  </a:lnTo>
                  <a:lnTo>
                    <a:pt x="1521204" y="22140"/>
                  </a:lnTo>
                  <a:lnTo>
                    <a:pt x="1475221" y="30007"/>
                  </a:lnTo>
                  <a:lnTo>
                    <a:pt x="1429641" y="39027"/>
                  </a:lnTo>
                  <a:lnTo>
                    <a:pt x="1384481" y="49183"/>
                  </a:lnTo>
                  <a:lnTo>
                    <a:pt x="1339755" y="60460"/>
                  </a:lnTo>
                  <a:lnTo>
                    <a:pt x="1295480" y="72843"/>
                  </a:lnTo>
                  <a:lnTo>
                    <a:pt x="1251671" y="86315"/>
                  </a:lnTo>
                  <a:lnTo>
                    <a:pt x="1208344" y="100861"/>
                  </a:lnTo>
                  <a:lnTo>
                    <a:pt x="1165514" y="116466"/>
                  </a:lnTo>
                  <a:lnTo>
                    <a:pt x="1123197" y="133113"/>
                  </a:lnTo>
                  <a:lnTo>
                    <a:pt x="1081408" y="150788"/>
                  </a:lnTo>
                  <a:lnTo>
                    <a:pt x="1040163" y="169475"/>
                  </a:lnTo>
                  <a:lnTo>
                    <a:pt x="999478" y="189158"/>
                  </a:lnTo>
                  <a:lnTo>
                    <a:pt x="959368" y="209821"/>
                  </a:lnTo>
                  <a:lnTo>
                    <a:pt x="919849" y="231449"/>
                  </a:lnTo>
                  <a:lnTo>
                    <a:pt x="880936" y="254027"/>
                  </a:lnTo>
                  <a:lnTo>
                    <a:pt x="842645" y="277538"/>
                  </a:lnTo>
                  <a:lnTo>
                    <a:pt x="804992" y="301968"/>
                  </a:lnTo>
                  <a:lnTo>
                    <a:pt x="767992" y="327300"/>
                  </a:lnTo>
                  <a:lnTo>
                    <a:pt x="731660" y="353520"/>
                  </a:lnTo>
                  <a:lnTo>
                    <a:pt x="696013" y="380610"/>
                  </a:lnTo>
                  <a:lnTo>
                    <a:pt x="661066" y="408557"/>
                  </a:lnTo>
                  <a:lnTo>
                    <a:pt x="626834" y="437344"/>
                  </a:lnTo>
                  <a:lnTo>
                    <a:pt x="593333" y="466955"/>
                  </a:lnTo>
                  <a:lnTo>
                    <a:pt x="560579" y="497375"/>
                  </a:lnTo>
                  <a:lnTo>
                    <a:pt x="528588" y="528589"/>
                  </a:lnTo>
                  <a:lnTo>
                    <a:pt x="497374" y="560581"/>
                  </a:lnTo>
                  <a:lnTo>
                    <a:pt x="466954" y="593335"/>
                  </a:lnTo>
                  <a:lnTo>
                    <a:pt x="437342" y="626836"/>
                  </a:lnTo>
                  <a:lnTo>
                    <a:pt x="408556" y="661068"/>
                  </a:lnTo>
                  <a:lnTo>
                    <a:pt x="380609" y="696015"/>
                  </a:lnTo>
                  <a:lnTo>
                    <a:pt x="353519" y="731663"/>
                  </a:lnTo>
                  <a:lnTo>
                    <a:pt x="327300" y="767995"/>
                  </a:lnTo>
                  <a:lnTo>
                    <a:pt x="301967" y="804995"/>
                  </a:lnTo>
                  <a:lnTo>
                    <a:pt x="277538" y="842649"/>
                  </a:lnTo>
                  <a:lnTo>
                    <a:pt x="254026" y="880940"/>
                  </a:lnTo>
                  <a:lnTo>
                    <a:pt x="231449" y="919853"/>
                  </a:lnTo>
                  <a:lnTo>
                    <a:pt x="209820" y="959372"/>
                  </a:lnTo>
                  <a:lnTo>
                    <a:pt x="189157" y="999483"/>
                  </a:lnTo>
                  <a:lnTo>
                    <a:pt x="169474" y="1040168"/>
                  </a:lnTo>
                  <a:lnTo>
                    <a:pt x="150788" y="1081413"/>
                  </a:lnTo>
                  <a:lnTo>
                    <a:pt x="133113" y="1123202"/>
                  </a:lnTo>
                  <a:lnTo>
                    <a:pt x="116465" y="1165520"/>
                  </a:lnTo>
                  <a:lnTo>
                    <a:pt x="100861" y="1208350"/>
                  </a:lnTo>
                  <a:lnTo>
                    <a:pt x="86315" y="1251678"/>
                  </a:lnTo>
                  <a:lnTo>
                    <a:pt x="72843" y="1295487"/>
                  </a:lnTo>
                  <a:lnTo>
                    <a:pt x="60460" y="1339763"/>
                  </a:lnTo>
                  <a:lnTo>
                    <a:pt x="49183" y="1384489"/>
                  </a:lnTo>
                  <a:lnTo>
                    <a:pt x="39027" y="1429649"/>
                  </a:lnTo>
                  <a:lnTo>
                    <a:pt x="30007" y="1475229"/>
                  </a:lnTo>
                  <a:lnTo>
                    <a:pt x="22140" y="1521213"/>
                  </a:lnTo>
                  <a:lnTo>
                    <a:pt x="15440" y="1567585"/>
                  </a:lnTo>
                  <a:lnTo>
                    <a:pt x="9923" y="1614329"/>
                  </a:lnTo>
                  <a:lnTo>
                    <a:pt x="5605" y="1661431"/>
                  </a:lnTo>
                  <a:lnTo>
                    <a:pt x="2501" y="1708873"/>
                  </a:lnTo>
                  <a:lnTo>
                    <a:pt x="627" y="1756642"/>
                  </a:lnTo>
                  <a:lnTo>
                    <a:pt x="0" y="1804720"/>
                  </a:lnTo>
                  <a:lnTo>
                    <a:pt x="627" y="1852799"/>
                  </a:lnTo>
                  <a:lnTo>
                    <a:pt x="2501" y="1900567"/>
                  </a:lnTo>
                  <a:lnTo>
                    <a:pt x="5605" y="1948010"/>
                  </a:lnTo>
                  <a:lnTo>
                    <a:pt x="9923" y="1995111"/>
                  </a:lnTo>
                  <a:lnTo>
                    <a:pt x="15440" y="2041856"/>
                  </a:lnTo>
                  <a:lnTo>
                    <a:pt x="22140" y="2088227"/>
                  </a:lnTo>
                  <a:lnTo>
                    <a:pt x="30007" y="2134211"/>
                  </a:lnTo>
                  <a:lnTo>
                    <a:pt x="39027" y="2179791"/>
                  </a:lnTo>
                  <a:lnTo>
                    <a:pt x="49183" y="2224952"/>
                  </a:lnTo>
                  <a:lnTo>
                    <a:pt x="60460" y="2269678"/>
                  </a:lnTo>
                  <a:lnTo>
                    <a:pt x="72843" y="2313953"/>
                  </a:lnTo>
                  <a:lnTo>
                    <a:pt x="86315" y="2357763"/>
                  </a:lnTo>
                  <a:lnTo>
                    <a:pt x="100861" y="2401090"/>
                  </a:lnTo>
                  <a:lnTo>
                    <a:pt x="116465" y="2443921"/>
                  </a:lnTo>
                  <a:lnTo>
                    <a:pt x="133113" y="2486238"/>
                  </a:lnTo>
                  <a:lnTo>
                    <a:pt x="150788" y="2528027"/>
                  </a:lnTo>
                  <a:lnTo>
                    <a:pt x="169474" y="2569272"/>
                  </a:lnTo>
                  <a:lnTo>
                    <a:pt x="189157" y="2609958"/>
                  </a:lnTo>
                  <a:lnTo>
                    <a:pt x="209820" y="2650068"/>
                  </a:lnTo>
                  <a:lnTo>
                    <a:pt x="231449" y="2689588"/>
                  </a:lnTo>
                  <a:lnTo>
                    <a:pt x="254026" y="2728501"/>
                  </a:lnTo>
                  <a:lnTo>
                    <a:pt x="277538" y="2766792"/>
                  </a:lnTo>
                  <a:lnTo>
                    <a:pt x="301967" y="2804446"/>
                  </a:lnTo>
                  <a:lnTo>
                    <a:pt x="327300" y="2841446"/>
                  </a:lnTo>
                  <a:lnTo>
                    <a:pt x="353519" y="2877778"/>
                  </a:lnTo>
                  <a:lnTo>
                    <a:pt x="380609" y="2913425"/>
                  </a:lnTo>
                  <a:lnTo>
                    <a:pt x="408556" y="2948373"/>
                  </a:lnTo>
                  <a:lnTo>
                    <a:pt x="437342" y="2982604"/>
                  </a:lnTo>
                  <a:lnTo>
                    <a:pt x="466954" y="3016105"/>
                  </a:lnTo>
                  <a:lnTo>
                    <a:pt x="497374" y="3048859"/>
                  </a:lnTo>
                  <a:lnTo>
                    <a:pt x="528588" y="3080851"/>
                  </a:lnTo>
                  <a:lnTo>
                    <a:pt x="560579" y="3112065"/>
                  </a:lnTo>
                  <a:lnTo>
                    <a:pt x="593333" y="3142486"/>
                  </a:lnTo>
                  <a:lnTo>
                    <a:pt x="626834" y="3172097"/>
                  </a:lnTo>
                  <a:lnTo>
                    <a:pt x="661066" y="3200884"/>
                  </a:lnTo>
                  <a:lnTo>
                    <a:pt x="696013" y="3228830"/>
                  </a:lnTo>
                  <a:lnTo>
                    <a:pt x="731660" y="3255921"/>
                  </a:lnTo>
                  <a:lnTo>
                    <a:pt x="767992" y="3282140"/>
                  </a:lnTo>
                  <a:lnTo>
                    <a:pt x="804992" y="3307473"/>
                  </a:lnTo>
                  <a:lnTo>
                    <a:pt x="842645" y="3331902"/>
                  </a:lnTo>
                  <a:lnTo>
                    <a:pt x="880936" y="3355414"/>
                  </a:lnTo>
                  <a:lnTo>
                    <a:pt x="919849" y="3377991"/>
                  </a:lnTo>
                  <a:lnTo>
                    <a:pt x="959368" y="3399620"/>
                  </a:lnTo>
                  <a:lnTo>
                    <a:pt x="999478" y="3420283"/>
                  </a:lnTo>
                  <a:lnTo>
                    <a:pt x="1040163" y="3439966"/>
                  </a:lnTo>
                  <a:lnTo>
                    <a:pt x="1081408" y="3458653"/>
                  </a:lnTo>
                  <a:lnTo>
                    <a:pt x="1123197" y="3476327"/>
                  </a:lnTo>
                  <a:lnTo>
                    <a:pt x="1165514" y="3492975"/>
                  </a:lnTo>
                  <a:lnTo>
                    <a:pt x="1208344" y="3508580"/>
                  </a:lnTo>
                  <a:lnTo>
                    <a:pt x="1251671" y="3523126"/>
                  </a:lnTo>
                  <a:lnTo>
                    <a:pt x="1295480" y="3536598"/>
                  </a:lnTo>
                  <a:lnTo>
                    <a:pt x="1339755" y="3548980"/>
                  </a:lnTo>
                  <a:lnTo>
                    <a:pt x="1384481" y="3560257"/>
                  </a:lnTo>
                  <a:lnTo>
                    <a:pt x="1429641" y="3570414"/>
                  </a:lnTo>
                  <a:lnTo>
                    <a:pt x="1475221" y="3579433"/>
                  </a:lnTo>
                  <a:lnTo>
                    <a:pt x="1521204" y="3587301"/>
                  </a:lnTo>
                  <a:lnTo>
                    <a:pt x="1567575" y="3594001"/>
                  </a:lnTo>
                  <a:lnTo>
                    <a:pt x="1614319" y="3599518"/>
                  </a:lnTo>
                  <a:lnTo>
                    <a:pt x="1661420" y="3603836"/>
                  </a:lnTo>
                  <a:lnTo>
                    <a:pt x="1708862" y="3606940"/>
                  </a:lnTo>
                  <a:lnTo>
                    <a:pt x="1756630" y="3608813"/>
                  </a:lnTo>
                  <a:lnTo>
                    <a:pt x="1804708" y="3609441"/>
                  </a:lnTo>
                  <a:lnTo>
                    <a:pt x="1852786" y="3608813"/>
                  </a:lnTo>
                  <a:lnTo>
                    <a:pt x="1900555" y="3606940"/>
                  </a:lnTo>
                  <a:lnTo>
                    <a:pt x="1947997" y="3603836"/>
                  </a:lnTo>
                  <a:lnTo>
                    <a:pt x="1995099" y="3599518"/>
                  </a:lnTo>
                  <a:lnTo>
                    <a:pt x="2041843" y="3594001"/>
                  </a:lnTo>
                  <a:lnTo>
                    <a:pt x="2088215" y="3587301"/>
                  </a:lnTo>
                  <a:lnTo>
                    <a:pt x="2134199" y="3579433"/>
                  </a:lnTo>
                  <a:lnTo>
                    <a:pt x="2179779" y="3570414"/>
                  </a:lnTo>
                  <a:lnTo>
                    <a:pt x="2224939" y="3560257"/>
                  </a:lnTo>
                  <a:lnTo>
                    <a:pt x="2269665" y="3548980"/>
                  </a:lnTo>
                  <a:lnTo>
                    <a:pt x="2313941" y="3536598"/>
                  </a:lnTo>
                  <a:lnTo>
                    <a:pt x="2357750" y="3523126"/>
                  </a:lnTo>
                  <a:lnTo>
                    <a:pt x="2401078" y="3508580"/>
                  </a:lnTo>
                  <a:lnTo>
                    <a:pt x="2443908" y="3492975"/>
                  </a:lnTo>
                  <a:lnTo>
                    <a:pt x="2486225" y="3476327"/>
                  </a:lnTo>
                  <a:lnTo>
                    <a:pt x="2528015" y="3458653"/>
                  </a:lnTo>
                  <a:lnTo>
                    <a:pt x="2569260" y="3439966"/>
                  </a:lnTo>
                  <a:lnTo>
                    <a:pt x="2609945" y="3420283"/>
                  </a:lnTo>
                  <a:lnTo>
                    <a:pt x="2650056" y="3399620"/>
                  </a:lnTo>
                  <a:lnTo>
                    <a:pt x="2689575" y="3377991"/>
                  </a:lnTo>
                  <a:lnTo>
                    <a:pt x="2728488" y="3355414"/>
                  </a:lnTo>
                  <a:lnTo>
                    <a:pt x="2766779" y="3331902"/>
                  </a:lnTo>
                  <a:lnTo>
                    <a:pt x="2804433" y="3307473"/>
                  </a:lnTo>
                  <a:lnTo>
                    <a:pt x="2841433" y="3282140"/>
                  </a:lnTo>
                  <a:lnTo>
                    <a:pt x="2877765" y="3255921"/>
                  </a:lnTo>
                  <a:lnTo>
                    <a:pt x="2913412" y="3228830"/>
                  </a:lnTo>
                  <a:lnTo>
                    <a:pt x="2948360" y="3200884"/>
                  </a:lnTo>
                  <a:lnTo>
                    <a:pt x="2982592" y="3172097"/>
                  </a:lnTo>
                  <a:lnTo>
                    <a:pt x="3016093" y="3142486"/>
                  </a:lnTo>
                  <a:lnTo>
                    <a:pt x="3048847" y="3112065"/>
                  </a:lnTo>
                  <a:lnTo>
                    <a:pt x="3080839" y="3080851"/>
                  </a:lnTo>
                  <a:lnTo>
                    <a:pt x="3112052" y="3048859"/>
                  </a:lnTo>
                  <a:lnTo>
                    <a:pt x="3142473" y="3016105"/>
                  </a:lnTo>
                  <a:lnTo>
                    <a:pt x="3172084" y="2982604"/>
                  </a:lnTo>
                  <a:lnTo>
                    <a:pt x="3200871" y="2948373"/>
                  </a:lnTo>
                  <a:lnTo>
                    <a:pt x="3228818" y="2913425"/>
                  </a:lnTo>
                  <a:lnTo>
                    <a:pt x="3255908" y="2877778"/>
                  </a:lnTo>
                  <a:lnTo>
                    <a:pt x="3282128" y="2841446"/>
                  </a:lnTo>
                  <a:lnTo>
                    <a:pt x="3307460" y="2804446"/>
                  </a:lnTo>
                  <a:lnTo>
                    <a:pt x="3331890" y="2766792"/>
                  </a:lnTo>
                  <a:lnTo>
                    <a:pt x="3355401" y="2728501"/>
                  </a:lnTo>
                  <a:lnTo>
                    <a:pt x="3377979" y="2689588"/>
                  </a:lnTo>
                  <a:lnTo>
                    <a:pt x="3399607" y="2650068"/>
                  </a:lnTo>
                  <a:lnTo>
                    <a:pt x="3420270" y="2609958"/>
                  </a:lnTo>
                  <a:lnTo>
                    <a:pt x="3439953" y="2569272"/>
                  </a:lnTo>
                  <a:lnTo>
                    <a:pt x="3458640" y="2528027"/>
                  </a:lnTo>
                  <a:lnTo>
                    <a:pt x="3476315" y="2486238"/>
                  </a:lnTo>
                  <a:lnTo>
                    <a:pt x="3492962" y="2443921"/>
                  </a:lnTo>
                  <a:lnTo>
                    <a:pt x="3508567" y="2401090"/>
                  </a:lnTo>
                  <a:lnTo>
                    <a:pt x="3523113" y="2357763"/>
                  </a:lnTo>
                  <a:lnTo>
                    <a:pt x="3536585" y="2313953"/>
                  </a:lnTo>
                  <a:lnTo>
                    <a:pt x="3548968" y="2269678"/>
                  </a:lnTo>
                  <a:lnTo>
                    <a:pt x="3560245" y="2224952"/>
                  </a:lnTo>
                  <a:lnTo>
                    <a:pt x="3570401" y="2179791"/>
                  </a:lnTo>
                  <a:lnTo>
                    <a:pt x="3579421" y="2134211"/>
                  </a:lnTo>
                  <a:lnTo>
                    <a:pt x="3587288" y="2088227"/>
                  </a:lnTo>
                  <a:lnTo>
                    <a:pt x="3593988" y="2041856"/>
                  </a:lnTo>
                  <a:lnTo>
                    <a:pt x="3599505" y="1995111"/>
                  </a:lnTo>
                  <a:lnTo>
                    <a:pt x="3603823" y="1948010"/>
                  </a:lnTo>
                  <a:lnTo>
                    <a:pt x="3606927" y="1900567"/>
                  </a:lnTo>
                  <a:lnTo>
                    <a:pt x="3608800" y="1852799"/>
                  </a:lnTo>
                  <a:lnTo>
                    <a:pt x="3609428" y="1804720"/>
                  </a:lnTo>
                  <a:close/>
                </a:path>
              </a:pathLst>
            </a:custGeom>
            <a:ln w="9525">
              <a:solidFill>
                <a:srgbClr val="7F7F7F"/>
              </a:solidFill>
            </a:ln>
          </p:spPr>
          <p:txBody>
            <a:bodyPr wrap="square" lIns="0" tIns="0" rIns="0" bIns="0" rtlCol="0"/>
            <a:lstStyle/>
            <a:p>
              <a:pPr rtl="0"/>
              <a:endParaRPr sz="975" dirty="0"/>
            </a:p>
          </p:txBody>
        </p:sp>
        <p:sp>
          <p:nvSpPr>
            <p:cNvPr id="561" name="object 146">
              <a:extLst>
                <a:ext uri="{FF2B5EF4-FFF2-40B4-BE49-F238E27FC236}">
                  <a16:creationId xmlns:a16="http://schemas.microsoft.com/office/drawing/2014/main" id="{0C43A892-38D1-4CFF-99C7-C8A314A52178}"/>
                </a:ext>
              </a:extLst>
            </p:cNvPr>
            <p:cNvSpPr/>
            <p:nvPr/>
          </p:nvSpPr>
          <p:spPr>
            <a:xfrm>
              <a:off x="7931462" y="2832749"/>
              <a:ext cx="3232122" cy="3042320"/>
            </a:xfrm>
            <a:custGeom>
              <a:avLst/>
              <a:gdLst/>
              <a:ahLst/>
              <a:cxnLst/>
              <a:rect l="l" t="t" r="r" b="b"/>
              <a:pathLst>
                <a:path w="3179445" h="3169285">
                  <a:moveTo>
                    <a:pt x="3179038" y="1584629"/>
                  </a:moveTo>
                  <a:lnTo>
                    <a:pt x="3178309" y="1536183"/>
                  </a:lnTo>
                  <a:lnTo>
                    <a:pt x="3176137" y="1488098"/>
                  </a:lnTo>
                  <a:lnTo>
                    <a:pt x="3172542" y="1440395"/>
                  </a:lnTo>
                  <a:lnTo>
                    <a:pt x="3167545" y="1393096"/>
                  </a:lnTo>
                  <a:lnTo>
                    <a:pt x="3161167" y="1346220"/>
                  </a:lnTo>
                  <a:lnTo>
                    <a:pt x="3153429" y="1299789"/>
                  </a:lnTo>
                  <a:lnTo>
                    <a:pt x="3144351" y="1253824"/>
                  </a:lnTo>
                  <a:lnTo>
                    <a:pt x="3133954" y="1208344"/>
                  </a:lnTo>
                  <a:lnTo>
                    <a:pt x="3122259" y="1163371"/>
                  </a:lnTo>
                  <a:lnTo>
                    <a:pt x="3109286" y="1118925"/>
                  </a:lnTo>
                  <a:lnTo>
                    <a:pt x="3095058" y="1075028"/>
                  </a:lnTo>
                  <a:lnTo>
                    <a:pt x="3079593" y="1031699"/>
                  </a:lnTo>
                  <a:lnTo>
                    <a:pt x="3062914" y="988961"/>
                  </a:lnTo>
                  <a:lnTo>
                    <a:pt x="3045040" y="946832"/>
                  </a:lnTo>
                  <a:lnTo>
                    <a:pt x="3025994" y="905334"/>
                  </a:lnTo>
                  <a:lnTo>
                    <a:pt x="3005794" y="864489"/>
                  </a:lnTo>
                  <a:lnTo>
                    <a:pt x="2984463" y="824315"/>
                  </a:lnTo>
                  <a:lnTo>
                    <a:pt x="2962021" y="784835"/>
                  </a:lnTo>
                  <a:lnTo>
                    <a:pt x="2938489" y="746069"/>
                  </a:lnTo>
                  <a:lnTo>
                    <a:pt x="2913887" y="708037"/>
                  </a:lnTo>
                  <a:lnTo>
                    <a:pt x="2888237" y="670761"/>
                  </a:lnTo>
                  <a:lnTo>
                    <a:pt x="2861558" y="634261"/>
                  </a:lnTo>
                  <a:lnTo>
                    <a:pt x="2833873" y="598557"/>
                  </a:lnTo>
                  <a:lnTo>
                    <a:pt x="2805201" y="563671"/>
                  </a:lnTo>
                  <a:lnTo>
                    <a:pt x="2775564" y="529624"/>
                  </a:lnTo>
                  <a:lnTo>
                    <a:pt x="2744982" y="496435"/>
                  </a:lnTo>
                  <a:lnTo>
                    <a:pt x="2713477" y="464126"/>
                  </a:lnTo>
                  <a:lnTo>
                    <a:pt x="2681068" y="432717"/>
                  </a:lnTo>
                  <a:lnTo>
                    <a:pt x="2647777" y="402229"/>
                  </a:lnTo>
                  <a:lnTo>
                    <a:pt x="2613624" y="372684"/>
                  </a:lnTo>
                  <a:lnTo>
                    <a:pt x="2578630" y="344100"/>
                  </a:lnTo>
                  <a:lnTo>
                    <a:pt x="2542816" y="316500"/>
                  </a:lnTo>
                  <a:lnTo>
                    <a:pt x="2506204" y="289904"/>
                  </a:lnTo>
                  <a:lnTo>
                    <a:pt x="2468812" y="264333"/>
                  </a:lnTo>
                  <a:lnTo>
                    <a:pt x="2430663" y="239807"/>
                  </a:lnTo>
                  <a:lnTo>
                    <a:pt x="2391777" y="216347"/>
                  </a:lnTo>
                  <a:lnTo>
                    <a:pt x="2352175" y="193974"/>
                  </a:lnTo>
                  <a:lnTo>
                    <a:pt x="2311878" y="172709"/>
                  </a:lnTo>
                  <a:lnTo>
                    <a:pt x="2270906" y="152572"/>
                  </a:lnTo>
                  <a:lnTo>
                    <a:pt x="2229281" y="133584"/>
                  </a:lnTo>
                  <a:lnTo>
                    <a:pt x="2187022" y="115766"/>
                  </a:lnTo>
                  <a:lnTo>
                    <a:pt x="2144151" y="99138"/>
                  </a:lnTo>
                  <a:lnTo>
                    <a:pt x="2100689" y="83721"/>
                  </a:lnTo>
                  <a:lnTo>
                    <a:pt x="2056657" y="69536"/>
                  </a:lnTo>
                  <a:lnTo>
                    <a:pt x="2012074" y="56604"/>
                  </a:lnTo>
                  <a:lnTo>
                    <a:pt x="1966963" y="44945"/>
                  </a:lnTo>
                  <a:lnTo>
                    <a:pt x="1921343" y="34580"/>
                  </a:lnTo>
                  <a:lnTo>
                    <a:pt x="1875236" y="25530"/>
                  </a:lnTo>
                  <a:lnTo>
                    <a:pt x="1828662" y="17815"/>
                  </a:lnTo>
                  <a:lnTo>
                    <a:pt x="1781642" y="11457"/>
                  </a:lnTo>
                  <a:lnTo>
                    <a:pt x="1734197" y="6475"/>
                  </a:lnTo>
                  <a:lnTo>
                    <a:pt x="1686347" y="2891"/>
                  </a:lnTo>
                  <a:lnTo>
                    <a:pt x="1638114" y="726"/>
                  </a:lnTo>
                  <a:lnTo>
                    <a:pt x="1589519" y="0"/>
                  </a:lnTo>
                  <a:lnTo>
                    <a:pt x="1540923" y="726"/>
                  </a:lnTo>
                  <a:lnTo>
                    <a:pt x="1492690" y="2891"/>
                  </a:lnTo>
                  <a:lnTo>
                    <a:pt x="1444841" y="6475"/>
                  </a:lnTo>
                  <a:lnTo>
                    <a:pt x="1397396" y="11457"/>
                  </a:lnTo>
                  <a:lnTo>
                    <a:pt x="1350376" y="17815"/>
                  </a:lnTo>
                  <a:lnTo>
                    <a:pt x="1303802" y="25530"/>
                  </a:lnTo>
                  <a:lnTo>
                    <a:pt x="1257695" y="34580"/>
                  </a:lnTo>
                  <a:lnTo>
                    <a:pt x="1212075" y="44945"/>
                  </a:lnTo>
                  <a:lnTo>
                    <a:pt x="1166963" y="56604"/>
                  </a:lnTo>
                  <a:lnTo>
                    <a:pt x="1122381" y="69536"/>
                  </a:lnTo>
                  <a:lnTo>
                    <a:pt x="1078348" y="83721"/>
                  </a:lnTo>
                  <a:lnTo>
                    <a:pt x="1034886" y="99138"/>
                  </a:lnTo>
                  <a:lnTo>
                    <a:pt x="992015" y="115766"/>
                  </a:lnTo>
                  <a:lnTo>
                    <a:pt x="949757" y="133584"/>
                  </a:lnTo>
                  <a:lnTo>
                    <a:pt x="908131" y="152572"/>
                  </a:lnTo>
                  <a:lnTo>
                    <a:pt x="867160" y="172709"/>
                  </a:lnTo>
                  <a:lnTo>
                    <a:pt x="826862" y="193974"/>
                  </a:lnTo>
                  <a:lnTo>
                    <a:pt x="787260" y="216347"/>
                  </a:lnTo>
                  <a:lnTo>
                    <a:pt x="748374" y="239807"/>
                  </a:lnTo>
                  <a:lnTo>
                    <a:pt x="710225" y="264333"/>
                  </a:lnTo>
                  <a:lnTo>
                    <a:pt x="672834" y="289904"/>
                  </a:lnTo>
                  <a:lnTo>
                    <a:pt x="636221" y="316500"/>
                  </a:lnTo>
                  <a:lnTo>
                    <a:pt x="600408" y="344100"/>
                  </a:lnTo>
                  <a:lnTo>
                    <a:pt x="565414" y="372684"/>
                  </a:lnTo>
                  <a:lnTo>
                    <a:pt x="531261" y="402229"/>
                  </a:lnTo>
                  <a:lnTo>
                    <a:pt x="497970" y="432717"/>
                  </a:lnTo>
                  <a:lnTo>
                    <a:pt x="465561" y="464126"/>
                  </a:lnTo>
                  <a:lnTo>
                    <a:pt x="434055" y="496435"/>
                  </a:lnTo>
                  <a:lnTo>
                    <a:pt x="403473" y="529624"/>
                  </a:lnTo>
                  <a:lnTo>
                    <a:pt x="373836" y="563671"/>
                  </a:lnTo>
                  <a:lnTo>
                    <a:pt x="345165" y="598557"/>
                  </a:lnTo>
                  <a:lnTo>
                    <a:pt x="317479" y="634261"/>
                  </a:lnTo>
                  <a:lnTo>
                    <a:pt x="290801" y="670761"/>
                  </a:lnTo>
                  <a:lnTo>
                    <a:pt x="265151" y="708037"/>
                  </a:lnTo>
                  <a:lnTo>
                    <a:pt x="240549" y="746069"/>
                  </a:lnTo>
                  <a:lnTo>
                    <a:pt x="217017" y="784835"/>
                  </a:lnTo>
                  <a:lnTo>
                    <a:pt x="194575" y="824315"/>
                  </a:lnTo>
                  <a:lnTo>
                    <a:pt x="173243" y="864489"/>
                  </a:lnTo>
                  <a:lnTo>
                    <a:pt x="153044" y="905334"/>
                  </a:lnTo>
                  <a:lnTo>
                    <a:pt x="133997" y="946832"/>
                  </a:lnTo>
                  <a:lnTo>
                    <a:pt x="116124" y="988961"/>
                  </a:lnTo>
                  <a:lnTo>
                    <a:pt x="99444" y="1031699"/>
                  </a:lnTo>
                  <a:lnTo>
                    <a:pt x="83980" y="1075028"/>
                  </a:lnTo>
                  <a:lnTo>
                    <a:pt x="69751" y="1118925"/>
                  </a:lnTo>
                  <a:lnTo>
                    <a:pt x="56779" y="1163371"/>
                  </a:lnTo>
                  <a:lnTo>
                    <a:pt x="45084" y="1208344"/>
                  </a:lnTo>
                  <a:lnTo>
                    <a:pt x="34687" y="1253824"/>
                  </a:lnTo>
                  <a:lnTo>
                    <a:pt x="25609" y="1299789"/>
                  </a:lnTo>
                  <a:lnTo>
                    <a:pt x="17870" y="1346220"/>
                  </a:lnTo>
                  <a:lnTo>
                    <a:pt x="11492" y="1393096"/>
                  </a:lnTo>
                  <a:lnTo>
                    <a:pt x="6495" y="1440395"/>
                  </a:lnTo>
                  <a:lnTo>
                    <a:pt x="2900" y="1488098"/>
                  </a:lnTo>
                  <a:lnTo>
                    <a:pt x="728" y="1536183"/>
                  </a:lnTo>
                  <a:lnTo>
                    <a:pt x="0" y="1584629"/>
                  </a:lnTo>
                  <a:lnTo>
                    <a:pt x="728" y="1633076"/>
                  </a:lnTo>
                  <a:lnTo>
                    <a:pt x="2900" y="1681161"/>
                  </a:lnTo>
                  <a:lnTo>
                    <a:pt x="6495" y="1728863"/>
                  </a:lnTo>
                  <a:lnTo>
                    <a:pt x="11492" y="1776163"/>
                  </a:lnTo>
                  <a:lnTo>
                    <a:pt x="17870" y="1823038"/>
                  </a:lnTo>
                  <a:lnTo>
                    <a:pt x="25609" y="1869469"/>
                  </a:lnTo>
                  <a:lnTo>
                    <a:pt x="34687" y="1915435"/>
                  </a:lnTo>
                  <a:lnTo>
                    <a:pt x="45084" y="1960915"/>
                  </a:lnTo>
                  <a:lnTo>
                    <a:pt x="56779" y="2005888"/>
                  </a:lnTo>
                  <a:lnTo>
                    <a:pt x="69751" y="2050333"/>
                  </a:lnTo>
                  <a:lnTo>
                    <a:pt x="83980" y="2094231"/>
                  </a:lnTo>
                  <a:lnTo>
                    <a:pt x="99444" y="2137559"/>
                  </a:lnTo>
                  <a:lnTo>
                    <a:pt x="116124" y="2180298"/>
                  </a:lnTo>
                  <a:lnTo>
                    <a:pt x="133997" y="2222427"/>
                  </a:lnTo>
                  <a:lnTo>
                    <a:pt x="153044" y="2263924"/>
                  </a:lnTo>
                  <a:lnTo>
                    <a:pt x="173243" y="2304770"/>
                  </a:lnTo>
                  <a:lnTo>
                    <a:pt x="194575" y="2344943"/>
                  </a:lnTo>
                  <a:lnTo>
                    <a:pt x="217017" y="2384424"/>
                  </a:lnTo>
                  <a:lnTo>
                    <a:pt x="240549" y="2423190"/>
                  </a:lnTo>
                  <a:lnTo>
                    <a:pt x="265151" y="2461221"/>
                  </a:lnTo>
                  <a:lnTo>
                    <a:pt x="290801" y="2498498"/>
                  </a:lnTo>
                  <a:lnTo>
                    <a:pt x="317479" y="2534998"/>
                  </a:lnTo>
                  <a:lnTo>
                    <a:pt x="345165" y="2570701"/>
                  </a:lnTo>
                  <a:lnTo>
                    <a:pt x="373836" y="2605587"/>
                  </a:lnTo>
                  <a:lnTo>
                    <a:pt x="403473" y="2639635"/>
                  </a:lnTo>
                  <a:lnTo>
                    <a:pt x="434055" y="2672824"/>
                  </a:lnTo>
                  <a:lnTo>
                    <a:pt x="465561" y="2705133"/>
                  </a:lnTo>
                  <a:lnTo>
                    <a:pt x="497970" y="2736542"/>
                  </a:lnTo>
                  <a:lnTo>
                    <a:pt x="531261" y="2767029"/>
                  </a:lnTo>
                  <a:lnTo>
                    <a:pt x="565414" y="2796575"/>
                  </a:lnTo>
                  <a:lnTo>
                    <a:pt x="600408" y="2825158"/>
                  </a:lnTo>
                  <a:lnTo>
                    <a:pt x="636221" y="2852758"/>
                  </a:lnTo>
                  <a:lnTo>
                    <a:pt x="672834" y="2879354"/>
                  </a:lnTo>
                  <a:lnTo>
                    <a:pt x="710225" y="2904926"/>
                  </a:lnTo>
                  <a:lnTo>
                    <a:pt x="748374" y="2929452"/>
                  </a:lnTo>
                  <a:lnTo>
                    <a:pt x="787260" y="2952911"/>
                  </a:lnTo>
                  <a:lnTo>
                    <a:pt x="826862" y="2975284"/>
                  </a:lnTo>
                  <a:lnTo>
                    <a:pt x="867160" y="2996550"/>
                  </a:lnTo>
                  <a:lnTo>
                    <a:pt x="908131" y="3016687"/>
                  </a:lnTo>
                  <a:lnTo>
                    <a:pt x="949757" y="3035675"/>
                  </a:lnTo>
                  <a:lnTo>
                    <a:pt x="992015" y="3053493"/>
                  </a:lnTo>
                  <a:lnTo>
                    <a:pt x="1034886" y="3070121"/>
                  </a:lnTo>
                  <a:lnTo>
                    <a:pt x="1078348" y="3085538"/>
                  </a:lnTo>
                  <a:lnTo>
                    <a:pt x="1122381" y="3099723"/>
                  </a:lnTo>
                  <a:lnTo>
                    <a:pt x="1166963" y="3112655"/>
                  </a:lnTo>
                  <a:lnTo>
                    <a:pt x="1212075" y="3124314"/>
                  </a:lnTo>
                  <a:lnTo>
                    <a:pt x="1257695" y="3134679"/>
                  </a:lnTo>
                  <a:lnTo>
                    <a:pt x="1303802" y="3143729"/>
                  </a:lnTo>
                  <a:lnTo>
                    <a:pt x="1350376" y="3151443"/>
                  </a:lnTo>
                  <a:lnTo>
                    <a:pt x="1397396" y="3157802"/>
                  </a:lnTo>
                  <a:lnTo>
                    <a:pt x="1444841" y="3162783"/>
                  </a:lnTo>
                  <a:lnTo>
                    <a:pt x="1492690" y="3166367"/>
                  </a:lnTo>
                  <a:lnTo>
                    <a:pt x="1540923" y="3168533"/>
                  </a:lnTo>
                  <a:lnTo>
                    <a:pt x="1589519" y="3169259"/>
                  </a:lnTo>
                  <a:lnTo>
                    <a:pt x="1638114" y="3168533"/>
                  </a:lnTo>
                  <a:lnTo>
                    <a:pt x="1686347" y="3166367"/>
                  </a:lnTo>
                  <a:lnTo>
                    <a:pt x="1734197" y="3162783"/>
                  </a:lnTo>
                  <a:lnTo>
                    <a:pt x="1781642" y="3157802"/>
                  </a:lnTo>
                  <a:lnTo>
                    <a:pt x="1828662" y="3151443"/>
                  </a:lnTo>
                  <a:lnTo>
                    <a:pt x="1875236" y="3143729"/>
                  </a:lnTo>
                  <a:lnTo>
                    <a:pt x="1921343" y="3134679"/>
                  </a:lnTo>
                  <a:lnTo>
                    <a:pt x="1966963" y="3124314"/>
                  </a:lnTo>
                  <a:lnTo>
                    <a:pt x="2012074" y="3112655"/>
                  </a:lnTo>
                  <a:lnTo>
                    <a:pt x="2056657" y="3099723"/>
                  </a:lnTo>
                  <a:lnTo>
                    <a:pt x="2100689" y="3085538"/>
                  </a:lnTo>
                  <a:lnTo>
                    <a:pt x="2144151" y="3070121"/>
                  </a:lnTo>
                  <a:lnTo>
                    <a:pt x="2187022" y="3053493"/>
                  </a:lnTo>
                  <a:lnTo>
                    <a:pt x="2229281" y="3035675"/>
                  </a:lnTo>
                  <a:lnTo>
                    <a:pt x="2270906" y="3016687"/>
                  </a:lnTo>
                  <a:lnTo>
                    <a:pt x="2311878" y="2996550"/>
                  </a:lnTo>
                  <a:lnTo>
                    <a:pt x="2352175" y="2975284"/>
                  </a:lnTo>
                  <a:lnTo>
                    <a:pt x="2391777" y="2952911"/>
                  </a:lnTo>
                  <a:lnTo>
                    <a:pt x="2430663" y="2929452"/>
                  </a:lnTo>
                  <a:lnTo>
                    <a:pt x="2468812" y="2904926"/>
                  </a:lnTo>
                  <a:lnTo>
                    <a:pt x="2506204" y="2879354"/>
                  </a:lnTo>
                  <a:lnTo>
                    <a:pt x="2542816" y="2852758"/>
                  </a:lnTo>
                  <a:lnTo>
                    <a:pt x="2578630" y="2825158"/>
                  </a:lnTo>
                  <a:lnTo>
                    <a:pt x="2613624" y="2796575"/>
                  </a:lnTo>
                  <a:lnTo>
                    <a:pt x="2647777" y="2767029"/>
                  </a:lnTo>
                  <a:lnTo>
                    <a:pt x="2681068" y="2736542"/>
                  </a:lnTo>
                  <a:lnTo>
                    <a:pt x="2713477" y="2705133"/>
                  </a:lnTo>
                  <a:lnTo>
                    <a:pt x="2744982" y="2672824"/>
                  </a:lnTo>
                  <a:lnTo>
                    <a:pt x="2775564" y="2639635"/>
                  </a:lnTo>
                  <a:lnTo>
                    <a:pt x="2805201" y="2605587"/>
                  </a:lnTo>
                  <a:lnTo>
                    <a:pt x="2833873" y="2570701"/>
                  </a:lnTo>
                  <a:lnTo>
                    <a:pt x="2861558" y="2534998"/>
                  </a:lnTo>
                  <a:lnTo>
                    <a:pt x="2888237" y="2498498"/>
                  </a:lnTo>
                  <a:lnTo>
                    <a:pt x="2913887" y="2461221"/>
                  </a:lnTo>
                  <a:lnTo>
                    <a:pt x="2938489" y="2423190"/>
                  </a:lnTo>
                  <a:lnTo>
                    <a:pt x="2962021" y="2384424"/>
                  </a:lnTo>
                  <a:lnTo>
                    <a:pt x="2984463" y="2344943"/>
                  </a:lnTo>
                  <a:lnTo>
                    <a:pt x="3005794" y="2304770"/>
                  </a:lnTo>
                  <a:lnTo>
                    <a:pt x="3025994" y="2263924"/>
                  </a:lnTo>
                  <a:lnTo>
                    <a:pt x="3045040" y="2222427"/>
                  </a:lnTo>
                  <a:lnTo>
                    <a:pt x="3062914" y="2180298"/>
                  </a:lnTo>
                  <a:lnTo>
                    <a:pt x="3079593" y="2137559"/>
                  </a:lnTo>
                  <a:lnTo>
                    <a:pt x="3095058" y="2094231"/>
                  </a:lnTo>
                  <a:lnTo>
                    <a:pt x="3109286" y="2050333"/>
                  </a:lnTo>
                  <a:lnTo>
                    <a:pt x="3122259" y="2005888"/>
                  </a:lnTo>
                  <a:lnTo>
                    <a:pt x="3133954" y="1960915"/>
                  </a:lnTo>
                  <a:lnTo>
                    <a:pt x="3144351" y="1915435"/>
                  </a:lnTo>
                  <a:lnTo>
                    <a:pt x="3153429" y="1869469"/>
                  </a:lnTo>
                  <a:lnTo>
                    <a:pt x="3161167" y="1823038"/>
                  </a:lnTo>
                  <a:lnTo>
                    <a:pt x="3167545" y="1776163"/>
                  </a:lnTo>
                  <a:lnTo>
                    <a:pt x="3172542" y="1728863"/>
                  </a:lnTo>
                  <a:lnTo>
                    <a:pt x="3176137" y="1681161"/>
                  </a:lnTo>
                  <a:lnTo>
                    <a:pt x="3178309" y="1633076"/>
                  </a:lnTo>
                  <a:lnTo>
                    <a:pt x="3179038" y="1584629"/>
                  </a:lnTo>
                  <a:close/>
                </a:path>
              </a:pathLst>
            </a:custGeom>
            <a:ln w="9525">
              <a:solidFill>
                <a:srgbClr val="7F7F7F"/>
              </a:solidFill>
            </a:ln>
          </p:spPr>
          <p:txBody>
            <a:bodyPr wrap="square" lIns="0" tIns="0" rIns="0" bIns="0" rtlCol="0"/>
            <a:lstStyle/>
            <a:p>
              <a:pPr rtl="0"/>
              <a:endParaRPr sz="975" dirty="0"/>
            </a:p>
          </p:txBody>
        </p:sp>
        <p:sp>
          <p:nvSpPr>
            <p:cNvPr id="562" name="object 147">
              <a:extLst>
                <a:ext uri="{FF2B5EF4-FFF2-40B4-BE49-F238E27FC236}">
                  <a16:creationId xmlns:a16="http://schemas.microsoft.com/office/drawing/2014/main" id="{AD5580EA-2B29-4E52-AC8F-97DCD76402B9}"/>
                </a:ext>
              </a:extLst>
            </p:cNvPr>
            <p:cNvSpPr/>
            <p:nvPr/>
          </p:nvSpPr>
          <p:spPr>
            <a:xfrm>
              <a:off x="8183555" y="3022246"/>
              <a:ext cx="2727970" cy="2568081"/>
            </a:xfrm>
            <a:custGeom>
              <a:avLst/>
              <a:gdLst/>
              <a:ahLst/>
              <a:cxnLst/>
              <a:rect l="l" t="t" r="r" b="b"/>
              <a:pathLst>
                <a:path w="2683510" h="2675254">
                  <a:moveTo>
                    <a:pt x="2683078" y="1337411"/>
                  </a:moveTo>
                  <a:lnTo>
                    <a:pt x="2682231" y="1289442"/>
                  </a:lnTo>
                  <a:lnTo>
                    <a:pt x="2679709" y="1241899"/>
                  </a:lnTo>
                  <a:lnTo>
                    <a:pt x="2675541" y="1194808"/>
                  </a:lnTo>
                  <a:lnTo>
                    <a:pt x="2669755" y="1148199"/>
                  </a:lnTo>
                  <a:lnTo>
                    <a:pt x="2662380" y="1102099"/>
                  </a:lnTo>
                  <a:lnTo>
                    <a:pt x="2653443" y="1056538"/>
                  </a:lnTo>
                  <a:lnTo>
                    <a:pt x="2642974" y="1011542"/>
                  </a:lnTo>
                  <a:lnTo>
                    <a:pt x="2630999" y="967142"/>
                  </a:lnTo>
                  <a:lnTo>
                    <a:pt x="2617549" y="923364"/>
                  </a:lnTo>
                  <a:lnTo>
                    <a:pt x="2602651" y="880237"/>
                  </a:lnTo>
                  <a:lnTo>
                    <a:pt x="2586334" y="837790"/>
                  </a:lnTo>
                  <a:lnTo>
                    <a:pt x="2568626" y="796051"/>
                  </a:lnTo>
                  <a:lnTo>
                    <a:pt x="2549555" y="755047"/>
                  </a:lnTo>
                  <a:lnTo>
                    <a:pt x="2529150" y="714808"/>
                  </a:lnTo>
                  <a:lnTo>
                    <a:pt x="2507439" y="675362"/>
                  </a:lnTo>
                  <a:lnTo>
                    <a:pt x="2484451" y="636736"/>
                  </a:lnTo>
                  <a:lnTo>
                    <a:pt x="2460213" y="598960"/>
                  </a:lnTo>
                  <a:lnTo>
                    <a:pt x="2434755" y="562061"/>
                  </a:lnTo>
                  <a:lnTo>
                    <a:pt x="2408105" y="526068"/>
                  </a:lnTo>
                  <a:lnTo>
                    <a:pt x="2380291" y="491008"/>
                  </a:lnTo>
                  <a:lnTo>
                    <a:pt x="2351341" y="456912"/>
                  </a:lnTo>
                  <a:lnTo>
                    <a:pt x="2321284" y="423806"/>
                  </a:lnTo>
                  <a:lnTo>
                    <a:pt x="2290148" y="391718"/>
                  </a:lnTo>
                  <a:lnTo>
                    <a:pt x="2257961" y="360678"/>
                  </a:lnTo>
                  <a:lnTo>
                    <a:pt x="2224753" y="330714"/>
                  </a:lnTo>
                  <a:lnTo>
                    <a:pt x="2190551" y="301853"/>
                  </a:lnTo>
                  <a:lnTo>
                    <a:pt x="2155383" y="274124"/>
                  </a:lnTo>
                  <a:lnTo>
                    <a:pt x="2119279" y="247556"/>
                  </a:lnTo>
                  <a:lnTo>
                    <a:pt x="2082266" y="222176"/>
                  </a:lnTo>
                  <a:lnTo>
                    <a:pt x="2044373" y="198014"/>
                  </a:lnTo>
                  <a:lnTo>
                    <a:pt x="2005628" y="175096"/>
                  </a:lnTo>
                  <a:lnTo>
                    <a:pt x="1966060" y="153452"/>
                  </a:lnTo>
                  <a:lnTo>
                    <a:pt x="1925697" y="133110"/>
                  </a:lnTo>
                  <a:lnTo>
                    <a:pt x="1884567" y="114098"/>
                  </a:lnTo>
                  <a:lnTo>
                    <a:pt x="1842699" y="96445"/>
                  </a:lnTo>
                  <a:lnTo>
                    <a:pt x="1800121" y="80178"/>
                  </a:lnTo>
                  <a:lnTo>
                    <a:pt x="1756861" y="65326"/>
                  </a:lnTo>
                  <a:lnTo>
                    <a:pt x="1712948" y="51917"/>
                  </a:lnTo>
                  <a:lnTo>
                    <a:pt x="1668411" y="39980"/>
                  </a:lnTo>
                  <a:lnTo>
                    <a:pt x="1623277" y="29543"/>
                  </a:lnTo>
                  <a:lnTo>
                    <a:pt x="1577575" y="20633"/>
                  </a:lnTo>
                  <a:lnTo>
                    <a:pt x="1531334" y="13281"/>
                  </a:lnTo>
                  <a:lnTo>
                    <a:pt x="1484581" y="7513"/>
                  </a:lnTo>
                  <a:lnTo>
                    <a:pt x="1437345" y="3358"/>
                  </a:lnTo>
                  <a:lnTo>
                    <a:pt x="1389655" y="844"/>
                  </a:lnTo>
                  <a:lnTo>
                    <a:pt x="1341539" y="0"/>
                  </a:lnTo>
                  <a:lnTo>
                    <a:pt x="1293421" y="844"/>
                  </a:lnTo>
                  <a:lnTo>
                    <a:pt x="1245731" y="3358"/>
                  </a:lnTo>
                  <a:lnTo>
                    <a:pt x="1198494" y="7513"/>
                  </a:lnTo>
                  <a:lnTo>
                    <a:pt x="1151741" y="13281"/>
                  </a:lnTo>
                  <a:lnTo>
                    <a:pt x="1105499" y="20633"/>
                  </a:lnTo>
                  <a:lnTo>
                    <a:pt x="1059796" y="29543"/>
                  </a:lnTo>
                  <a:lnTo>
                    <a:pt x="1014662" y="39980"/>
                  </a:lnTo>
                  <a:lnTo>
                    <a:pt x="970124" y="51917"/>
                  </a:lnTo>
                  <a:lnTo>
                    <a:pt x="926211" y="65326"/>
                  </a:lnTo>
                  <a:lnTo>
                    <a:pt x="882951" y="80178"/>
                  </a:lnTo>
                  <a:lnTo>
                    <a:pt x="840373" y="96445"/>
                  </a:lnTo>
                  <a:lnTo>
                    <a:pt x="798505" y="114098"/>
                  </a:lnTo>
                  <a:lnTo>
                    <a:pt x="757375" y="133110"/>
                  </a:lnTo>
                  <a:lnTo>
                    <a:pt x="717011" y="153452"/>
                  </a:lnTo>
                  <a:lnTo>
                    <a:pt x="677443" y="175096"/>
                  </a:lnTo>
                  <a:lnTo>
                    <a:pt x="638698" y="198014"/>
                  </a:lnTo>
                  <a:lnTo>
                    <a:pt x="600805" y="222176"/>
                  </a:lnTo>
                  <a:lnTo>
                    <a:pt x="563793" y="247556"/>
                  </a:lnTo>
                  <a:lnTo>
                    <a:pt x="527688" y="274124"/>
                  </a:lnTo>
                  <a:lnTo>
                    <a:pt x="492521" y="301853"/>
                  </a:lnTo>
                  <a:lnTo>
                    <a:pt x="458319" y="330714"/>
                  </a:lnTo>
                  <a:lnTo>
                    <a:pt x="425111" y="360678"/>
                  </a:lnTo>
                  <a:lnTo>
                    <a:pt x="392925" y="391718"/>
                  </a:lnTo>
                  <a:lnTo>
                    <a:pt x="361789" y="423806"/>
                  </a:lnTo>
                  <a:lnTo>
                    <a:pt x="331732" y="456912"/>
                  </a:lnTo>
                  <a:lnTo>
                    <a:pt x="302783" y="491008"/>
                  </a:lnTo>
                  <a:lnTo>
                    <a:pt x="274968" y="526068"/>
                  </a:lnTo>
                  <a:lnTo>
                    <a:pt x="248318" y="562061"/>
                  </a:lnTo>
                  <a:lnTo>
                    <a:pt x="222860" y="598960"/>
                  </a:lnTo>
                  <a:lnTo>
                    <a:pt x="198623" y="636736"/>
                  </a:lnTo>
                  <a:lnTo>
                    <a:pt x="175635" y="675362"/>
                  </a:lnTo>
                  <a:lnTo>
                    <a:pt x="153925" y="714808"/>
                  </a:lnTo>
                  <a:lnTo>
                    <a:pt x="133520" y="755047"/>
                  </a:lnTo>
                  <a:lnTo>
                    <a:pt x="114449" y="796051"/>
                  </a:lnTo>
                  <a:lnTo>
                    <a:pt x="96742" y="837790"/>
                  </a:lnTo>
                  <a:lnTo>
                    <a:pt x="80424" y="880237"/>
                  </a:lnTo>
                  <a:lnTo>
                    <a:pt x="65527" y="923364"/>
                  </a:lnTo>
                  <a:lnTo>
                    <a:pt x="52077" y="967142"/>
                  </a:lnTo>
                  <a:lnTo>
                    <a:pt x="40103" y="1011542"/>
                  </a:lnTo>
                  <a:lnTo>
                    <a:pt x="29634" y="1056538"/>
                  </a:lnTo>
                  <a:lnTo>
                    <a:pt x="20697" y="1102099"/>
                  </a:lnTo>
                  <a:lnTo>
                    <a:pt x="13322" y="1148199"/>
                  </a:lnTo>
                  <a:lnTo>
                    <a:pt x="7536" y="1194808"/>
                  </a:lnTo>
                  <a:lnTo>
                    <a:pt x="3368" y="1241899"/>
                  </a:lnTo>
                  <a:lnTo>
                    <a:pt x="846" y="1289442"/>
                  </a:lnTo>
                  <a:lnTo>
                    <a:pt x="0" y="1337411"/>
                  </a:lnTo>
                  <a:lnTo>
                    <a:pt x="846" y="1385380"/>
                  </a:lnTo>
                  <a:lnTo>
                    <a:pt x="3368" y="1432924"/>
                  </a:lnTo>
                  <a:lnTo>
                    <a:pt x="7536" y="1480014"/>
                  </a:lnTo>
                  <a:lnTo>
                    <a:pt x="13322" y="1526624"/>
                  </a:lnTo>
                  <a:lnTo>
                    <a:pt x="20697" y="1572723"/>
                  </a:lnTo>
                  <a:lnTo>
                    <a:pt x="29634" y="1618285"/>
                  </a:lnTo>
                  <a:lnTo>
                    <a:pt x="40103" y="1663280"/>
                  </a:lnTo>
                  <a:lnTo>
                    <a:pt x="52077" y="1707680"/>
                  </a:lnTo>
                  <a:lnTo>
                    <a:pt x="65527" y="1751458"/>
                  </a:lnTo>
                  <a:lnTo>
                    <a:pt x="80424" y="1794585"/>
                  </a:lnTo>
                  <a:lnTo>
                    <a:pt x="96742" y="1837032"/>
                  </a:lnTo>
                  <a:lnTo>
                    <a:pt x="114449" y="1878772"/>
                  </a:lnTo>
                  <a:lnTo>
                    <a:pt x="133520" y="1919775"/>
                  </a:lnTo>
                  <a:lnTo>
                    <a:pt x="153925" y="1960014"/>
                  </a:lnTo>
                  <a:lnTo>
                    <a:pt x="175635" y="1999461"/>
                  </a:lnTo>
                  <a:lnTo>
                    <a:pt x="198623" y="2038086"/>
                  </a:lnTo>
                  <a:lnTo>
                    <a:pt x="222860" y="2075863"/>
                  </a:lnTo>
                  <a:lnTo>
                    <a:pt x="248318" y="2112761"/>
                  </a:lnTo>
                  <a:lnTo>
                    <a:pt x="274968" y="2148755"/>
                  </a:lnTo>
                  <a:lnTo>
                    <a:pt x="302783" y="2183814"/>
                  </a:lnTo>
                  <a:lnTo>
                    <a:pt x="331732" y="2217911"/>
                  </a:lnTo>
                  <a:lnTo>
                    <a:pt x="361789" y="2251017"/>
                  </a:lnTo>
                  <a:lnTo>
                    <a:pt x="392925" y="2283104"/>
                  </a:lnTo>
                  <a:lnTo>
                    <a:pt x="425111" y="2314144"/>
                  </a:lnTo>
                  <a:lnTo>
                    <a:pt x="458319" y="2344108"/>
                  </a:lnTo>
                  <a:lnTo>
                    <a:pt x="492521" y="2372969"/>
                  </a:lnTo>
                  <a:lnTo>
                    <a:pt x="527688" y="2400698"/>
                  </a:lnTo>
                  <a:lnTo>
                    <a:pt x="563793" y="2427266"/>
                  </a:lnTo>
                  <a:lnTo>
                    <a:pt x="600805" y="2452646"/>
                  </a:lnTo>
                  <a:lnTo>
                    <a:pt x="638698" y="2476808"/>
                  </a:lnTo>
                  <a:lnTo>
                    <a:pt x="677443" y="2499726"/>
                  </a:lnTo>
                  <a:lnTo>
                    <a:pt x="717011" y="2521370"/>
                  </a:lnTo>
                  <a:lnTo>
                    <a:pt x="757375" y="2541712"/>
                  </a:lnTo>
                  <a:lnTo>
                    <a:pt x="798505" y="2560724"/>
                  </a:lnTo>
                  <a:lnTo>
                    <a:pt x="840373" y="2578378"/>
                  </a:lnTo>
                  <a:lnTo>
                    <a:pt x="882951" y="2594644"/>
                  </a:lnTo>
                  <a:lnTo>
                    <a:pt x="926211" y="2609496"/>
                  </a:lnTo>
                  <a:lnTo>
                    <a:pt x="970124" y="2622905"/>
                  </a:lnTo>
                  <a:lnTo>
                    <a:pt x="1014662" y="2634842"/>
                  </a:lnTo>
                  <a:lnTo>
                    <a:pt x="1059796" y="2645280"/>
                  </a:lnTo>
                  <a:lnTo>
                    <a:pt x="1105499" y="2654189"/>
                  </a:lnTo>
                  <a:lnTo>
                    <a:pt x="1151741" y="2661542"/>
                  </a:lnTo>
                  <a:lnTo>
                    <a:pt x="1198494" y="2667310"/>
                  </a:lnTo>
                  <a:lnTo>
                    <a:pt x="1245731" y="2671465"/>
                  </a:lnTo>
                  <a:lnTo>
                    <a:pt x="1293421" y="2673978"/>
                  </a:lnTo>
                  <a:lnTo>
                    <a:pt x="1341539" y="2674823"/>
                  </a:lnTo>
                  <a:lnTo>
                    <a:pt x="1389655" y="2673978"/>
                  </a:lnTo>
                  <a:lnTo>
                    <a:pt x="1437345" y="2671465"/>
                  </a:lnTo>
                  <a:lnTo>
                    <a:pt x="1484581" y="2667310"/>
                  </a:lnTo>
                  <a:lnTo>
                    <a:pt x="1531334" y="2661542"/>
                  </a:lnTo>
                  <a:lnTo>
                    <a:pt x="1577575" y="2654189"/>
                  </a:lnTo>
                  <a:lnTo>
                    <a:pt x="1623277" y="2645280"/>
                  </a:lnTo>
                  <a:lnTo>
                    <a:pt x="1668411" y="2634842"/>
                  </a:lnTo>
                  <a:lnTo>
                    <a:pt x="1712948" y="2622905"/>
                  </a:lnTo>
                  <a:lnTo>
                    <a:pt x="1756861" y="2609496"/>
                  </a:lnTo>
                  <a:lnTo>
                    <a:pt x="1800121" y="2594644"/>
                  </a:lnTo>
                  <a:lnTo>
                    <a:pt x="1842699" y="2578378"/>
                  </a:lnTo>
                  <a:lnTo>
                    <a:pt x="1884567" y="2560724"/>
                  </a:lnTo>
                  <a:lnTo>
                    <a:pt x="1925697" y="2541712"/>
                  </a:lnTo>
                  <a:lnTo>
                    <a:pt x="1966060" y="2521370"/>
                  </a:lnTo>
                  <a:lnTo>
                    <a:pt x="2005628" y="2499726"/>
                  </a:lnTo>
                  <a:lnTo>
                    <a:pt x="2044373" y="2476808"/>
                  </a:lnTo>
                  <a:lnTo>
                    <a:pt x="2082266" y="2452646"/>
                  </a:lnTo>
                  <a:lnTo>
                    <a:pt x="2119279" y="2427266"/>
                  </a:lnTo>
                  <a:lnTo>
                    <a:pt x="2155383" y="2400698"/>
                  </a:lnTo>
                  <a:lnTo>
                    <a:pt x="2190551" y="2372969"/>
                  </a:lnTo>
                  <a:lnTo>
                    <a:pt x="2224753" y="2344108"/>
                  </a:lnTo>
                  <a:lnTo>
                    <a:pt x="2257961" y="2314144"/>
                  </a:lnTo>
                  <a:lnTo>
                    <a:pt x="2290148" y="2283104"/>
                  </a:lnTo>
                  <a:lnTo>
                    <a:pt x="2321284" y="2251017"/>
                  </a:lnTo>
                  <a:lnTo>
                    <a:pt x="2351341" y="2217911"/>
                  </a:lnTo>
                  <a:lnTo>
                    <a:pt x="2380291" y="2183814"/>
                  </a:lnTo>
                  <a:lnTo>
                    <a:pt x="2408105" y="2148755"/>
                  </a:lnTo>
                  <a:lnTo>
                    <a:pt x="2434755" y="2112761"/>
                  </a:lnTo>
                  <a:lnTo>
                    <a:pt x="2460213" y="2075863"/>
                  </a:lnTo>
                  <a:lnTo>
                    <a:pt x="2484451" y="2038086"/>
                  </a:lnTo>
                  <a:lnTo>
                    <a:pt x="2507439" y="1999461"/>
                  </a:lnTo>
                  <a:lnTo>
                    <a:pt x="2529150" y="1960014"/>
                  </a:lnTo>
                  <a:lnTo>
                    <a:pt x="2549555" y="1919775"/>
                  </a:lnTo>
                  <a:lnTo>
                    <a:pt x="2568626" y="1878772"/>
                  </a:lnTo>
                  <a:lnTo>
                    <a:pt x="2586334" y="1837032"/>
                  </a:lnTo>
                  <a:lnTo>
                    <a:pt x="2602651" y="1794585"/>
                  </a:lnTo>
                  <a:lnTo>
                    <a:pt x="2617549" y="1751458"/>
                  </a:lnTo>
                  <a:lnTo>
                    <a:pt x="2630999" y="1707680"/>
                  </a:lnTo>
                  <a:lnTo>
                    <a:pt x="2642974" y="1663280"/>
                  </a:lnTo>
                  <a:lnTo>
                    <a:pt x="2653443" y="1618285"/>
                  </a:lnTo>
                  <a:lnTo>
                    <a:pt x="2662380" y="1572723"/>
                  </a:lnTo>
                  <a:lnTo>
                    <a:pt x="2669755" y="1526624"/>
                  </a:lnTo>
                  <a:lnTo>
                    <a:pt x="2675541" y="1480014"/>
                  </a:lnTo>
                  <a:lnTo>
                    <a:pt x="2679709" y="1432924"/>
                  </a:lnTo>
                  <a:lnTo>
                    <a:pt x="2682231" y="1385380"/>
                  </a:lnTo>
                  <a:lnTo>
                    <a:pt x="2683078" y="1337411"/>
                  </a:lnTo>
                  <a:close/>
                </a:path>
              </a:pathLst>
            </a:custGeom>
            <a:ln w="9525">
              <a:solidFill>
                <a:srgbClr val="7F7F7F"/>
              </a:solidFill>
            </a:ln>
          </p:spPr>
          <p:txBody>
            <a:bodyPr wrap="square" lIns="0" tIns="0" rIns="0" bIns="0" rtlCol="0"/>
            <a:lstStyle/>
            <a:p>
              <a:pPr rtl="0"/>
              <a:endParaRPr sz="975" dirty="0"/>
            </a:p>
          </p:txBody>
        </p:sp>
        <p:sp>
          <p:nvSpPr>
            <p:cNvPr id="563" name="object 148">
              <a:extLst>
                <a:ext uri="{FF2B5EF4-FFF2-40B4-BE49-F238E27FC236}">
                  <a16:creationId xmlns:a16="http://schemas.microsoft.com/office/drawing/2014/main" id="{0FE90B91-DD4F-4F5D-A27A-362705FD9DA4}"/>
                </a:ext>
              </a:extLst>
            </p:cNvPr>
            <p:cNvSpPr/>
            <p:nvPr/>
          </p:nvSpPr>
          <p:spPr>
            <a:xfrm>
              <a:off x="8458478" y="3330408"/>
              <a:ext cx="2177987" cy="2056659"/>
            </a:xfrm>
            <a:custGeom>
              <a:avLst/>
              <a:gdLst/>
              <a:ahLst/>
              <a:cxnLst/>
              <a:rect l="l" t="t" r="r" b="b"/>
              <a:pathLst>
                <a:path w="2142490" h="2142490">
                  <a:moveTo>
                    <a:pt x="1071092" y="0"/>
                  </a:moveTo>
                  <a:lnTo>
                    <a:pt x="1023382" y="1043"/>
                  </a:lnTo>
                  <a:lnTo>
                    <a:pt x="976206" y="4145"/>
                  </a:lnTo>
                  <a:lnTo>
                    <a:pt x="929608" y="9261"/>
                  </a:lnTo>
                  <a:lnTo>
                    <a:pt x="883632" y="16349"/>
                  </a:lnTo>
                  <a:lnTo>
                    <a:pt x="838321" y="25364"/>
                  </a:lnTo>
                  <a:lnTo>
                    <a:pt x="793718" y="36263"/>
                  </a:lnTo>
                  <a:lnTo>
                    <a:pt x="749867" y="49003"/>
                  </a:lnTo>
                  <a:lnTo>
                    <a:pt x="706812" y="63539"/>
                  </a:lnTo>
                  <a:lnTo>
                    <a:pt x="664596" y="79829"/>
                  </a:lnTo>
                  <a:lnTo>
                    <a:pt x="623262" y="97829"/>
                  </a:lnTo>
                  <a:lnTo>
                    <a:pt x="582855" y="117495"/>
                  </a:lnTo>
                  <a:lnTo>
                    <a:pt x="543417" y="138784"/>
                  </a:lnTo>
                  <a:lnTo>
                    <a:pt x="504993" y="161653"/>
                  </a:lnTo>
                  <a:lnTo>
                    <a:pt x="467626" y="186057"/>
                  </a:lnTo>
                  <a:lnTo>
                    <a:pt x="431359" y="211953"/>
                  </a:lnTo>
                  <a:lnTo>
                    <a:pt x="396236" y="239298"/>
                  </a:lnTo>
                  <a:lnTo>
                    <a:pt x="362300" y="268049"/>
                  </a:lnTo>
                  <a:lnTo>
                    <a:pt x="329595" y="298160"/>
                  </a:lnTo>
                  <a:lnTo>
                    <a:pt x="298165" y="329590"/>
                  </a:lnTo>
                  <a:lnTo>
                    <a:pt x="268053" y="362295"/>
                  </a:lnTo>
                  <a:lnTo>
                    <a:pt x="239302" y="396230"/>
                  </a:lnTo>
                  <a:lnTo>
                    <a:pt x="211957" y="431353"/>
                  </a:lnTo>
                  <a:lnTo>
                    <a:pt x="186060" y="467620"/>
                  </a:lnTo>
                  <a:lnTo>
                    <a:pt x="161656" y="504987"/>
                  </a:lnTo>
                  <a:lnTo>
                    <a:pt x="138787" y="543412"/>
                  </a:lnTo>
                  <a:lnTo>
                    <a:pt x="117498" y="582849"/>
                  </a:lnTo>
                  <a:lnTo>
                    <a:pt x="97831" y="623257"/>
                  </a:lnTo>
                  <a:lnTo>
                    <a:pt x="79831" y="664590"/>
                  </a:lnTo>
                  <a:lnTo>
                    <a:pt x="63541" y="706807"/>
                  </a:lnTo>
                  <a:lnTo>
                    <a:pt x="49004" y="749862"/>
                  </a:lnTo>
                  <a:lnTo>
                    <a:pt x="36264" y="793713"/>
                  </a:lnTo>
                  <a:lnTo>
                    <a:pt x="25364" y="838317"/>
                  </a:lnTo>
                  <a:lnTo>
                    <a:pt x="16349" y="883629"/>
                  </a:lnTo>
                  <a:lnTo>
                    <a:pt x="9262" y="929606"/>
                  </a:lnTo>
                  <a:lnTo>
                    <a:pt x="4145" y="976204"/>
                  </a:lnTo>
                  <a:lnTo>
                    <a:pt x="1043" y="1023381"/>
                  </a:lnTo>
                  <a:lnTo>
                    <a:pt x="0" y="1071092"/>
                  </a:lnTo>
                  <a:lnTo>
                    <a:pt x="1043" y="1118803"/>
                  </a:lnTo>
                  <a:lnTo>
                    <a:pt x="4145" y="1165980"/>
                  </a:lnTo>
                  <a:lnTo>
                    <a:pt x="9262" y="1212578"/>
                  </a:lnTo>
                  <a:lnTo>
                    <a:pt x="16349" y="1258555"/>
                  </a:lnTo>
                  <a:lnTo>
                    <a:pt x="25364" y="1303867"/>
                  </a:lnTo>
                  <a:lnTo>
                    <a:pt x="36264" y="1348471"/>
                  </a:lnTo>
                  <a:lnTo>
                    <a:pt x="49004" y="1392322"/>
                  </a:lnTo>
                  <a:lnTo>
                    <a:pt x="63541" y="1435378"/>
                  </a:lnTo>
                  <a:lnTo>
                    <a:pt x="79831" y="1477594"/>
                  </a:lnTo>
                  <a:lnTo>
                    <a:pt x="97831" y="1518928"/>
                  </a:lnTo>
                  <a:lnTo>
                    <a:pt x="117498" y="1559335"/>
                  </a:lnTo>
                  <a:lnTo>
                    <a:pt x="138787" y="1598773"/>
                  </a:lnTo>
                  <a:lnTo>
                    <a:pt x="161656" y="1637197"/>
                  </a:lnTo>
                  <a:lnTo>
                    <a:pt x="186060" y="1674564"/>
                  </a:lnTo>
                  <a:lnTo>
                    <a:pt x="211957" y="1710831"/>
                  </a:lnTo>
                  <a:lnTo>
                    <a:pt x="239302" y="1745954"/>
                  </a:lnTo>
                  <a:lnTo>
                    <a:pt x="268053" y="1779889"/>
                  </a:lnTo>
                  <a:lnTo>
                    <a:pt x="298165" y="1812594"/>
                  </a:lnTo>
                  <a:lnTo>
                    <a:pt x="329595" y="1844024"/>
                  </a:lnTo>
                  <a:lnTo>
                    <a:pt x="362300" y="1874136"/>
                  </a:lnTo>
                  <a:lnTo>
                    <a:pt x="396236" y="1902886"/>
                  </a:lnTo>
                  <a:lnTo>
                    <a:pt x="431359" y="1930231"/>
                  </a:lnTo>
                  <a:lnTo>
                    <a:pt x="467626" y="1956127"/>
                  </a:lnTo>
                  <a:lnTo>
                    <a:pt x="504993" y="1980531"/>
                  </a:lnTo>
                  <a:lnTo>
                    <a:pt x="543417" y="2003400"/>
                  </a:lnTo>
                  <a:lnTo>
                    <a:pt x="582855" y="2024689"/>
                  </a:lnTo>
                  <a:lnTo>
                    <a:pt x="623262" y="2044355"/>
                  </a:lnTo>
                  <a:lnTo>
                    <a:pt x="664596" y="2062355"/>
                  </a:lnTo>
                  <a:lnTo>
                    <a:pt x="706812" y="2078645"/>
                  </a:lnTo>
                  <a:lnTo>
                    <a:pt x="749867" y="2093182"/>
                  </a:lnTo>
                  <a:lnTo>
                    <a:pt x="793718" y="2105921"/>
                  </a:lnTo>
                  <a:lnTo>
                    <a:pt x="838321" y="2116820"/>
                  </a:lnTo>
                  <a:lnTo>
                    <a:pt x="883632" y="2125835"/>
                  </a:lnTo>
                  <a:lnTo>
                    <a:pt x="929608" y="2132923"/>
                  </a:lnTo>
                  <a:lnTo>
                    <a:pt x="976206" y="2138039"/>
                  </a:lnTo>
                  <a:lnTo>
                    <a:pt x="1023382" y="2141141"/>
                  </a:lnTo>
                  <a:lnTo>
                    <a:pt x="1071092" y="2142185"/>
                  </a:lnTo>
                  <a:lnTo>
                    <a:pt x="1118803" y="2141141"/>
                  </a:lnTo>
                  <a:lnTo>
                    <a:pt x="1165980" y="2138039"/>
                  </a:lnTo>
                  <a:lnTo>
                    <a:pt x="1212578" y="2132923"/>
                  </a:lnTo>
                  <a:lnTo>
                    <a:pt x="1258555" y="2125835"/>
                  </a:lnTo>
                  <a:lnTo>
                    <a:pt x="1303867" y="2116820"/>
                  </a:lnTo>
                  <a:lnTo>
                    <a:pt x="1348471" y="2105921"/>
                  </a:lnTo>
                  <a:lnTo>
                    <a:pt x="1392322" y="2093182"/>
                  </a:lnTo>
                  <a:lnTo>
                    <a:pt x="1435378" y="2078645"/>
                  </a:lnTo>
                  <a:lnTo>
                    <a:pt x="1477594" y="2062355"/>
                  </a:lnTo>
                  <a:lnTo>
                    <a:pt x="1518928" y="2044355"/>
                  </a:lnTo>
                  <a:lnTo>
                    <a:pt x="1559335" y="2024689"/>
                  </a:lnTo>
                  <a:lnTo>
                    <a:pt x="1598773" y="2003400"/>
                  </a:lnTo>
                  <a:lnTo>
                    <a:pt x="1637197" y="1980531"/>
                  </a:lnTo>
                  <a:lnTo>
                    <a:pt x="1674564" y="1956127"/>
                  </a:lnTo>
                  <a:lnTo>
                    <a:pt x="1710831" y="1930231"/>
                  </a:lnTo>
                  <a:lnTo>
                    <a:pt x="1745954" y="1902886"/>
                  </a:lnTo>
                  <a:lnTo>
                    <a:pt x="1779889" y="1874136"/>
                  </a:lnTo>
                  <a:lnTo>
                    <a:pt x="1812594" y="1844024"/>
                  </a:lnTo>
                  <a:lnTo>
                    <a:pt x="1844024" y="1812594"/>
                  </a:lnTo>
                  <a:lnTo>
                    <a:pt x="1874136" y="1779889"/>
                  </a:lnTo>
                  <a:lnTo>
                    <a:pt x="1902886" y="1745954"/>
                  </a:lnTo>
                  <a:lnTo>
                    <a:pt x="1930231" y="1710831"/>
                  </a:lnTo>
                  <a:lnTo>
                    <a:pt x="1956127" y="1674564"/>
                  </a:lnTo>
                  <a:lnTo>
                    <a:pt x="1980531" y="1637197"/>
                  </a:lnTo>
                  <a:lnTo>
                    <a:pt x="2003400" y="1598773"/>
                  </a:lnTo>
                  <a:lnTo>
                    <a:pt x="2024689" y="1559335"/>
                  </a:lnTo>
                  <a:lnTo>
                    <a:pt x="2044355" y="1518928"/>
                  </a:lnTo>
                  <a:lnTo>
                    <a:pt x="2062355" y="1477594"/>
                  </a:lnTo>
                  <a:lnTo>
                    <a:pt x="2078645" y="1435378"/>
                  </a:lnTo>
                  <a:lnTo>
                    <a:pt x="2093182" y="1392322"/>
                  </a:lnTo>
                  <a:lnTo>
                    <a:pt x="2105921" y="1348471"/>
                  </a:lnTo>
                  <a:lnTo>
                    <a:pt x="2116820" y="1303867"/>
                  </a:lnTo>
                  <a:lnTo>
                    <a:pt x="2125835" y="1258555"/>
                  </a:lnTo>
                  <a:lnTo>
                    <a:pt x="2132923" y="1212578"/>
                  </a:lnTo>
                  <a:lnTo>
                    <a:pt x="2138039" y="1165980"/>
                  </a:lnTo>
                  <a:lnTo>
                    <a:pt x="2141141" y="1118803"/>
                  </a:lnTo>
                  <a:lnTo>
                    <a:pt x="2142185" y="1071092"/>
                  </a:lnTo>
                  <a:lnTo>
                    <a:pt x="2141141" y="1023381"/>
                  </a:lnTo>
                  <a:lnTo>
                    <a:pt x="2138039" y="976204"/>
                  </a:lnTo>
                  <a:lnTo>
                    <a:pt x="2132923" y="929606"/>
                  </a:lnTo>
                  <a:lnTo>
                    <a:pt x="2125835" y="883629"/>
                  </a:lnTo>
                  <a:lnTo>
                    <a:pt x="2116820" y="838317"/>
                  </a:lnTo>
                  <a:lnTo>
                    <a:pt x="2105921" y="793713"/>
                  </a:lnTo>
                  <a:lnTo>
                    <a:pt x="2093182" y="749862"/>
                  </a:lnTo>
                  <a:lnTo>
                    <a:pt x="2078645" y="706807"/>
                  </a:lnTo>
                  <a:lnTo>
                    <a:pt x="2062355" y="664590"/>
                  </a:lnTo>
                  <a:lnTo>
                    <a:pt x="2044355" y="623257"/>
                  </a:lnTo>
                  <a:lnTo>
                    <a:pt x="2024689" y="582849"/>
                  </a:lnTo>
                  <a:lnTo>
                    <a:pt x="2003400" y="543412"/>
                  </a:lnTo>
                  <a:lnTo>
                    <a:pt x="1980531" y="504987"/>
                  </a:lnTo>
                  <a:lnTo>
                    <a:pt x="1956127" y="467620"/>
                  </a:lnTo>
                  <a:lnTo>
                    <a:pt x="1930231" y="431353"/>
                  </a:lnTo>
                  <a:lnTo>
                    <a:pt x="1902886" y="396230"/>
                  </a:lnTo>
                  <a:lnTo>
                    <a:pt x="1874136" y="362295"/>
                  </a:lnTo>
                  <a:lnTo>
                    <a:pt x="1844024" y="329590"/>
                  </a:lnTo>
                  <a:lnTo>
                    <a:pt x="1812594" y="298160"/>
                  </a:lnTo>
                  <a:lnTo>
                    <a:pt x="1779889" y="268049"/>
                  </a:lnTo>
                  <a:lnTo>
                    <a:pt x="1745954" y="239298"/>
                  </a:lnTo>
                  <a:lnTo>
                    <a:pt x="1710831" y="211953"/>
                  </a:lnTo>
                  <a:lnTo>
                    <a:pt x="1674564" y="186057"/>
                  </a:lnTo>
                  <a:lnTo>
                    <a:pt x="1637197" y="161653"/>
                  </a:lnTo>
                  <a:lnTo>
                    <a:pt x="1598773" y="138784"/>
                  </a:lnTo>
                  <a:lnTo>
                    <a:pt x="1559335" y="117495"/>
                  </a:lnTo>
                  <a:lnTo>
                    <a:pt x="1518928" y="97829"/>
                  </a:lnTo>
                  <a:lnTo>
                    <a:pt x="1477594" y="79829"/>
                  </a:lnTo>
                  <a:lnTo>
                    <a:pt x="1435378" y="63539"/>
                  </a:lnTo>
                  <a:lnTo>
                    <a:pt x="1392322" y="49003"/>
                  </a:lnTo>
                  <a:lnTo>
                    <a:pt x="1348471" y="36263"/>
                  </a:lnTo>
                  <a:lnTo>
                    <a:pt x="1303867" y="25364"/>
                  </a:lnTo>
                  <a:lnTo>
                    <a:pt x="1258555" y="16349"/>
                  </a:lnTo>
                  <a:lnTo>
                    <a:pt x="1212578" y="9261"/>
                  </a:lnTo>
                  <a:lnTo>
                    <a:pt x="1165980" y="4145"/>
                  </a:lnTo>
                  <a:lnTo>
                    <a:pt x="1118803" y="1043"/>
                  </a:lnTo>
                  <a:lnTo>
                    <a:pt x="1071092" y="0"/>
                  </a:lnTo>
                  <a:close/>
                </a:path>
              </a:pathLst>
            </a:custGeom>
            <a:solidFill>
              <a:srgbClr val="F9FBFC"/>
            </a:solidFill>
          </p:spPr>
          <p:txBody>
            <a:bodyPr wrap="square" lIns="0" tIns="0" rIns="0" bIns="0" rtlCol="0"/>
            <a:lstStyle/>
            <a:p>
              <a:pPr rtl="0"/>
              <a:endParaRPr sz="975" dirty="0"/>
            </a:p>
          </p:txBody>
        </p:sp>
        <p:sp>
          <p:nvSpPr>
            <p:cNvPr id="564" name="object 149">
              <a:extLst>
                <a:ext uri="{FF2B5EF4-FFF2-40B4-BE49-F238E27FC236}">
                  <a16:creationId xmlns:a16="http://schemas.microsoft.com/office/drawing/2014/main" id="{FD5EDB41-4833-4517-97FC-A260A683A144}"/>
                </a:ext>
              </a:extLst>
            </p:cNvPr>
            <p:cNvSpPr/>
            <p:nvPr/>
          </p:nvSpPr>
          <p:spPr>
            <a:xfrm>
              <a:off x="8408585" y="3283302"/>
              <a:ext cx="2278042" cy="2151141"/>
            </a:xfrm>
            <a:custGeom>
              <a:avLst/>
              <a:gdLst/>
              <a:ahLst/>
              <a:cxnLst/>
              <a:rect l="l" t="t" r="r" b="b"/>
              <a:pathLst>
                <a:path w="2240915" h="2240915">
                  <a:moveTo>
                    <a:pt x="2240343" y="1120165"/>
                  </a:moveTo>
                  <a:lnTo>
                    <a:pt x="2239308" y="1071574"/>
                  </a:lnTo>
                  <a:lnTo>
                    <a:pt x="2236231" y="1023512"/>
                  </a:lnTo>
                  <a:lnTo>
                    <a:pt x="2231155" y="976021"/>
                  </a:lnTo>
                  <a:lnTo>
                    <a:pt x="2224120" y="929142"/>
                  </a:lnTo>
                  <a:lnTo>
                    <a:pt x="2215170" y="882919"/>
                  </a:lnTo>
                  <a:lnTo>
                    <a:pt x="2204346" y="837392"/>
                  </a:lnTo>
                  <a:lnTo>
                    <a:pt x="2191691" y="792605"/>
                  </a:lnTo>
                  <a:lnTo>
                    <a:pt x="2177245" y="748598"/>
                  </a:lnTo>
                  <a:lnTo>
                    <a:pt x="2161052" y="705414"/>
                  </a:lnTo>
                  <a:lnTo>
                    <a:pt x="2143154" y="663095"/>
                  </a:lnTo>
                  <a:lnTo>
                    <a:pt x="2123592" y="621684"/>
                  </a:lnTo>
                  <a:lnTo>
                    <a:pt x="2102408" y="581221"/>
                  </a:lnTo>
                  <a:lnTo>
                    <a:pt x="2079645" y="541749"/>
                  </a:lnTo>
                  <a:lnTo>
                    <a:pt x="2055345" y="503311"/>
                  </a:lnTo>
                  <a:lnTo>
                    <a:pt x="2029549" y="465948"/>
                  </a:lnTo>
                  <a:lnTo>
                    <a:pt x="2002299" y="429702"/>
                  </a:lnTo>
                  <a:lnTo>
                    <a:pt x="1973639" y="394615"/>
                  </a:lnTo>
                  <a:lnTo>
                    <a:pt x="1943609" y="360729"/>
                  </a:lnTo>
                  <a:lnTo>
                    <a:pt x="1912251" y="328087"/>
                  </a:lnTo>
                  <a:lnTo>
                    <a:pt x="1879609" y="296729"/>
                  </a:lnTo>
                  <a:lnTo>
                    <a:pt x="1845723" y="266700"/>
                  </a:lnTo>
                  <a:lnTo>
                    <a:pt x="1810636" y="238039"/>
                  </a:lnTo>
                  <a:lnTo>
                    <a:pt x="1774389" y="210790"/>
                  </a:lnTo>
                  <a:lnTo>
                    <a:pt x="1737026" y="184995"/>
                  </a:lnTo>
                  <a:lnTo>
                    <a:pt x="1698588" y="160694"/>
                  </a:lnTo>
                  <a:lnTo>
                    <a:pt x="1659116" y="137932"/>
                  </a:lnTo>
                  <a:lnTo>
                    <a:pt x="1618653" y="116748"/>
                  </a:lnTo>
                  <a:lnTo>
                    <a:pt x="1577242" y="97187"/>
                  </a:lnTo>
                  <a:lnTo>
                    <a:pt x="1534923" y="79288"/>
                  </a:lnTo>
                  <a:lnTo>
                    <a:pt x="1491740" y="63096"/>
                  </a:lnTo>
                  <a:lnTo>
                    <a:pt x="1447733" y="48651"/>
                  </a:lnTo>
                  <a:lnTo>
                    <a:pt x="1402946" y="35996"/>
                  </a:lnTo>
                  <a:lnTo>
                    <a:pt x="1357420" y="25172"/>
                  </a:lnTo>
                  <a:lnTo>
                    <a:pt x="1311197" y="16222"/>
                  </a:lnTo>
                  <a:lnTo>
                    <a:pt x="1264319" y="9188"/>
                  </a:lnTo>
                  <a:lnTo>
                    <a:pt x="1216829" y="4111"/>
                  </a:lnTo>
                  <a:lnTo>
                    <a:pt x="1168767" y="1034"/>
                  </a:lnTo>
                  <a:lnTo>
                    <a:pt x="1120178" y="0"/>
                  </a:lnTo>
                  <a:lnTo>
                    <a:pt x="1071587" y="1034"/>
                  </a:lnTo>
                  <a:lnTo>
                    <a:pt x="1023525" y="4111"/>
                  </a:lnTo>
                  <a:lnTo>
                    <a:pt x="976033" y="9188"/>
                  </a:lnTo>
                  <a:lnTo>
                    <a:pt x="929155" y="16222"/>
                  </a:lnTo>
                  <a:lnTo>
                    <a:pt x="882931" y="25172"/>
                  </a:lnTo>
                  <a:lnTo>
                    <a:pt x="837404" y="35996"/>
                  </a:lnTo>
                  <a:lnTo>
                    <a:pt x="792616" y="48651"/>
                  </a:lnTo>
                  <a:lnTo>
                    <a:pt x="748609" y="63096"/>
                  </a:lnTo>
                  <a:lnTo>
                    <a:pt x="705425" y="79288"/>
                  </a:lnTo>
                  <a:lnTo>
                    <a:pt x="663106" y="97187"/>
                  </a:lnTo>
                  <a:lnTo>
                    <a:pt x="621694" y="116748"/>
                  </a:lnTo>
                  <a:lnTo>
                    <a:pt x="581231" y="137932"/>
                  </a:lnTo>
                  <a:lnTo>
                    <a:pt x="541759" y="160694"/>
                  </a:lnTo>
                  <a:lnTo>
                    <a:pt x="503320" y="184995"/>
                  </a:lnTo>
                  <a:lnTo>
                    <a:pt x="465956" y="210790"/>
                  </a:lnTo>
                  <a:lnTo>
                    <a:pt x="429709" y="238039"/>
                  </a:lnTo>
                  <a:lnTo>
                    <a:pt x="394622" y="266700"/>
                  </a:lnTo>
                  <a:lnTo>
                    <a:pt x="360736" y="296729"/>
                  </a:lnTo>
                  <a:lnTo>
                    <a:pt x="328093" y="328087"/>
                  </a:lnTo>
                  <a:lnTo>
                    <a:pt x="296735" y="360729"/>
                  </a:lnTo>
                  <a:lnTo>
                    <a:pt x="266705" y="394615"/>
                  </a:lnTo>
                  <a:lnTo>
                    <a:pt x="238044" y="429702"/>
                  </a:lnTo>
                  <a:lnTo>
                    <a:pt x="210795" y="465948"/>
                  </a:lnTo>
                  <a:lnTo>
                    <a:pt x="184998" y="503311"/>
                  </a:lnTo>
                  <a:lnTo>
                    <a:pt x="160698" y="541749"/>
                  </a:lnTo>
                  <a:lnTo>
                    <a:pt x="137935" y="581221"/>
                  </a:lnTo>
                  <a:lnTo>
                    <a:pt x="116751" y="621684"/>
                  </a:lnTo>
                  <a:lnTo>
                    <a:pt x="97189" y="663095"/>
                  </a:lnTo>
                  <a:lnTo>
                    <a:pt x="79290" y="705414"/>
                  </a:lnTo>
                  <a:lnTo>
                    <a:pt x="63097" y="748598"/>
                  </a:lnTo>
                  <a:lnTo>
                    <a:pt x="48652" y="792605"/>
                  </a:lnTo>
                  <a:lnTo>
                    <a:pt x="35996" y="837392"/>
                  </a:lnTo>
                  <a:lnTo>
                    <a:pt x="25172" y="882919"/>
                  </a:lnTo>
                  <a:lnTo>
                    <a:pt x="16222" y="929142"/>
                  </a:lnTo>
                  <a:lnTo>
                    <a:pt x="9188" y="976021"/>
                  </a:lnTo>
                  <a:lnTo>
                    <a:pt x="4111" y="1023512"/>
                  </a:lnTo>
                  <a:lnTo>
                    <a:pt x="1034" y="1071574"/>
                  </a:lnTo>
                  <a:lnTo>
                    <a:pt x="0" y="1120165"/>
                  </a:lnTo>
                  <a:lnTo>
                    <a:pt x="1034" y="1168756"/>
                  </a:lnTo>
                  <a:lnTo>
                    <a:pt x="4111" y="1216818"/>
                  </a:lnTo>
                  <a:lnTo>
                    <a:pt x="9188" y="1264309"/>
                  </a:lnTo>
                  <a:lnTo>
                    <a:pt x="16222" y="1311187"/>
                  </a:lnTo>
                  <a:lnTo>
                    <a:pt x="25172" y="1357411"/>
                  </a:lnTo>
                  <a:lnTo>
                    <a:pt x="35996" y="1402938"/>
                  </a:lnTo>
                  <a:lnTo>
                    <a:pt x="48652" y="1447725"/>
                  </a:lnTo>
                  <a:lnTo>
                    <a:pt x="63097" y="1491732"/>
                  </a:lnTo>
                  <a:lnTo>
                    <a:pt x="79290" y="1534916"/>
                  </a:lnTo>
                  <a:lnTo>
                    <a:pt x="97189" y="1577234"/>
                  </a:lnTo>
                  <a:lnTo>
                    <a:pt x="116751" y="1618646"/>
                  </a:lnTo>
                  <a:lnTo>
                    <a:pt x="137935" y="1659109"/>
                  </a:lnTo>
                  <a:lnTo>
                    <a:pt x="160698" y="1698580"/>
                  </a:lnTo>
                  <a:lnTo>
                    <a:pt x="184998" y="1737019"/>
                  </a:lnTo>
                  <a:lnTo>
                    <a:pt x="210795" y="1774382"/>
                  </a:lnTo>
                  <a:lnTo>
                    <a:pt x="238044" y="1810628"/>
                  </a:lnTo>
                  <a:lnTo>
                    <a:pt x="266705" y="1845715"/>
                  </a:lnTo>
                  <a:lnTo>
                    <a:pt x="296735" y="1879601"/>
                  </a:lnTo>
                  <a:lnTo>
                    <a:pt x="328093" y="1912243"/>
                  </a:lnTo>
                  <a:lnTo>
                    <a:pt x="360736" y="1943600"/>
                  </a:lnTo>
                  <a:lnTo>
                    <a:pt x="394622" y="1973630"/>
                  </a:lnTo>
                  <a:lnTo>
                    <a:pt x="429709" y="2002291"/>
                  </a:lnTo>
                  <a:lnTo>
                    <a:pt x="465956" y="2029540"/>
                  </a:lnTo>
                  <a:lnTo>
                    <a:pt x="503320" y="2055335"/>
                  </a:lnTo>
                  <a:lnTo>
                    <a:pt x="541759" y="2079635"/>
                  </a:lnTo>
                  <a:lnTo>
                    <a:pt x="581231" y="2102398"/>
                  </a:lnTo>
                  <a:lnTo>
                    <a:pt x="621694" y="2123581"/>
                  </a:lnTo>
                  <a:lnTo>
                    <a:pt x="663106" y="2143143"/>
                  </a:lnTo>
                  <a:lnTo>
                    <a:pt x="705425" y="2161041"/>
                  </a:lnTo>
                  <a:lnTo>
                    <a:pt x="748609" y="2177234"/>
                  </a:lnTo>
                  <a:lnTo>
                    <a:pt x="792616" y="2191679"/>
                  </a:lnTo>
                  <a:lnTo>
                    <a:pt x="837404" y="2204334"/>
                  </a:lnTo>
                  <a:lnTo>
                    <a:pt x="882931" y="2215158"/>
                  </a:lnTo>
                  <a:lnTo>
                    <a:pt x="929155" y="2224108"/>
                  </a:lnTo>
                  <a:lnTo>
                    <a:pt x="976033" y="2231142"/>
                  </a:lnTo>
                  <a:lnTo>
                    <a:pt x="1023525" y="2236219"/>
                  </a:lnTo>
                  <a:lnTo>
                    <a:pt x="1071587" y="2239295"/>
                  </a:lnTo>
                  <a:lnTo>
                    <a:pt x="1120178" y="2240330"/>
                  </a:lnTo>
                  <a:lnTo>
                    <a:pt x="1168767" y="2239295"/>
                  </a:lnTo>
                  <a:lnTo>
                    <a:pt x="1216829" y="2236219"/>
                  </a:lnTo>
                  <a:lnTo>
                    <a:pt x="1264319" y="2231142"/>
                  </a:lnTo>
                  <a:lnTo>
                    <a:pt x="1311197" y="2224108"/>
                  </a:lnTo>
                  <a:lnTo>
                    <a:pt x="1357420" y="2215158"/>
                  </a:lnTo>
                  <a:lnTo>
                    <a:pt x="1402946" y="2204334"/>
                  </a:lnTo>
                  <a:lnTo>
                    <a:pt x="1447733" y="2191679"/>
                  </a:lnTo>
                  <a:lnTo>
                    <a:pt x="1491740" y="2177234"/>
                  </a:lnTo>
                  <a:lnTo>
                    <a:pt x="1534923" y="2161041"/>
                  </a:lnTo>
                  <a:lnTo>
                    <a:pt x="1577242" y="2143143"/>
                  </a:lnTo>
                  <a:lnTo>
                    <a:pt x="1618653" y="2123581"/>
                  </a:lnTo>
                  <a:lnTo>
                    <a:pt x="1659116" y="2102398"/>
                  </a:lnTo>
                  <a:lnTo>
                    <a:pt x="1698588" y="2079635"/>
                  </a:lnTo>
                  <a:lnTo>
                    <a:pt x="1737026" y="2055335"/>
                  </a:lnTo>
                  <a:lnTo>
                    <a:pt x="1774389" y="2029540"/>
                  </a:lnTo>
                  <a:lnTo>
                    <a:pt x="1810636" y="2002291"/>
                  </a:lnTo>
                  <a:lnTo>
                    <a:pt x="1845723" y="1973630"/>
                  </a:lnTo>
                  <a:lnTo>
                    <a:pt x="1879609" y="1943600"/>
                  </a:lnTo>
                  <a:lnTo>
                    <a:pt x="1912251" y="1912243"/>
                  </a:lnTo>
                  <a:lnTo>
                    <a:pt x="1943609" y="1879601"/>
                  </a:lnTo>
                  <a:lnTo>
                    <a:pt x="1973639" y="1845715"/>
                  </a:lnTo>
                  <a:lnTo>
                    <a:pt x="2002299" y="1810628"/>
                  </a:lnTo>
                  <a:lnTo>
                    <a:pt x="2029549" y="1774382"/>
                  </a:lnTo>
                  <a:lnTo>
                    <a:pt x="2055345" y="1737019"/>
                  </a:lnTo>
                  <a:lnTo>
                    <a:pt x="2079645" y="1698580"/>
                  </a:lnTo>
                  <a:lnTo>
                    <a:pt x="2102408" y="1659109"/>
                  </a:lnTo>
                  <a:lnTo>
                    <a:pt x="2123592" y="1618646"/>
                  </a:lnTo>
                  <a:lnTo>
                    <a:pt x="2143154" y="1577234"/>
                  </a:lnTo>
                  <a:lnTo>
                    <a:pt x="2161052" y="1534916"/>
                  </a:lnTo>
                  <a:lnTo>
                    <a:pt x="2177245" y="1491732"/>
                  </a:lnTo>
                  <a:lnTo>
                    <a:pt x="2191691" y="1447725"/>
                  </a:lnTo>
                  <a:lnTo>
                    <a:pt x="2204346" y="1402938"/>
                  </a:lnTo>
                  <a:lnTo>
                    <a:pt x="2215170" y="1357411"/>
                  </a:lnTo>
                  <a:lnTo>
                    <a:pt x="2224120" y="1311187"/>
                  </a:lnTo>
                  <a:lnTo>
                    <a:pt x="2231155" y="1264309"/>
                  </a:lnTo>
                  <a:lnTo>
                    <a:pt x="2236231" y="1216818"/>
                  </a:lnTo>
                  <a:lnTo>
                    <a:pt x="2239308" y="1168756"/>
                  </a:lnTo>
                  <a:lnTo>
                    <a:pt x="2240343" y="1120165"/>
                  </a:lnTo>
                  <a:close/>
                </a:path>
              </a:pathLst>
            </a:custGeom>
            <a:ln w="9525">
              <a:solidFill>
                <a:srgbClr val="7F7F7F"/>
              </a:solidFill>
            </a:ln>
          </p:spPr>
          <p:txBody>
            <a:bodyPr wrap="square" lIns="0" tIns="0" rIns="0" bIns="0" rtlCol="0"/>
            <a:lstStyle/>
            <a:p>
              <a:pPr rtl="0"/>
              <a:endParaRPr sz="975" dirty="0"/>
            </a:p>
          </p:txBody>
        </p:sp>
        <p:sp>
          <p:nvSpPr>
            <p:cNvPr id="565" name="object 150">
              <a:extLst>
                <a:ext uri="{FF2B5EF4-FFF2-40B4-BE49-F238E27FC236}">
                  <a16:creationId xmlns:a16="http://schemas.microsoft.com/office/drawing/2014/main" id="{238271C5-07FF-4CE0-9557-FBD9BA9D63D8}"/>
                </a:ext>
              </a:extLst>
            </p:cNvPr>
            <p:cNvSpPr/>
            <p:nvPr/>
          </p:nvSpPr>
          <p:spPr>
            <a:xfrm>
              <a:off x="8756795" y="3612099"/>
              <a:ext cx="1581526" cy="1493425"/>
            </a:xfrm>
            <a:custGeom>
              <a:avLst/>
              <a:gdLst/>
              <a:ahLst/>
              <a:cxnLst/>
              <a:rect l="l" t="t" r="r" b="b"/>
              <a:pathLst>
                <a:path w="1555750" h="1555750">
                  <a:moveTo>
                    <a:pt x="777633" y="0"/>
                  </a:moveTo>
                  <a:lnTo>
                    <a:pt x="730262" y="1419"/>
                  </a:lnTo>
                  <a:lnTo>
                    <a:pt x="683641" y="5622"/>
                  </a:lnTo>
                  <a:lnTo>
                    <a:pt x="637852" y="12529"/>
                  </a:lnTo>
                  <a:lnTo>
                    <a:pt x="592977" y="22057"/>
                  </a:lnTo>
                  <a:lnTo>
                    <a:pt x="549096" y="34125"/>
                  </a:lnTo>
                  <a:lnTo>
                    <a:pt x="506291" y="48652"/>
                  </a:lnTo>
                  <a:lnTo>
                    <a:pt x="464644" y="65556"/>
                  </a:lnTo>
                  <a:lnTo>
                    <a:pt x="424235" y="84757"/>
                  </a:lnTo>
                  <a:lnTo>
                    <a:pt x="385146" y="106172"/>
                  </a:lnTo>
                  <a:lnTo>
                    <a:pt x="347459" y="129721"/>
                  </a:lnTo>
                  <a:lnTo>
                    <a:pt x="311254" y="155322"/>
                  </a:lnTo>
                  <a:lnTo>
                    <a:pt x="276613" y="182894"/>
                  </a:lnTo>
                  <a:lnTo>
                    <a:pt x="243618" y="212356"/>
                  </a:lnTo>
                  <a:lnTo>
                    <a:pt x="212350" y="243625"/>
                  </a:lnTo>
                  <a:lnTo>
                    <a:pt x="182889" y="276621"/>
                  </a:lnTo>
                  <a:lnTo>
                    <a:pt x="155318" y="311262"/>
                  </a:lnTo>
                  <a:lnTo>
                    <a:pt x="129717" y="347468"/>
                  </a:lnTo>
                  <a:lnTo>
                    <a:pt x="106169" y="385156"/>
                  </a:lnTo>
                  <a:lnTo>
                    <a:pt x="84754" y="424245"/>
                  </a:lnTo>
                  <a:lnTo>
                    <a:pt x="65554" y="464654"/>
                  </a:lnTo>
                  <a:lnTo>
                    <a:pt x="48650" y="506302"/>
                  </a:lnTo>
                  <a:lnTo>
                    <a:pt x="34124" y="549108"/>
                  </a:lnTo>
                  <a:lnTo>
                    <a:pt x="22056" y="592989"/>
                  </a:lnTo>
                  <a:lnTo>
                    <a:pt x="12528" y="637865"/>
                  </a:lnTo>
                  <a:lnTo>
                    <a:pt x="5622" y="683654"/>
                  </a:lnTo>
                  <a:lnTo>
                    <a:pt x="1419" y="730275"/>
                  </a:lnTo>
                  <a:lnTo>
                    <a:pt x="0" y="777646"/>
                  </a:lnTo>
                  <a:lnTo>
                    <a:pt x="1419" y="825017"/>
                  </a:lnTo>
                  <a:lnTo>
                    <a:pt x="5622" y="871638"/>
                  </a:lnTo>
                  <a:lnTo>
                    <a:pt x="12528" y="917427"/>
                  </a:lnTo>
                  <a:lnTo>
                    <a:pt x="22056" y="962303"/>
                  </a:lnTo>
                  <a:lnTo>
                    <a:pt x="34124" y="1006184"/>
                  </a:lnTo>
                  <a:lnTo>
                    <a:pt x="48650" y="1048989"/>
                  </a:lnTo>
                  <a:lnTo>
                    <a:pt x="65554" y="1090637"/>
                  </a:lnTo>
                  <a:lnTo>
                    <a:pt x="84754" y="1131047"/>
                  </a:lnTo>
                  <a:lnTo>
                    <a:pt x="106169" y="1170136"/>
                  </a:lnTo>
                  <a:lnTo>
                    <a:pt x="129717" y="1207824"/>
                  </a:lnTo>
                  <a:lnTo>
                    <a:pt x="155318" y="1244030"/>
                  </a:lnTo>
                  <a:lnTo>
                    <a:pt x="182889" y="1278671"/>
                  </a:lnTo>
                  <a:lnTo>
                    <a:pt x="212350" y="1311667"/>
                  </a:lnTo>
                  <a:lnTo>
                    <a:pt x="243618" y="1342936"/>
                  </a:lnTo>
                  <a:lnTo>
                    <a:pt x="276613" y="1372398"/>
                  </a:lnTo>
                  <a:lnTo>
                    <a:pt x="311254" y="1399969"/>
                  </a:lnTo>
                  <a:lnTo>
                    <a:pt x="347459" y="1425570"/>
                  </a:lnTo>
                  <a:lnTo>
                    <a:pt x="385146" y="1449119"/>
                  </a:lnTo>
                  <a:lnTo>
                    <a:pt x="424235" y="1470535"/>
                  </a:lnTo>
                  <a:lnTo>
                    <a:pt x="464644" y="1489736"/>
                  </a:lnTo>
                  <a:lnTo>
                    <a:pt x="506291" y="1506640"/>
                  </a:lnTo>
                  <a:lnTo>
                    <a:pt x="549096" y="1521167"/>
                  </a:lnTo>
                  <a:lnTo>
                    <a:pt x="592977" y="1533235"/>
                  </a:lnTo>
                  <a:lnTo>
                    <a:pt x="637852" y="1542763"/>
                  </a:lnTo>
                  <a:lnTo>
                    <a:pt x="683641" y="1549670"/>
                  </a:lnTo>
                  <a:lnTo>
                    <a:pt x="730262" y="1553873"/>
                  </a:lnTo>
                  <a:lnTo>
                    <a:pt x="777633" y="1555292"/>
                  </a:lnTo>
                  <a:lnTo>
                    <a:pt x="825006" y="1553873"/>
                  </a:lnTo>
                  <a:lnTo>
                    <a:pt x="871628" y="1549670"/>
                  </a:lnTo>
                  <a:lnTo>
                    <a:pt x="917418" y="1542763"/>
                  </a:lnTo>
                  <a:lnTo>
                    <a:pt x="962294" y="1533235"/>
                  </a:lnTo>
                  <a:lnTo>
                    <a:pt x="1006176" y="1521167"/>
                  </a:lnTo>
                  <a:lnTo>
                    <a:pt x="1048982" y="1506640"/>
                  </a:lnTo>
                  <a:lnTo>
                    <a:pt x="1090630" y="1489736"/>
                  </a:lnTo>
                  <a:lnTo>
                    <a:pt x="1131040" y="1470535"/>
                  </a:lnTo>
                  <a:lnTo>
                    <a:pt x="1170129" y="1449119"/>
                  </a:lnTo>
                  <a:lnTo>
                    <a:pt x="1207817" y="1425570"/>
                  </a:lnTo>
                  <a:lnTo>
                    <a:pt x="1244022" y="1399969"/>
                  </a:lnTo>
                  <a:lnTo>
                    <a:pt x="1278663" y="1372398"/>
                  </a:lnTo>
                  <a:lnTo>
                    <a:pt x="1311659" y="1342936"/>
                  </a:lnTo>
                  <a:lnTo>
                    <a:pt x="1342928" y="1311667"/>
                  </a:lnTo>
                  <a:lnTo>
                    <a:pt x="1372389" y="1278671"/>
                  </a:lnTo>
                  <a:lnTo>
                    <a:pt x="1399960" y="1244030"/>
                  </a:lnTo>
                  <a:lnTo>
                    <a:pt x="1425561" y="1207824"/>
                  </a:lnTo>
                  <a:lnTo>
                    <a:pt x="1449109" y="1170136"/>
                  </a:lnTo>
                  <a:lnTo>
                    <a:pt x="1470525" y="1131047"/>
                  </a:lnTo>
                  <a:lnTo>
                    <a:pt x="1489725" y="1090637"/>
                  </a:lnTo>
                  <a:lnTo>
                    <a:pt x="1506629" y="1048989"/>
                  </a:lnTo>
                  <a:lnTo>
                    <a:pt x="1521155" y="1006184"/>
                  </a:lnTo>
                  <a:lnTo>
                    <a:pt x="1533223" y="962303"/>
                  </a:lnTo>
                  <a:lnTo>
                    <a:pt x="1542751" y="917427"/>
                  </a:lnTo>
                  <a:lnTo>
                    <a:pt x="1549657" y="871638"/>
                  </a:lnTo>
                  <a:lnTo>
                    <a:pt x="1553860" y="825017"/>
                  </a:lnTo>
                  <a:lnTo>
                    <a:pt x="1555280" y="777646"/>
                  </a:lnTo>
                  <a:lnTo>
                    <a:pt x="1553860" y="730275"/>
                  </a:lnTo>
                  <a:lnTo>
                    <a:pt x="1549657" y="683654"/>
                  </a:lnTo>
                  <a:lnTo>
                    <a:pt x="1542751" y="637865"/>
                  </a:lnTo>
                  <a:lnTo>
                    <a:pt x="1533223" y="592989"/>
                  </a:lnTo>
                  <a:lnTo>
                    <a:pt x="1521155" y="549108"/>
                  </a:lnTo>
                  <a:lnTo>
                    <a:pt x="1506629" y="506302"/>
                  </a:lnTo>
                  <a:lnTo>
                    <a:pt x="1489725" y="464654"/>
                  </a:lnTo>
                  <a:lnTo>
                    <a:pt x="1470525" y="424245"/>
                  </a:lnTo>
                  <a:lnTo>
                    <a:pt x="1449109" y="385156"/>
                  </a:lnTo>
                  <a:lnTo>
                    <a:pt x="1425561" y="347468"/>
                  </a:lnTo>
                  <a:lnTo>
                    <a:pt x="1399960" y="311262"/>
                  </a:lnTo>
                  <a:lnTo>
                    <a:pt x="1372389" y="276621"/>
                  </a:lnTo>
                  <a:lnTo>
                    <a:pt x="1342928" y="243625"/>
                  </a:lnTo>
                  <a:lnTo>
                    <a:pt x="1311659" y="212356"/>
                  </a:lnTo>
                  <a:lnTo>
                    <a:pt x="1278663" y="182894"/>
                  </a:lnTo>
                  <a:lnTo>
                    <a:pt x="1244022" y="155322"/>
                  </a:lnTo>
                  <a:lnTo>
                    <a:pt x="1207817" y="129721"/>
                  </a:lnTo>
                  <a:lnTo>
                    <a:pt x="1170129" y="106172"/>
                  </a:lnTo>
                  <a:lnTo>
                    <a:pt x="1131040" y="84757"/>
                  </a:lnTo>
                  <a:lnTo>
                    <a:pt x="1090630" y="65556"/>
                  </a:lnTo>
                  <a:lnTo>
                    <a:pt x="1048982" y="48652"/>
                  </a:lnTo>
                  <a:lnTo>
                    <a:pt x="1006176" y="34125"/>
                  </a:lnTo>
                  <a:lnTo>
                    <a:pt x="962294" y="22057"/>
                  </a:lnTo>
                  <a:lnTo>
                    <a:pt x="917418" y="12529"/>
                  </a:lnTo>
                  <a:lnTo>
                    <a:pt x="871628" y="5622"/>
                  </a:lnTo>
                  <a:lnTo>
                    <a:pt x="825006" y="1419"/>
                  </a:lnTo>
                  <a:lnTo>
                    <a:pt x="777633" y="0"/>
                  </a:lnTo>
                  <a:close/>
                </a:path>
              </a:pathLst>
            </a:custGeom>
            <a:solidFill>
              <a:srgbClr val="F9FBFC"/>
            </a:solidFill>
          </p:spPr>
          <p:txBody>
            <a:bodyPr wrap="square" lIns="0" tIns="0" rIns="0" bIns="0" rtlCol="0"/>
            <a:lstStyle/>
            <a:p>
              <a:pPr rtl="0"/>
              <a:endParaRPr sz="975" dirty="0"/>
            </a:p>
          </p:txBody>
        </p:sp>
        <p:sp>
          <p:nvSpPr>
            <p:cNvPr id="566" name="object 151">
              <a:extLst>
                <a:ext uri="{FF2B5EF4-FFF2-40B4-BE49-F238E27FC236}">
                  <a16:creationId xmlns:a16="http://schemas.microsoft.com/office/drawing/2014/main" id="{9ECF4494-F7E7-4F58-946A-CFE716561A83}"/>
                </a:ext>
              </a:extLst>
            </p:cNvPr>
            <p:cNvSpPr/>
            <p:nvPr/>
          </p:nvSpPr>
          <p:spPr>
            <a:xfrm>
              <a:off x="8682688" y="3542133"/>
              <a:ext cx="1729349" cy="1633013"/>
            </a:xfrm>
            <a:custGeom>
              <a:avLst/>
              <a:gdLst/>
              <a:ahLst/>
              <a:cxnLst/>
              <a:rect l="l" t="t" r="r" b="b"/>
              <a:pathLst>
                <a:path w="1701164" h="1701164">
                  <a:moveTo>
                    <a:pt x="1701076" y="850531"/>
                  </a:moveTo>
                  <a:lnTo>
                    <a:pt x="1699729" y="802267"/>
                  </a:lnTo>
                  <a:lnTo>
                    <a:pt x="1695738" y="754709"/>
                  </a:lnTo>
                  <a:lnTo>
                    <a:pt x="1689173" y="707930"/>
                  </a:lnTo>
                  <a:lnTo>
                    <a:pt x="1680108" y="662000"/>
                  </a:lnTo>
                  <a:lnTo>
                    <a:pt x="1668612" y="616992"/>
                  </a:lnTo>
                  <a:lnTo>
                    <a:pt x="1654759" y="572978"/>
                  </a:lnTo>
                  <a:lnTo>
                    <a:pt x="1638620" y="530029"/>
                  </a:lnTo>
                  <a:lnTo>
                    <a:pt x="1620267" y="488217"/>
                  </a:lnTo>
                  <a:lnTo>
                    <a:pt x="1599771" y="447614"/>
                  </a:lnTo>
                  <a:lnTo>
                    <a:pt x="1577205" y="408291"/>
                  </a:lnTo>
                  <a:lnTo>
                    <a:pt x="1552640" y="370321"/>
                  </a:lnTo>
                  <a:lnTo>
                    <a:pt x="1526149" y="333776"/>
                  </a:lnTo>
                  <a:lnTo>
                    <a:pt x="1497802" y="298727"/>
                  </a:lnTo>
                  <a:lnTo>
                    <a:pt x="1467672" y="265245"/>
                  </a:lnTo>
                  <a:lnTo>
                    <a:pt x="1435830" y="233403"/>
                  </a:lnTo>
                  <a:lnTo>
                    <a:pt x="1402349" y="203273"/>
                  </a:lnTo>
                  <a:lnTo>
                    <a:pt x="1367299" y="174926"/>
                  </a:lnTo>
                  <a:lnTo>
                    <a:pt x="1330754" y="148435"/>
                  </a:lnTo>
                  <a:lnTo>
                    <a:pt x="1292784" y="123870"/>
                  </a:lnTo>
                  <a:lnTo>
                    <a:pt x="1253462" y="101304"/>
                  </a:lnTo>
                  <a:lnTo>
                    <a:pt x="1212858" y="80808"/>
                  </a:lnTo>
                  <a:lnTo>
                    <a:pt x="1171046" y="62455"/>
                  </a:lnTo>
                  <a:lnTo>
                    <a:pt x="1128097" y="46316"/>
                  </a:lnTo>
                  <a:lnTo>
                    <a:pt x="1084083" y="32463"/>
                  </a:lnTo>
                  <a:lnTo>
                    <a:pt x="1039075" y="20968"/>
                  </a:lnTo>
                  <a:lnTo>
                    <a:pt x="993145" y="11902"/>
                  </a:lnTo>
                  <a:lnTo>
                    <a:pt x="946366" y="5337"/>
                  </a:lnTo>
                  <a:lnTo>
                    <a:pt x="898808" y="1346"/>
                  </a:lnTo>
                  <a:lnTo>
                    <a:pt x="850544" y="0"/>
                  </a:lnTo>
                  <a:lnTo>
                    <a:pt x="802279" y="1346"/>
                  </a:lnTo>
                  <a:lnTo>
                    <a:pt x="754720" y="5337"/>
                  </a:lnTo>
                  <a:lnTo>
                    <a:pt x="707939" y="11902"/>
                  </a:lnTo>
                  <a:lnTo>
                    <a:pt x="662008" y="20968"/>
                  </a:lnTo>
                  <a:lnTo>
                    <a:pt x="616999" y="32463"/>
                  </a:lnTo>
                  <a:lnTo>
                    <a:pt x="572984" y="46316"/>
                  </a:lnTo>
                  <a:lnTo>
                    <a:pt x="530034" y="62455"/>
                  </a:lnTo>
                  <a:lnTo>
                    <a:pt x="488221" y="80808"/>
                  </a:lnTo>
                  <a:lnTo>
                    <a:pt x="447618" y="101304"/>
                  </a:lnTo>
                  <a:lnTo>
                    <a:pt x="408295" y="123870"/>
                  </a:lnTo>
                  <a:lnTo>
                    <a:pt x="370324" y="148435"/>
                  </a:lnTo>
                  <a:lnTo>
                    <a:pt x="333778" y="174926"/>
                  </a:lnTo>
                  <a:lnTo>
                    <a:pt x="298729" y="203273"/>
                  </a:lnTo>
                  <a:lnTo>
                    <a:pt x="265247" y="233403"/>
                  </a:lnTo>
                  <a:lnTo>
                    <a:pt x="233405" y="265245"/>
                  </a:lnTo>
                  <a:lnTo>
                    <a:pt x="203274" y="298727"/>
                  </a:lnTo>
                  <a:lnTo>
                    <a:pt x="174927" y="333776"/>
                  </a:lnTo>
                  <a:lnTo>
                    <a:pt x="148435" y="370321"/>
                  </a:lnTo>
                  <a:lnTo>
                    <a:pt x="123870" y="408291"/>
                  </a:lnTo>
                  <a:lnTo>
                    <a:pt x="101304" y="447614"/>
                  </a:lnTo>
                  <a:lnTo>
                    <a:pt x="80809" y="488217"/>
                  </a:lnTo>
                  <a:lnTo>
                    <a:pt x="62455" y="530029"/>
                  </a:lnTo>
                  <a:lnTo>
                    <a:pt x="46316" y="572978"/>
                  </a:lnTo>
                  <a:lnTo>
                    <a:pt x="32463" y="616992"/>
                  </a:lnTo>
                  <a:lnTo>
                    <a:pt x="20968" y="662000"/>
                  </a:lnTo>
                  <a:lnTo>
                    <a:pt x="11902" y="707930"/>
                  </a:lnTo>
                  <a:lnTo>
                    <a:pt x="5337" y="754709"/>
                  </a:lnTo>
                  <a:lnTo>
                    <a:pt x="1346" y="802267"/>
                  </a:lnTo>
                  <a:lnTo>
                    <a:pt x="0" y="850531"/>
                  </a:lnTo>
                  <a:lnTo>
                    <a:pt x="1346" y="898795"/>
                  </a:lnTo>
                  <a:lnTo>
                    <a:pt x="5337" y="946353"/>
                  </a:lnTo>
                  <a:lnTo>
                    <a:pt x="11902" y="993133"/>
                  </a:lnTo>
                  <a:lnTo>
                    <a:pt x="20968" y="1039063"/>
                  </a:lnTo>
                  <a:lnTo>
                    <a:pt x="32463" y="1084071"/>
                  </a:lnTo>
                  <a:lnTo>
                    <a:pt x="46316" y="1128086"/>
                  </a:lnTo>
                  <a:lnTo>
                    <a:pt x="62455" y="1171036"/>
                  </a:lnTo>
                  <a:lnTo>
                    <a:pt x="80809" y="1212848"/>
                  </a:lnTo>
                  <a:lnTo>
                    <a:pt x="101304" y="1253452"/>
                  </a:lnTo>
                  <a:lnTo>
                    <a:pt x="123870" y="1292775"/>
                  </a:lnTo>
                  <a:lnTo>
                    <a:pt x="148435" y="1330745"/>
                  </a:lnTo>
                  <a:lnTo>
                    <a:pt x="174927" y="1367291"/>
                  </a:lnTo>
                  <a:lnTo>
                    <a:pt x="203274" y="1402341"/>
                  </a:lnTo>
                  <a:lnTo>
                    <a:pt x="233405" y="1435823"/>
                  </a:lnTo>
                  <a:lnTo>
                    <a:pt x="265247" y="1467666"/>
                  </a:lnTo>
                  <a:lnTo>
                    <a:pt x="298729" y="1497797"/>
                  </a:lnTo>
                  <a:lnTo>
                    <a:pt x="333778" y="1526144"/>
                  </a:lnTo>
                  <a:lnTo>
                    <a:pt x="370324" y="1552636"/>
                  </a:lnTo>
                  <a:lnTo>
                    <a:pt x="408295" y="1577202"/>
                  </a:lnTo>
                  <a:lnTo>
                    <a:pt x="447618" y="1599768"/>
                  </a:lnTo>
                  <a:lnTo>
                    <a:pt x="488221" y="1620264"/>
                  </a:lnTo>
                  <a:lnTo>
                    <a:pt x="530034" y="1638618"/>
                  </a:lnTo>
                  <a:lnTo>
                    <a:pt x="572984" y="1654758"/>
                  </a:lnTo>
                  <a:lnTo>
                    <a:pt x="616999" y="1668611"/>
                  </a:lnTo>
                  <a:lnTo>
                    <a:pt x="662008" y="1680107"/>
                  </a:lnTo>
                  <a:lnTo>
                    <a:pt x="707939" y="1689173"/>
                  </a:lnTo>
                  <a:lnTo>
                    <a:pt x="754720" y="1695738"/>
                  </a:lnTo>
                  <a:lnTo>
                    <a:pt x="802279" y="1699729"/>
                  </a:lnTo>
                  <a:lnTo>
                    <a:pt x="850544" y="1701076"/>
                  </a:lnTo>
                  <a:lnTo>
                    <a:pt x="898808" y="1699729"/>
                  </a:lnTo>
                  <a:lnTo>
                    <a:pt x="946366" y="1695738"/>
                  </a:lnTo>
                  <a:lnTo>
                    <a:pt x="993145" y="1689173"/>
                  </a:lnTo>
                  <a:lnTo>
                    <a:pt x="1039075" y="1680107"/>
                  </a:lnTo>
                  <a:lnTo>
                    <a:pt x="1084083" y="1668611"/>
                  </a:lnTo>
                  <a:lnTo>
                    <a:pt x="1128097" y="1654758"/>
                  </a:lnTo>
                  <a:lnTo>
                    <a:pt x="1171046" y="1638618"/>
                  </a:lnTo>
                  <a:lnTo>
                    <a:pt x="1212858" y="1620264"/>
                  </a:lnTo>
                  <a:lnTo>
                    <a:pt x="1253462" y="1599768"/>
                  </a:lnTo>
                  <a:lnTo>
                    <a:pt x="1292784" y="1577202"/>
                  </a:lnTo>
                  <a:lnTo>
                    <a:pt x="1330754" y="1552636"/>
                  </a:lnTo>
                  <a:lnTo>
                    <a:pt x="1367299" y="1526144"/>
                  </a:lnTo>
                  <a:lnTo>
                    <a:pt x="1402349" y="1497797"/>
                  </a:lnTo>
                  <a:lnTo>
                    <a:pt x="1435830" y="1467666"/>
                  </a:lnTo>
                  <a:lnTo>
                    <a:pt x="1467672" y="1435823"/>
                  </a:lnTo>
                  <a:lnTo>
                    <a:pt x="1497802" y="1402341"/>
                  </a:lnTo>
                  <a:lnTo>
                    <a:pt x="1526149" y="1367291"/>
                  </a:lnTo>
                  <a:lnTo>
                    <a:pt x="1552640" y="1330745"/>
                  </a:lnTo>
                  <a:lnTo>
                    <a:pt x="1577205" y="1292775"/>
                  </a:lnTo>
                  <a:lnTo>
                    <a:pt x="1599771" y="1253452"/>
                  </a:lnTo>
                  <a:lnTo>
                    <a:pt x="1620267" y="1212848"/>
                  </a:lnTo>
                  <a:lnTo>
                    <a:pt x="1638620" y="1171036"/>
                  </a:lnTo>
                  <a:lnTo>
                    <a:pt x="1654759" y="1128086"/>
                  </a:lnTo>
                  <a:lnTo>
                    <a:pt x="1668612" y="1084071"/>
                  </a:lnTo>
                  <a:lnTo>
                    <a:pt x="1680108" y="1039063"/>
                  </a:lnTo>
                  <a:lnTo>
                    <a:pt x="1689173" y="993133"/>
                  </a:lnTo>
                  <a:lnTo>
                    <a:pt x="1695738" y="946353"/>
                  </a:lnTo>
                  <a:lnTo>
                    <a:pt x="1699729" y="898795"/>
                  </a:lnTo>
                  <a:lnTo>
                    <a:pt x="1701076" y="850531"/>
                  </a:lnTo>
                  <a:close/>
                </a:path>
              </a:pathLst>
            </a:custGeom>
            <a:ln w="9525">
              <a:solidFill>
                <a:srgbClr val="7F7F7F"/>
              </a:solidFill>
            </a:ln>
          </p:spPr>
          <p:txBody>
            <a:bodyPr wrap="square" lIns="0" tIns="0" rIns="0" bIns="0" rtlCol="0"/>
            <a:lstStyle/>
            <a:p>
              <a:pPr rtl="0"/>
              <a:endParaRPr sz="975" dirty="0"/>
            </a:p>
          </p:txBody>
        </p:sp>
        <p:sp>
          <p:nvSpPr>
            <p:cNvPr id="567" name="object 152">
              <a:extLst>
                <a:ext uri="{FF2B5EF4-FFF2-40B4-BE49-F238E27FC236}">
                  <a16:creationId xmlns:a16="http://schemas.microsoft.com/office/drawing/2014/main" id="{7587ED64-6B76-4064-960E-09E4A9F064EE}"/>
                </a:ext>
              </a:extLst>
            </p:cNvPr>
            <p:cNvSpPr/>
            <p:nvPr/>
          </p:nvSpPr>
          <p:spPr>
            <a:xfrm>
              <a:off x="8947280" y="3791980"/>
              <a:ext cx="1190340" cy="1124031"/>
            </a:xfrm>
            <a:custGeom>
              <a:avLst/>
              <a:gdLst/>
              <a:ahLst/>
              <a:cxnLst/>
              <a:rect l="l" t="t" r="r" b="b"/>
              <a:pathLst>
                <a:path w="1170939" h="1170939">
                  <a:moveTo>
                    <a:pt x="585368" y="0"/>
                  </a:moveTo>
                  <a:lnTo>
                    <a:pt x="537358" y="1940"/>
                  </a:lnTo>
                  <a:lnTo>
                    <a:pt x="490418" y="7661"/>
                  </a:lnTo>
                  <a:lnTo>
                    <a:pt x="444697" y="17012"/>
                  </a:lnTo>
                  <a:lnTo>
                    <a:pt x="400346" y="29842"/>
                  </a:lnTo>
                  <a:lnTo>
                    <a:pt x="357516" y="46000"/>
                  </a:lnTo>
                  <a:lnTo>
                    <a:pt x="316357" y="65337"/>
                  </a:lnTo>
                  <a:lnTo>
                    <a:pt x="277020" y="87701"/>
                  </a:lnTo>
                  <a:lnTo>
                    <a:pt x="239656" y="112941"/>
                  </a:lnTo>
                  <a:lnTo>
                    <a:pt x="204416" y="140908"/>
                  </a:lnTo>
                  <a:lnTo>
                    <a:pt x="171450" y="171449"/>
                  </a:lnTo>
                  <a:lnTo>
                    <a:pt x="140908" y="204416"/>
                  </a:lnTo>
                  <a:lnTo>
                    <a:pt x="112941" y="239656"/>
                  </a:lnTo>
                  <a:lnTo>
                    <a:pt x="87701" y="277020"/>
                  </a:lnTo>
                  <a:lnTo>
                    <a:pt x="65337" y="316357"/>
                  </a:lnTo>
                  <a:lnTo>
                    <a:pt x="46000" y="357516"/>
                  </a:lnTo>
                  <a:lnTo>
                    <a:pt x="29842" y="400346"/>
                  </a:lnTo>
                  <a:lnTo>
                    <a:pt x="17012" y="444697"/>
                  </a:lnTo>
                  <a:lnTo>
                    <a:pt x="7661" y="490418"/>
                  </a:lnTo>
                  <a:lnTo>
                    <a:pt x="1940" y="537358"/>
                  </a:lnTo>
                  <a:lnTo>
                    <a:pt x="0" y="585368"/>
                  </a:lnTo>
                  <a:lnTo>
                    <a:pt x="1940" y="633377"/>
                  </a:lnTo>
                  <a:lnTo>
                    <a:pt x="7661" y="680318"/>
                  </a:lnTo>
                  <a:lnTo>
                    <a:pt x="17012" y="726039"/>
                  </a:lnTo>
                  <a:lnTo>
                    <a:pt x="29842" y="770390"/>
                  </a:lnTo>
                  <a:lnTo>
                    <a:pt x="46000" y="813220"/>
                  </a:lnTo>
                  <a:lnTo>
                    <a:pt x="65337" y="854379"/>
                  </a:lnTo>
                  <a:lnTo>
                    <a:pt x="87701" y="893716"/>
                  </a:lnTo>
                  <a:lnTo>
                    <a:pt x="112941" y="931079"/>
                  </a:lnTo>
                  <a:lnTo>
                    <a:pt x="140908" y="966320"/>
                  </a:lnTo>
                  <a:lnTo>
                    <a:pt x="171450" y="999286"/>
                  </a:lnTo>
                  <a:lnTo>
                    <a:pt x="204416" y="1029828"/>
                  </a:lnTo>
                  <a:lnTo>
                    <a:pt x="239656" y="1057794"/>
                  </a:lnTo>
                  <a:lnTo>
                    <a:pt x="277020" y="1083035"/>
                  </a:lnTo>
                  <a:lnTo>
                    <a:pt x="316357" y="1105399"/>
                  </a:lnTo>
                  <a:lnTo>
                    <a:pt x="357516" y="1124735"/>
                  </a:lnTo>
                  <a:lnTo>
                    <a:pt x="400346" y="1140894"/>
                  </a:lnTo>
                  <a:lnTo>
                    <a:pt x="444697" y="1153724"/>
                  </a:lnTo>
                  <a:lnTo>
                    <a:pt x="490418" y="1163075"/>
                  </a:lnTo>
                  <a:lnTo>
                    <a:pt x="537358" y="1168796"/>
                  </a:lnTo>
                  <a:lnTo>
                    <a:pt x="585368" y="1170736"/>
                  </a:lnTo>
                  <a:lnTo>
                    <a:pt x="633377" y="1168796"/>
                  </a:lnTo>
                  <a:lnTo>
                    <a:pt x="680318" y="1163075"/>
                  </a:lnTo>
                  <a:lnTo>
                    <a:pt x="726039" y="1153724"/>
                  </a:lnTo>
                  <a:lnTo>
                    <a:pt x="770390" y="1140894"/>
                  </a:lnTo>
                  <a:lnTo>
                    <a:pt x="813220" y="1124735"/>
                  </a:lnTo>
                  <a:lnTo>
                    <a:pt x="854379" y="1105399"/>
                  </a:lnTo>
                  <a:lnTo>
                    <a:pt x="893716" y="1083035"/>
                  </a:lnTo>
                  <a:lnTo>
                    <a:pt x="931079" y="1057794"/>
                  </a:lnTo>
                  <a:lnTo>
                    <a:pt x="966320" y="1029828"/>
                  </a:lnTo>
                  <a:lnTo>
                    <a:pt x="999286" y="999286"/>
                  </a:lnTo>
                  <a:lnTo>
                    <a:pt x="1029828" y="966320"/>
                  </a:lnTo>
                  <a:lnTo>
                    <a:pt x="1057794" y="931079"/>
                  </a:lnTo>
                  <a:lnTo>
                    <a:pt x="1083035" y="893716"/>
                  </a:lnTo>
                  <a:lnTo>
                    <a:pt x="1105399" y="854379"/>
                  </a:lnTo>
                  <a:lnTo>
                    <a:pt x="1124735" y="813220"/>
                  </a:lnTo>
                  <a:lnTo>
                    <a:pt x="1140894" y="770390"/>
                  </a:lnTo>
                  <a:lnTo>
                    <a:pt x="1153724" y="726039"/>
                  </a:lnTo>
                  <a:lnTo>
                    <a:pt x="1163075" y="680318"/>
                  </a:lnTo>
                  <a:lnTo>
                    <a:pt x="1168796" y="633377"/>
                  </a:lnTo>
                  <a:lnTo>
                    <a:pt x="1170736" y="585368"/>
                  </a:lnTo>
                  <a:lnTo>
                    <a:pt x="1168796" y="537358"/>
                  </a:lnTo>
                  <a:lnTo>
                    <a:pt x="1163075" y="490418"/>
                  </a:lnTo>
                  <a:lnTo>
                    <a:pt x="1153724" y="444697"/>
                  </a:lnTo>
                  <a:lnTo>
                    <a:pt x="1140894" y="400346"/>
                  </a:lnTo>
                  <a:lnTo>
                    <a:pt x="1124735" y="357516"/>
                  </a:lnTo>
                  <a:lnTo>
                    <a:pt x="1105399" y="316357"/>
                  </a:lnTo>
                  <a:lnTo>
                    <a:pt x="1083035" y="277020"/>
                  </a:lnTo>
                  <a:lnTo>
                    <a:pt x="1057794" y="239656"/>
                  </a:lnTo>
                  <a:lnTo>
                    <a:pt x="1029828" y="204416"/>
                  </a:lnTo>
                  <a:lnTo>
                    <a:pt x="999286" y="171449"/>
                  </a:lnTo>
                  <a:lnTo>
                    <a:pt x="966320" y="140908"/>
                  </a:lnTo>
                  <a:lnTo>
                    <a:pt x="931079" y="112941"/>
                  </a:lnTo>
                  <a:lnTo>
                    <a:pt x="893716" y="87701"/>
                  </a:lnTo>
                  <a:lnTo>
                    <a:pt x="854379" y="65337"/>
                  </a:lnTo>
                  <a:lnTo>
                    <a:pt x="813220" y="46000"/>
                  </a:lnTo>
                  <a:lnTo>
                    <a:pt x="770390" y="29842"/>
                  </a:lnTo>
                  <a:lnTo>
                    <a:pt x="726039" y="17012"/>
                  </a:lnTo>
                  <a:lnTo>
                    <a:pt x="680318" y="7661"/>
                  </a:lnTo>
                  <a:lnTo>
                    <a:pt x="633377" y="1940"/>
                  </a:lnTo>
                  <a:lnTo>
                    <a:pt x="585368" y="0"/>
                  </a:lnTo>
                  <a:close/>
                </a:path>
              </a:pathLst>
            </a:custGeom>
            <a:solidFill>
              <a:srgbClr val="F9FBFC"/>
            </a:solidFill>
          </p:spPr>
          <p:txBody>
            <a:bodyPr wrap="square" lIns="0" tIns="0" rIns="0" bIns="0" rtlCol="0"/>
            <a:lstStyle/>
            <a:p>
              <a:pPr rtl="0"/>
              <a:endParaRPr sz="975" dirty="0"/>
            </a:p>
          </p:txBody>
        </p:sp>
        <p:sp>
          <p:nvSpPr>
            <p:cNvPr id="568" name="object 153">
              <a:extLst>
                <a:ext uri="{FF2B5EF4-FFF2-40B4-BE49-F238E27FC236}">
                  <a16:creationId xmlns:a16="http://schemas.microsoft.com/office/drawing/2014/main" id="{CF8E02EF-1461-4D1B-9265-E96DCD23A5E7}"/>
                </a:ext>
              </a:extLst>
            </p:cNvPr>
            <p:cNvSpPr/>
            <p:nvPr/>
          </p:nvSpPr>
          <p:spPr>
            <a:xfrm>
              <a:off x="8905945" y="3752955"/>
              <a:ext cx="1272967" cy="1202055"/>
            </a:xfrm>
            <a:custGeom>
              <a:avLst/>
              <a:gdLst/>
              <a:ahLst/>
              <a:cxnLst/>
              <a:rect l="l" t="t" r="r" b="b"/>
              <a:pathLst>
                <a:path w="1252220" h="1252220">
                  <a:moveTo>
                    <a:pt x="1252054" y="626021"/>
                  </a:moveTo>
                  <a:lnTo>
                    <a:pt x="1250171" y="577097"/>
                  </a:lnTo>
                  <a:lnTo>
                    <a:pt x="1244613" y="529203"/>
                  </a:lnTo>
                  <a:lnTo>
                    <a:pt x="1235521" y="482479"/>
                  </a:lnTo>
                  <a:lnTo>
                    <a:pt x="1223033" y="437062"/>
                  </a:lnTo>
                  <a:lnTo>
                    <a:pt x="1207288" y="393093"/>
                  </a:lnTo>
                  <a:lnTo>
                    <a:pt x="1188425" y="350711"/>
                  </a:lnTo>
                  <a:lnTo>
                    <a:pt x="1166585" y="310054"/>
                  </a:lnTo>
                  <a:lnTo>
                    <a:pt x="1141905" y="271263"/>
                  </a:lnTo>
                  <a:lnTo>
                    <a:pt x="1114526" y="234475"/>
                  </a:lnTo>
                  <a:lnTo>
                    <a:pt x="1084585" y="199831"/>
                  </a:lnTo>
                  <a:lnTo>
                    <a:pt x="1052223" y="167469"/>
                  </a:lnTo>
                  <a:lnTo>
                    <a:pt x="1017579" y="137528"/>
                  </a:lnTo>
                  <a:lnTo>
                    <a:pt x="980791" y="110149"/>
                  </a:lnTo>
                  <a:lnTo>
                    <a:pt x="941999" y="85469"/>
                  </a:lnTo>
                  <a:lnTo>
                    <a:pt x="901343" y="63628"/>
                  </a:lnTo>
                  <a:lnTo>
                    <a:pt x="858960" y="44766"/>
                  </a:lnTo>
                  <a:lnTo>
                    <a:pt x="814991" y="29021"/>
                  </a:lnTo>
                  <a:lnTo>
                    <a:pt x="769575" y="16533"/>
                  </a:lnTo>
                  <a:lnTo>
                    <a:pt x="722851" y="7441"/>
                  </a:lnTo>
                  <a:lnTo>
                    <a:pt x="674957" y="1883"/>
                  </a:lnTo>
                  <a:lnTo>
                    <a:pt x="626033" y="0"/>
                  </a:lnTo>
                  <a:lnTo>
                    <a:pt x="577110" y="1883"/>
                  </a:lnTo>
                  <a:lnTo>
                    <a:pt x="529216" y="7441"/>
                  </a:lnTo>
                  <a:lnTo>
                    <a:pt x="482491" y="16533"/>
                  </a:lnTo>
                  <a:lnTo>
                    <a:pt x="437074" y="29021"/>
                  </a:lnTo>
                  <a:lnTo>
                    <a:pt x="393104" y="44766"/>
                  </a:lnTo>
                  <a:lnTo>
                    <a:pt x="350721" y="63628"/>
                  </a:lnTo>
                  <a:lnTo>
                    <a:pt x="310064" y="85469"/>
                  </a:lnTo>
                  <a:lnTo>
                    <a:pt x="271271" y="110149"/>
                  </a:lnTo>
                  <a:lnTo>
                    <a:pt x="234483" y="137528"/>
                  </a:lnTo>
                  <a:lnTo>
                    <a:pt x="199838" y="167469"/>
                  </a:lnTo>
                  <a:lnTo>
                    <a:pt x="167475" y="199831"/>
                  </a:lnTo>
                  <a:lnTo>
                    <a:pt x="137533" y="234475"/>
                  </a:lnTo>
                  <a:lnTo>
                    <a:pt x="110153" y="271263"/>
                  </a:lnTo>
                  <a:lnTo>
                    <a:pt x="85472" y="310054"/>
                  </a:lnTo>
                  <a:lnTo>
                    <a:pt x="63631" y="350711"/>
                  </a:lnTo>
                  <a:lnTo>
                    <a:pt x="44768" y="393093"/>
                  </a:lnTo>
                  <a:lnTo>
                    <a:pt x="29022" y="437062"/>
                  </a:lnTo>
                  <a:lnTo>
                    <a:pt x="16534" y="482479"/>
                  </a:lnTo>
                  <a:lnTo>
                    <a:pt x="7441" y="529203"/>
                  </a:lnTo>
                  <a:lnTo>
                    <a:pt x="1883" y="577097"/>
                  </a:lnTo>
                  <a:lnTo>
                    <a:pt x="0" y="626021"/>
                  </a:lnTo>
                  <a:lnTo>
                    <a:pt x="1883" y="674944"/>
                  </a:lnTo>
                  <a:lnTo>
                    <a:pt x="7441" y="722838"/>
                  </a:lnTo>
                  <a:lnTo>
                    <a:pt x="16534" y="769562"/>
                  </a:lnTo>
                  <a:lnTo>
                    <a:pt x="29022" y="814979"/>
                  </a:lnTo>
                  <a:lnTo>
                    <a:pt x="44768" y="858948"/>
                  </a:lnTo>
                  <a:lnTo>
                    <a:pt x="63631" y="901330"/>
                  </a:lnTo>
                  <a:lnTo>
                    <a:pt x="85472" y="941987"/>
                  </a:lnTo>
                  <a:lnTo>
                    <a:pt x="110153" y="980778"/>
                  </a:lnTo>
                  <a:lnTo>
                    <a:pt x="137533" y="1017566"/>
                  </a:lnTo>
                  <a:lnTo>
                    <a:pt x="167475" y="1052210"/>
                  </a:lnTo>
                  <a:lnTo>
                    <a:pt x="199838" y="1084572"/>
                  </a:lnTo>
                  <a:lnTo>
                    <a:pt x="234483" y="1114513"/>
                  </a:lnTo>
                  <a:lnTo>
                    <a:pt x="271271" y="1141892"/>
                  </a:lnTo>
                  <a:lnTo>
                    <a:pt x="310064" y="1166572"/>
                  </a:lnTo>
                  <a:lnTo>
                    <a:pt x="350721" y="1188413"/>
                  </a:lnTo>
                  <a:lnTo>
                    <a:pt x="393104" y="1207275"/>
                  </a:lnTo>
                  <a:lnTo>
                    <a:pt x="437074" y="1223020"/>
                  </a:lnTo>
                  <a:lnTo>
                    <a:pt x="482491" y="1235508"/>
                  </a:lnTo>
                  <a:lnTo>
                    <a:pt x="529216" y="1244601"/>
                  </a:lnTo>
                  <a:lnTo>
                    <a:pt x="577110" y="1250158"/>
                  </a:lnTo>
                  <a:lnTo>
                    <a:pt x="626033" y="1252042"/>
                  </a:lnTo>
                  <a:lnTo>
                    <a:pt x="674957" y="1250158"/>
                  </a:lnTo>
                  <a:lnTo>
                    <a:pt x="722851" y="1244601"/>
                  </a:lnTo>
                  <a:lnTo>
                    <a:pt x="769575" y="1235508"/>
                  </a:lnTo>
                  <a:lnTo>
                    <a:pt x="814991" y="1223020"/>
                  </a:lnTo>
                  <a:lnTo>
                    <a:pt x="858960" y="1207275"/>
                  </a:lnTo>
                  <a:lnTo>
                    <a:pt x="901343" y="1188413"/>
                  </a:lnTo>
                  <a:lnTo>
                    <a:pt x="941999" y="1166572"/>
                  </a:lnTo>
                  <a:lnTo>
                    <a:pt x="980791" y="1141892"/>
                  </a:lnTo>
                  <a:lnTo>
                    <a:pt x="1017579" y="1114513"/>
                  </a:lnTo>
                  <a:lnTo>
                    <a:pt x="1052223" y="1084572"/>
                  </a:lnTo>
                  <a:lnTo>
                    <a:pt x="1084585" y="1052210"/>
                  </a:lnTo>
                  <a:lnTo>
                    <a:pt x="1114526" y="1017566"/>
                  </a:lnTo>
                  <a:lnTo>
                    <a:pt x="1141905" y="980778"/>
                  </a:lnTo>
                  <a:lnTo>
                    <a:pt x="1166585" y="941987"/>
                  </a:lnTo>
                  <a:lnTo>
                    <a:pt x="1188425" y="901330"/>
                  </a:lnTo>
                  <a:lnTo>
                    <a:pt x="1207288" y="858948"/>
                  </a:lnTo>
                  <a:lnTo>
                    <a:pt x="1223033" y="814979"/>
                  </a:lnTo>
                  <a:lnTo>
                    <a:pt x="1235521" y="769562"/>
                  </a:lnTo>
                  <a:lnTo>
                    <a:pt x="1244613" y="722838"/>
                  </a:lnTo>
                  <a:lnTo>
                    <a:pt x="1250171" y="674944"/>
                  </a:lnTo>
                  <a:lnTo>
                    <a:pt x="1252054" y="626021"/>
                  </a:lnTo>
                  <a:close/>
                </a:path>
              </a:pathLst>
            </a:custGeom>
            <a:ln w="9525">
              <a:solidFill>
                <a:srgbClr val="7F7F7F"/>
              </a:solidFill>
            </a:ln>
          </p:spPr>
          <p:txBody>
            <a:bodyPr wrap="square" lIns="0" tIns="0" rIns="0" bIns="0" rtlCol="0"/>
            <a:lstStyle/>
            <a:p>
              <a:pPr rtl="0"/>
              <a:endParaRPr sz="975" dirty="0"/>
            </a:p>
          </p:txBody>
        </p:sp>
        <p:sp>
          <p:nvSpPr>
            <p:cNvPr id="569" name="object 154">
              <a:extLst>
                <a:ext uri="{FF2B5EF4-FFF2-40B4-BE49-F238E27FC236}">
                  <a16:creationId xmlns:a16="http://schemas.microsoft.com/office/drawing/2014/main" id="{FF6D6A3C-322C-49D9-9929-0EC692CDCDC6}"/>
                </a:ext>
              </a:extLst>
            </p:cNvPr>
            <p:cNvSpPr/>
            <p:nvPr/>
          </p:nvSpPr>
          <p:spPr>
            <a:xfrm>
              <a:off x="9532402" y="3846849"/>
              <a:ext cx="0" cy="468143"/>
            </a:xfrm>
            <a:custGeom>
              <a:avLst/>
              <a:gdLst/>
              <a:ahLst/>
              <a:cxnLst/>
              <a:rect l="l" t="t" r="r" b="b"/>
              <a:pathLst>
                <a:path h="487679">
                  <a:moveTo>
                    <a:pt x="0" y="0"/>
                  </a:moveTo>
                  <a:lnTo>
                    <a:pt x="0" y="487083"/>
                  </a:lnTo>
                </a:path>
              </a:pathLst>
            </a:custGeom>
            <a:ln w="9525">
              <a:solidFill>
                <a:srgbClr val="8FD1EE"/>
              </a:solidFill>
              <a:prstDash val="sysDash"/>
            </a:ln>
          </p:spPr>
          <p:txBody>
            <a:bodyPr wrap="square" lIns="0" tIns="0" rIns="0" bIns="0" rtlCol="0"/>
            <a:lstStyle/>
            <a:p>
              <a:pPr rtl="0"/>
              <a:endParaRPr sz="975" dirty="0"/>
            </a:p>
          </p:txBody>
        </p:sp>
        <p:sp>
          <p:nvSpPr>
            <p:cNvPr id="570" name="object 155">
              <a:extLst>
                <a:ext uri="{FF2B5EF4-FFF2-40B4-BE49-F238E27FC236}">
                  <a16:creationId xmlns:a16="http://schemas.microsoft.com/office/drawing/2014/main" id="{58DC3F8C-928C-4329-95DD-6592DE5EB3D9}"/>
                </a:ext>
              </a:extLst>
            </p:cNvPr>
            <p:cNvSpPr/>
            <p:nvPr/>
          </p:nvSpPr>
          <p:spPr>
            <a:xfrm>
              <a:off x="9532402" y="4316338"/>
              <a:ext cx="376339" cy="406577"/>
            </a:xfrm>
            <a:custGeom>
              <a:avLst/>
              <a:gdLst/>
              <a:ahLst/>
              <a:cxnLst/>
              <a:rect l="l" t="t" r="r" b="b"/>
              <a:pathLst>
                <a:path w="370204" h="423545">
                  <a:moveTo>
                    <a:pt x="0" y="0"/>
                  </a:moveTo>
                  <a:lnTo>
                    <a:pt x="369697" y="423532"/>
                  </a:lnTo>
                </a:path>
              </a:pathLst>
            </a:custGeom>
            <a:ln w="9525">
              <a:solidFill>
                <a:srgbClr val="8FD1EE"/>
              </a:solidFill>
              <a:prstDash val="sysDash"/>
            </a:ln>
          </p:spPr>
          <p:txBody>
            <a:bodyPr wrap="square" lIns="0" tIns="0" rIns="0" bIns="0" rtlCol="0"/>
            <a:lstStyle/>
            <a:p>
              <a:pPr rtl="0"/>
              <a:endParaRPr sz="975" dirty="0"/>
            </a:p>
          </p:txBody>
        </p:sp>
        <p:sp>
          <p:nvSpPr>
            <p:cNvPr id="571" name="object 156">
              <a:extLst>
                <a:ext uri="{FF2B5EF4-FFF2-40B4-BE49-F238E27FC236}">
                  <a16:creationId xmlns:a16="http://schemas.microsoft.com/office/drawing/2014/main" id="{34E7052D-54A1-4A36-A4ED-AFE950BE77A4}"/>
                </a:ext>
              </a:extLst>
            </p:cNvPr>
            <p:cNvSpPr/>
            <p:nvPr/>
          </p:nvSpPr>
          <p:spPr>
            <a:xfrm>
              <a:off x="9154545" y="4316338"/>
              <a:ext cx="376339" cy="406577"/>
            </a:xfrm>
            <a:custGeom>
              <a:avLst/>
              <a:gdLst/>
              <a:ahLst/>
              <a:cxnLst/>
              <a:rect l="l" t="t" r="r" b="b"/>
              <a:pathLst>
                <a:path w="370204" h="423545">
                  <a:moveTo>
                    <a:pt x="369697" y="0"/>
                  </a:moveTo>
                  <a:lnTo>
                    <a:pt x="0" y="423532"/>
                  </a:lnTo>
                </a:path>
              </a:pathLst>
            </a:custGeom>
            <a:ln w="9525">
              <a:solidFill>
                <a:srgbClr val="8FD1EE"/>
              </a:solidFill>
              <a:prstDash val="sysDash"/>
            </a:ln>
          </p:spPr>
          <p:txBody>
            <a:bodyPr wrap="square" lIns="0" tIns="0" rIns="0" bIns="0" rtlCol="0"/>
            <a:lstStyle/>
            <a:p>
              <a:pPr rtl="0"/>
              <a:endParaRPr sz="975" dirty="0"/>
            </a:p>
          </p:txBody>
        </p:sp>
        <p:sp>
          <p:nvSpPr>
            <p:cNvPr id="572" name="object 157">
              <a:extLst>
                <a:ext uri="{FF2B5EF4-FFF2-40B4-BE49-F238E27FC236}">
                  <a16:creationId xmlns:a16="http://schemas.microsoft.com/office/drawing/2014/main" id="{2255CE86-3CBC-48E1-B4F4-0D889A59AB6E}"/>
                </a:ext>
              </a:extLst>
            </p:cNvPr>
            <p:cNvSpPr/>
            <p:nvPr/>
          </p:nvSpPr>
          <p:spPr>
            <a:xfrm>
              <a:off x="9010359" y="2565147"/>
              <a:ext cx="1054135" cy="2282197"/>
            </a:xfrm>
            <a:custGeom>
              <a:avLst/>
              <a:gdLst/>
              <a:ahLst/>
              <a:cxnLst/>
              <a:rect l="l" t="t" r="r" b="b"/>
              <a:pathLst>
                <a:path w="1036954" h="2377440">
                  <a:moveTo>
                    <a:pt x="518426" y="0"/>
                  </a:moveTo>
                  <a:lnTo>
                    <a:pt x="461937" y="6973"/>
                  </a:lnTo>
                  <a:lnTo>
                    <a:pt x="407211" y="27411"/>
                  </a:lnTo>
                  <a:lnTo>
                    <a:pt x="354562" y="60588"/>
                  </a:lnTo>
                  <a:lnTo>
                    <a:pt x="304308" y="105779"/>
                  </a:lnTo>
                  <a:lnTo>
                    <a:pt x="256765" y="162259"/>
                  </a:lnTo>
                  <a:lnTo>
                    <a:pt x="234109" y="194506"/>
                  </a:lnTo>
                  <a:lnTo>
                    <a:pt x="212249" y="229304"/>
                  </a:lnTo>
                  <a:lnTo>
                    <a:pt x="191225" y="266561"/>
                  </a:lnTo>
                  <a:lnTo>
                    <a:pt x="171076" y="306187"/>
                  </a:lnTo>
                  <a:lnTo>
                    <a:pt x="151842" y="348092"/>
                  </a:lnTo>
                  <a:lnTo>
                    <a:pt x="133563" y="392185"/>
                  </a:lnTo>
                  <a:lnTo>
                    <a:pt x="116277" y="438375"/>
                  </a:lnTo>
                  <a:lnTo>
                    <a:pt x="100025" y="486572"/>
                  </a:lnTo>
                  <a:lnTo>
                    <a:pt x="84846" y="536685"/>
                  </a:lnTo>
                  <a:lnTo>
                    <a:pt x="70779" y="588623"/>
                  </a:lnTo>
                  <a:lnTo>
                    <a:pt x="57865" y="642296"/>
                  </a:lnTo>
                  <a:lnTo>
                    <a:pt x="46142" y="697613"/>
                  </a:lnTo>
                  <a:lnTo>
                    <a:pt x="35650" y="754484"/>
                  </a:lnTo>
                  <a:lnTo>
                    <a:pt x="26429" y="812817"/>
                  </a:lnTo>
                  <a:lnTo>
                    <a:pt x="18518" y="872523"/>
                  </a:lnTo>
                  <a:lnTo>
                    <a:pt x="11957" y="933511"/>
                  </a:lnTo>
                  <a:lnTo>
                    <a:pt x="6785" y="995690"/>
                  </a:lnTo>
                  <a:lnTo>
                    <a:pt x="3042" y="1058969"/>
                  </a:lnTo>
                  <a:lnTo>
                    <a:pt x="767" y="1123257"/>
                  </a:lnTo>
                  <a:lnTo>
                    <a:pt x="0" y="1188466"/>
                  </a:lnTo>
                  <a:lnTo>
                    <a:pt x="767" y="1253674"/>
                  </a:lnTo>
                  <a:lnTo>
                    <a:pt x="3042" y="1317962"/>
                  </a:lnTo>
                  <a:lnTo>
                    <a:pt x="6785" y="1381241"/>
                  </a:lnTo>
                  <a:lnTo>
                    <a:pt x="11957" y="1443420"/>
                  </a:lnTo>
                  <a:lnTo>
                    <a:pt x="18518" y="1504408"/>
                  </a:lnTo>
                  <a:lnTo>
                    <a:pt x="26429" y="1564114"/>
                  </a:lnTo>
                  <a:lnTo>
                    <a:pt x="35650" y="1622447"/>
                  </a:lnTo>
                  <a:lnTo>
                    <a:pt x="46142" y="1679318"/>
                  </a:lnTo>
                  <a:lnTo>
                    <a:pt x="57865" y="1734635"/>
                  </a:lnTo>
                  <a:lnTo>
                    <a:pt x="70779" y="1788308"/>
                  </a:lnTo>
                  <a:lnTo>
                    <a:pt x="84846" y="1840246"/>
                  </a:lnTo>
                  <a:lnTo>
                    <a:pt x="100025" y="1890359"/>
                  </a:lnTo>
                  <a:lnTo>
                    <a:pt x="116277" y="1938556"/>
                  </a:lnTo>
                  <a:lnTo>
                    <a:pt x="133563" y="1984746"/>
                  </a:lnTo>
                  <a:lnTo>
                    <a:pt x="151842" y="2028839"/>
                  </a:lnTo>
                  <a:lnTo>
                    <a:pt x="171076" y="2070744"/>
                  </a:lnTo>
                  <a:lnTo>
                    <a:pt x="191225" y="2110370"/>
                  </a:lnTo>
                  <a:lnTo>
                    <a:pt x="212249" y="2147627"/>
                  </a:lnTo>
                  <a:lnTo>
                    <a:pt x="234109" y="2182425"/>
                  </a:lnTo>
                  <a:lnTo>
                    <a:pt x="256765" y="2214672"/>
                  </a:lnTo>
                  <a:lnTo>
                    <a:pt x="304308" y="2271152"/>
                  </a:lnTo>
                  <a:lnTo>
                    <a:pt x="354562" y="2316343"/>
                  </a:lnTo>
                  <a:lnTo>
                    <a:pt x="407211" y="2349520"/>
                  </a:lnTo>
                  <a:lnTo>
                    <a:pt x="461937" y="2369958"/>
                  </a:lnTo>
                  <a:lnTo>
                    <a:pt x="518426" y="2376932"/>
                  </a:lnTo>
                  <a:lnTo>
                    <a:pt x="546871" y="2375173"/>
                  </a:lnTo>
                  <a:lnTo>
                    <a:pt x="602518" y="2361377"/>
                  </a:lnTo>
                  <a:lnTo>
                    <a:pt x="656245" y="2334479"/>
                  </a:lnTo>
                  <a:lnTo>
                    <a:pt x="707736" y="2295204"/>
                  </a:lnTo>
                  <a:lnTo>
                    <a:pt x="756674" y="2244278"/>
                  </a:lnTo>
                  <a:lnTo>
                    <a:pt x="802743" y="2182425"/>
                  </a:lnTo>
                  <a:lnTo>
                    <a:pt x="824603" y="2147627"/>
                  </a:lnTo>
                  <a:lnTo>
                    <a:pt x="845627" y="2110370"/>
                  </a:lnTo>
                  <a:lnTo>
                    <a:pt x="865776" y="2070744"/>
                  </a:lnTo>
                  <a:lnTo>
                    <a:pt x="885010" y="2028839"/>
                  </a:lnTo>
                  <a:lnTo>
                    <a:pt x="903290" y="1984746"/>
                  </a:lnTo>
                  <a:lnTo>
                    <a:pt x="920575" y="1938556"/>
                  </a:lnTo>
                  <a:lnTo>
                    <a:pt x="936827" y="1890359"/>
                  </a:lnTo>
                  <a:lnTo>
                    <a:pt x="952006" y="1840246"/>
                  </a:lnTo>
                  <a:lnTo>
                    <a:pt x="966073" y="1788308"/>
                  </a:lnTo>
                  <a:lnTo>
                    <a:pt x="978987" y="1734635"/>
                  </a:lnTo>
                  <a:lnTo>
                    <a:pt x="990710" y="1679318"/>
                  </a:lnTo>
                  <a:lnTo>
                    <a:pt x="1001202" y="1622447"/>
                  </a:lnTo>
                  <a:lnTo>
                    <a:pt x="1010423" y="1564114"/>
                  </a:lnTo>
                  <a:lnTo>
                    <a:pt x="1018334" y="1504408"/>
                  </a:lnTo>
                  <a:lnTo>
                    <a:pt x="1024896" y="1443420"/>
                  </a:lnTo>
                  <a:lnTo>
                    <a:pt x="1030068" y="1381241"/>
                  </a:lnTo>
                  <a:lnTo>
                    <a:pt x="1033811" y="1317962"/>
                  </a:lnTo>
                  <a:lnTo>
                    <a:pt x="1036086" y="1253674"/>
                  </a:lnTo>
                  <a:lnTo>
                    <a:pt x="1036853" y="1188466"/>
                  </a:lnTo>
                  <a:lnTo>
                    <a:pt x="1036086" y="1123257"/>
                  </a:lnTo>
                  <a:lnTo>
                    <a:pt x="1033811" y="1058969"/>
                  </a:lnTo>
                  <a:lnTo>
                    <a:pt x="1030068" y="995690"/>
                  </a:lnTo>
                  <a:lnTo>
                    <a:pt x="1024896" y="933511"/>
                  </a:lnTo>
                  <a:lnTo>
                    <a:pt x="1018334" y="872523"/>
                  </a:lnTo>
                  <a:lnTo>
                    <a:pt x="1010423" y="812817"/>
                  </a:lnTo>
                  <a:lnTo>
                    <a:pt x="1001202" y="754484"/>
                  </a:lnTo>
                  <a:lnTo>
                    <a:pt x="990710" y="697613"/>
                  </a:lnTo>
                  <a:lnTo>
                    <a:pt x="978987" y="642296"/>
                  </a:lnTo>
                  <a:lnTo>
                    <a:pt x="966073" y="588623"/>
                  </a:lnTo>
                  <a:lnTo>
                    <a:pt x="952006" y="536685"/>
                  </a:lnTo>
                  <a:lnTo>
                    <a:pt x="936827" y="486572"/>
                  </a:lnTo>
                  <a:lnTo>
                    <a:pt x="920575" y="438375"/>
                  </a:lnTo>
                  <a:lnTo>
                    <a:pt x="903290" y="392185"/>
                  </a:lnTo>
                  <a:lnTo>
                    <a:pt x="885010" y="348092"/>
                  </a:lnTo>
                  <a:lnTo>
                    <a:pt x="865776" y="306187"/>
                  </a:lnTo>
                  <a:lnTo>
                    <a:pt x="845627" y="266561"/>
                  </a:lnTo>
                  <a:lnTo>
                    <a:pt x="824603" y="229304"/>
                  </a:lnTo>
                  <a:lnTo>
                    <a:pt x="802743" y="194506"/>
                  </a:lnTo>
                  <a:lnTo>
                    <a:pt x="780087" y="162259"/>
                  </a:lnTo>
                  <a:lnTo>
                    <a:pt x="732544" y="105779"/>
                  </a:lnTo>
                  <a:lnTo>
                    <a:pt x="682290" y="60588"/>
                  </a:lnTo>
                  <a:lnTo>
                    <a:pt x="629642" y="27411"/>
                  </a:lnTo>
                  <a:lnTo>
                    <a:pt x="574915" y="6973"/>
                  </a:lnTo>
                  <a:lnTo>
                    <a:pt x="518426" y="0"/>
                  </a:lnTo>
                  <a:close/>
                </a:path>
              </a:pathLst>
            </a:custGeom>
            <a:solidFill>
              <a:srgbClr val="6268AC">
                <a:alpha val="54899"/>
              </a:srgbClr>
            </a:solidFill>
          </p:spPr>
          <p:txBody>
            <a:bodyPr wrap="square" lIns="0" tIns="0" rIns="0" bIns="0" rtlCol="0"/>
            <a:lstStyle/>
            <a:p>
              <a:pPr rtl="0"/>
              <a:endParaRPr sz="975" dirty="0"/>
            </a:p>
          </p:txBody>
        </p:sp>
        <p:sp>
          <p:nvSpPr>
            <p:cNvPr id="573" name="object 158">
              <a:extLst>
                <a:ext uri="{FF2B5EF4-FFF2-40B4-BE49-F238E27FC236}">
                  <a16:creationId xmlns:a16="http://schemas.microsoft.com/office/drawing/2014/main" id="{972501B1-A516-42C3-902C-6CD42353E3E8}"/>
                </a:ext>
              </a:extLst>
            </p:cNvPr>
            <p:cNvSpPr/>
            <p:nvPr/>
          </p:nvSpPr>
          <p:spPr>
            <a:xfrm>
              <a:off x="7808038" y="3213100"/>
              <a:ext cx="2034036" cy="1584859"/>
            </a:xfrm>
            <a:custGeom>
              <a:avLst/>
              <a:gdLst/>
              <a:ahLst/>
              <a:cxnLst/>
              <a:rect l="l" t="t" r="r" b="b"/>
              <a:pathLst>
                <a:path w="2000885" h="1651000">
                  <a:moveTo>
                    <a:pt x="335952" y="0"/>
                  </a:moveTo>
                  <a:lnTo>
                    <a:pt x="262320" y="3900"/>
                  </a:lnTo>
                  <a:lnTo>
                    <a:pt x="196098" y="16745"/>
                  </a:lnTo>
                  <a:lnTo>
                    <a:pt x="138054" y="38720"/>
                  </a:lnTo>
                  <a:lnTo>
                    <a:pt x="88958" y="70008"/>
                  </a:lnTo>
                  <a:lnTo>
                    <a:pt x="49578" y="110794"/>
                  </a:lnTo>
                  <a:lnTo>
                    <a:pt x="21357" y="159967"/>
                  </a:lnTo>
                  <a:lnTo>
                    <a:pt x="4961" y="215830"/>
                  </a:lnTo>
                  <a:lnTo>
                    <a:pt x="0" y="277697"/>
                  </a:lnTo>
                  <a:lnTo>
                    <a:pt x="1685" y="310667"/>
                  </a:lnTo>
                  <a:lnTo>
                    <a:pt x="13143" y="380250"/>
                  </a:lnTo>
                  <a:lnTo>
                    <a:pt x="35060" y="454117"/>
                  </a:lnTo>
                  <a:lnTo>
                    <a:pt x="49817" y="492442"/>
                  </a:lnTo>
                  <a:lnTo>
                    <a:pt x="67043" y="531581"/>
                  </a:lnTo>
                  <a:lnTo>
                    <a:pt x="86688" y="571446"/>
                  </a:lnTo>
                  <a:lnTo>
                    <a:pt x="108703" y="611953"/>
                  </a:lnTo>
                  <a:lnTo>
                    <a:pt x="133039" y="653016"/>
                  </a:lnTo>
                  <a:lnTo>
                    <a:pt x="159648" y="694548"/>
                  </a:lnTo>
                  <a:lnTo>
                    <a:pt x="188481" y="736463"/>
                  </a:lnTo>
                  <a:lnTo>
                    <a:pt x="219488" y="778676"/>
                  </a:lnTo>
                  <a:lnTo>
                    <a:pt x="252622" y="821100"/>
                  </a:lnTo>
                  <a:lnTo>
                    <a:pt x="287833" y="863650"/>
                  </a:lnTo>
                  <a:lnTo>
                    <a:pt x="325072" y="906240"/>
                  </a:lnTo>
                  <a:lnTo>
                    <a:pt x="364290" y="948783"/>
                  </a:lnTo>
                  <a:lnTo>
                    <a:pt x="405439" y="991194"/>
                  </a:lnTo>
                  <a:lnTo>
                    <a:pt x="448470" y="1033387"/>
                  </a:lnTo>
                  <a:lnTo>
                    <a:pt x="493334" y="1075276"/>
                  </a:lnTo>
                  <a:lnTo>
                    <a:pt x="539981" y="1116775"/>
                  </a:lnTo>
                  <a:lnTo>
                    <a:pt x="588364" y="1157798"/>
                  </a:lnTo>
                  <a:lnTo>
                    <a:pt x="638434" y="1198258"/>
                  </a:lnTo>
                  <a:lnTo>
                    <a:pt x="690141" y="1238071"/>
                  </a:lnTo>
                  <a:lnTo>
                    <a:pt x="742767" y="1276661"/>
                  </a:lnTo>
                  <a:lnTo>
                    <a:pt x="795560" y="1313498"/>
                  </a:lnTo>
                  <a:lnTo>
                    <a:pt x="848423" y="1348559"/>
                  </a:lnTo>
                  <a:lnTo>
                    <a:pt x="901262" y="1381821"/>
                  </a:lnTo>
                  <a:lnTo>
                    <a:pt x="953978" y="1413260"/>
                  </a:lnTo>
                  <a:lnTo>
                    <a:pt x="1006477" y="1442855"/>
                  </a:lnTo>
                  <a:lnTo>
                    <a:pt x="1058662" y="1470581"/>
                  </a:lnTo>
                  <a:lnTo>
                    <a:pt x="1110437" y="1496416"/>
                  </a:lnTo>
                  <a:lnTo>
                    <a:pt x="1161705" y="1520337"/>
                  </a:lnTo>
                  <a:lnTo>
                    <a:pt x="1212371" y="1542321"/>
                  </a:lnTo>
                  <a:lnTo>
                    <a:pt x="1262339" y="1562344"/>
                  </a:lnTo>
                  <a:lnTo>
                    <a:pt x="1311512" y="1580385"/>
                  </a:lnTo>
                  <a:lnTo>
                    <a:pt x="1359794" y="1596419"/>
                  </a:lnTo>
                  <a:lnTo>
                    <a:pt x="1407089" y="1610424"/>
                  </a:lnTo>
                  <a:lnTo>
                    <a:pt x="1453301" y="1622376"/>
                  </a:lnTo>
                  <a:lnTo>
                    <a:pt x="1498334" y="1632254"/>
                  </a:lnTo>
                  <a:lnTo>
                    <a:pt x="1542091" y="1640033"/>
                  </a:lnTo>
                  <a:lnTo>
                    <a:pt x="1584477" y="1645691"/>
                  </a:lnTo>
                  <a:lnTo>
                    <a:pt x="1625395" y="1649204"/>
                  </a:lnTo>
                  <a:lnTo>
                    <a:pt x="1664749" y="1650550"/>
                  </a:lnTo>
                  <a:lnTo>
                    <a:pt x="1702443" y="1649706"/>
                  </a:lnTo>
                  <a:lnTo>
                    <a:pt x="1772467" y="1641355"/>
                  </a:lnTo>
                  <a:lnTo>
                    <a:pt x="1834696" y="1623966"/>
                  </a:lnTo>
                  <a:lnTo>
                    <a:pt x="1888363" y="1597356"/>
                  </a:lnTo>
                  <a:lnTo>
                    <a:pt x="1932697" y="1561340"/>
                  </a:lnTo>
                  <a:lnTo>
                    <a:pt x="1966736" y="1516041"/>
                  </a:lnTo>
                  <a:lnTo>
                    <a:pt x="1988994" y="1463439"/>
                  </a:lnTo>
                  <a:lnTo>
                    <a:pt x="1999621" y="1404489"/>
                  </a:lnTo>
                  <a:lnTo>
                    <a:pt x="2000696" y="1372849"/>
                  </a:lnTo>
                  <a:lnTo>
                    <a:pt x="1999010" y="1339879"/>
                  </a:lnTo>
                  <a:lnTo>
                    <a:pt x="1987550" y="1270297"/>
                  </a:lnTo>
                  <a:lnTo>
                    <a:pt x="1965633" y="1196430"/>
                  </a:lnTo>
                  <a:lnTo>
                    <a:pt x="1950874" y="1158105"/>
                  </a:lnTo>
                  <a:lnTo>
                    <a:pt x="1933648" y="1118967"/>
                  </a:lnTo>
                  <a:lnTo>
                    <a:pt x="1914003" y="1079101"/>
                  </a:lnTo>
                  <a:lnTo>
                    <a:pt x="1891988" y="1038594"/>
                  </a:lnTo>
                  <a:lnTo>
                    <a:pt x="1867651" y="997531"/>
                  </a:lnTo>
                  <a:lnTo>
                    <a:pt x="1841042" y="956000"/>
                  </a:lnTo>
                  <a:lnTo>
                    <a:pt x="1812209" y="914084"/>
                  </a:lnTo>
                  <a:lnTo>
                    <a:pt x="1781201" y="871872"/>
                  </a:lnTo>
                  <a:lnTo>
                    <a:pt x="1748068" y="829447"/>
                  </a:lnTo>
                  <a:lnTo>
                    <a:pt x="1712857" y="786897"/>
                  </a:lnTo>
                  <a:lnTo>
                    <a:pt x="1675618" y="744308"/>
                  </a:lnTo>
                  <a:lnTo>
                    <a:pt x="1636399" y="701765"/>
                  </a:lnTo>
                  <a:lnTo>
                    <a:pt x="1595250" y="659354"/>
                  </a:lnTo>
                  <a:lnTo>
                    <a:pt x="1552219" y="617162"/>
                  </a:lnTo>
                  <a:lnTo>
                    <a:pt x="1507356" y="575273"/>
                  </a:lnTo>
                  <a:lnTo>
                    <a:pt x="1460708" y="533775"/>
                  </a:lnTo>
                  <a:lnTo>
                    <a:pt x="1412325" y="492754"/>
                  </a:lnTo>
                  <a:lnTo>
                    <a:pt x="1362255" y="452294"/>
                  </a:lnTo>
                  <a:lnTo>
                    <a:pt x="1310548" y="412482"/>
                  </a:lnTo>
                  <a:lnTo>
                    <a:pt x="1257923" y="373892"/>
                  </a:lnTo>
                  <a:lnTo>
                    <a:pt x="1205132" y="337055"/>
                  </a:lnTo>
                  <a:lnTo>
                    <a:pt x="1152269" y="301995"/>
                  </a:lnTo>
                  <a:lnTo>
                    <a:pt x="1099432" y="268733"/>
                  </a:lnTo>
                  <a:lnTo>
                    <a:pt x="1046716" y="237293"/>
                  </a:lnTo>
                  <a:lnTo>
                    <a:pt x="994218" y="207699"/>
                  </a:lnTo>
                  <a:lnTo>
                    <a:pt x="942034" y="179972"/>
                  </a:lnTo>
                  <a:lnTo>
                    <a:pt x="890260" y="154137"/>
                  </a:lnTo>
                  <a:lnTo>
                    <a:pt x="838992" y="130216"/>
                  </a:lnTo>
                  <a:lnTo>
                    <a:pt x="788327" y="108232"/>
                  </a:lnTo>
                  <a:lnTo>
                    <a:pt x="738360" y="88208"/>
                  </a:lnTo>
                  <a:lnTo>
                    <a:pt x="689187" y="70168"/>
                  </a:lnTo>
                  <a:lnTo>
                    <a:pt x="640905" y="54134"/>
                  </a:lnTo>
                  <a:lnTo>
                    <a:pt x="593611" y="40128"/>
                  </a:lnTo>
                  <a:lnTo>
                    <a:pt x="547399" y="28176"/>
                  </a:lnTo>
                  <a:lnTo>
                    <a:pt x="502367" y="18298"/>
                  </a:lnTo>
                  <a:lnTo>
                    <a:pt x="458610" y="10518"/>
                  </a:lnTo>
                  <a:lnTo>
                    <a:pt x="416224" y="4860"/>
                  </a:lnTo>
                  <a:lnTo>
                    <a:pt x="375306" y="1346"/>
                  </a:lnTo>
                  <a:lnTo>
                    <a:pt x="335952" y="0"/>
                  </a:lnTo>
                  <a:close/>
                </a:path>
              </a:pathLst>
            </a:custGeom>
            <a:solidFill>
              <a:srgbClr val="59ABA9">
                <a:alpha val="54899"/>
              </a:srgbClr>
            </a:solidFill>
          </p:spPr>
          <p:txBody>
            <a:bodyPr wrap="square" lIns="0" tIns="0" rIns="0" bIns="0" rtlCol="0"/>
            <a:lstStyle/>
            <a:p>
              <a:pPr rtl="0"/>
              <a:endParaRPr sz="975" dirty="0"/>
            </a:p>
          </p:txBody>
        </p:sp>
        <p:sp>
          <p:nvSpPr>
            <p:cNvPr id="574" name="object 159">
              <a:extLst>
                <a:ext uri="{FF2B5EF4-FFF2-40B4-BE49-F238E27FC236}">
                  <a16:creationId xmlns:a16="http://schemas.microsoft.com/office/drawing/2014/main" id="{EEFD395E-F254-4E67-91E7-C08EA921DED1}"/>
                </a:ext>
              </a:extLst>
            </p:cNvPr>
            <p:cNvSpPr/>
            <p:nvPr/>
          </p:nvSpPr>
          <p:spPr>
            <a:xfrm>
              <a:off x="7792882" y="4004843"/>
              <a:ext cx="2139255" cy="1455632"/>
            </a:xfrm>
            <a:custGeom>
              <a:avLst/>
              <a:gdLst/>
              <a:ahLst/>
              <a:cxnLst/>
              <a:rect l="l" t="t" r="r" b="b"/>
              <a:pathLst>
                <a:path w="2104390" h="1516379">
                  <a:moveTo>
                    <a:pt x="1714907" y="0"/>
                  </a:moveTo>
                  <a:lnTo>
                    <a:pt x="1672168" y="1406"/>
                  </a:lnTo>
                  <a:lnTo>
                    <a:pt x="1627852" y="4786"/>
                  </a:lnTo>
                  <a:lnTo>
                    <a:pt x="1582059" y="10128"/>
                  </a:lnTo>
                  <a:lnTo>
                    <a:pt x="1534886" y="17416"/>
                  </a:lnTo>
                  <a:lnTo>
                    <a:pt x="1486431" y="26640"/>
                  </a:lnTo>
                  <a:lnTo>
                    <a:pt x="1436792" y="37784"/>
                  </a:lnTo>
                  <a:lnTo>
                    <a:pt x="1386066" y="50835"/>
                  </a:lnTo>
                  <a:lnTo>
                    <a:pt x="1334353" y="65781"/>
                  </a:lnTo>
                  <a:lnTo>
                    <a:pt x="1281749" y="82608"/>
                  </a:lnTo>
                  <a:lnTo>
                    <a:pt x="1228353" y="101303"/>
                  </a:lnTo>
                  <a:lnTo>
                    <a:pt x="1174263" y="121852"/>
                  </a:lnTo>
                  <a:lnTo>
                    <a:pt x="1119576" y="144242"/>
                  </a:lnTo>
                  <a:lnTo>
                    <a:pt x="1064391" y="168460"/>
                  </a:lnTo>
                  <a:lnTo>
                    <a:pt x="1008806" y="194492"/>
                  </a:lnTo>
                  <a:lnTo>
                    <a:pt x="952919" y="222326"/>
                  </a:lnTo>
                  <a:lnTo>
                    <a:pt x="896827" y="251947"/>
                  </a:lnTo>
                  <a:lnTo>
                    <a:pt x="840628" y="283344"/>
                  </a:lnTo>
                  <a:lnTo>
                    <a:pt x="784421" y="316501"/>
                  </a:lnTo>
                  <a:lnTo>
                    <a:pt x="729006" y="350965"/>
                  </a:lnTo>
                  <a:lnTo>
                    <a:pt x="675156" y="386237"/>
                  </a:lnTo>
                  <a:lnTo>
                    <a:pt x="622929" y="422237"/>
                  </a:lnTo>
                  <a:lnTo>
                    <a:pt x="572380" y="458883"/>
                  </a:lnTo>
                  <a:lnTo>
                    <a:pt x="523568" y="496096"/>
                  </a:lnTo>
                  <a:lnTo>
                    <a:pt x="476549" y="533793"/>
                  </a:lnTo>
                  <a:lnTo>
                    <a:pt x="431382" y="571896"/>
                  </a:lnTo>
                  <a:lnTo>
                    <a:pt x="388122" y="610322"/>
                  </a:lnTo>
                  <a:lnTo>
                    <a:pt x="346827" y="648992"/>
                  </a:lnTo>
                  <a:lnTo>
                    <a:pt x="307554" y="687824"/>
                  </a:lnTo>
                  <a:lnTo>
                    <a:pt x="270361" y="726738"/>
                  </a:lnTo>
                  <a:lnTo>
                    <a:pt x="235305" y="765654"/>
                  </a:lnTo>
                  <a:lnTo>
                    <a:pt x="202442" y="804490"/>
                  </a:lnTo>
                  <a:lnTo>
                    <a:pt x="171830" y="843166"/>
                  </a:lnTo>
                  <a:lnTo>
                    <a:pt x="143525" y="881602"/>
                  </a:lnTo>
                  <a:lnTo>
                    <a:pt x="117587" y="919716"/>
                  </a:lnTo>
                  <a:lnTo>
                    <a:pt x="94070" y="957428"/>
                  </a:lnTo>
                  <a:lnTo>
                    <a:pt x="73033" y="994657"/>
                  </a:lnTo>
                  <a:lnTo>
                    <a:pt x="54532" y="1031323"/>
                  </a:lnTo>
                  <a:lnTo>
                    <a:pt x="38626" y="1067345"/>
                  </a:lnTo>
                  <a:lnTo>
                    <a:pt x="14822" y="1137135"/>
                  </a:lnTo>
                  <a:lnTo>
                    <a:pt x="2080" y="1203380"/>
                  </a:lnTo>
                  <a:lnTo>
                    <a:pt x="0" y="1234972"/>
                  </a:lnTo>
                  <a:lnTo>
                    <a:pt x="856" y="1265436"/>
                  </a:lnTo>
                  <a:lnTo>
                    <a:pt x="11607" y="1322657"/>
                  </a:lnTo>
                  <a:lnTo>
                    <a:pt x="34791" y="1374398"/>
                  </a:lnTo>
                  <a:lnTo>
                    <a:pt x="69915" y="1418907"/>
                  </a:lnTo>
                  <a:lnTo>
                    <a:pt x="115653" y="1454934"/>
                  </a:lnTo>
                  <a:lnTo>
                    <a:pt x="171222" y="1482586"/>
                  </a:lnTo>
                  <a:lnTo>
                    <a:pt x="235838" y="1501968"/>
                  </a:lnTo>
                  <a:lnTo>
                    <a:pt x="308718" y="1513187"/>
                  </a:lnTo>
                  <a:lnTo>
                    <a:pt x="348011" y="1515769"/>
                  </a:lnTo>
                  <a:lnTo>
                    <a:pt x="389076" y="1516351"/>
                  </a:lnTo>
                  <a:lnTo>
                    <a:pt x="431815" y="1514944"/>
                  </a:lnTo>
                  <a:lnTo>
                    <a:pt x="476130" y="1511564"/>
                  </a:lnTo>
                  <a:lnTo>
                    <a:pt x="521924" y="1506222"/>
                  </a:lnTo>
                  <a:lnTo>
                    <a:pt x="569097" y="1498934"/>
                  </a:lnTo>
                  <a:lnTo>
                    <a:pt x="617552" y="1489711"/>
                  </a:lnTo>
                  <a:lnTo>
                    <a:pt x="667191" y="1478567"/>
                  </a:lnTo>
                  <a:lnTo>
                    <a:pt x="717917" y="1465515"/>
                  </a:lnTo>
                  <a:lnTo>
                    <a:pt x="769630" y="1450569"/>
                  </a:lnTo>
                  <a:lnTo>
                    <a:pt x="822234" y="1433742"/>
                  </a:lnTo>
                  <a:lnTo>
                    <a:pt x="875630" y="1415047"/>
                  </a:lnTo>
                  <a:lnTo>
                    <a:pt x="929720" y="1394498"/>
                  </a:lnTo>
                  <a:lnTo>
                    <a:pt x="984407" y="1372108"/>
                  </a:lnTo>
                  <a:lnTo>
                    <a:pt x="1039591" y="1347890"/>
                  </a:lnTo>
                  <a:lnTo>
                    <a:pt x="1095177" y="1321858"/>
                  </a:lnTo>
                  <a:lnTo>
                    <a:pt x="1151064" y="1294024"/>
                  </a:lnTo>
                  <a:lnTo>
                    <a:pt x="1207156" y="1264403"/>
                  </a:lnTo>
                  <a:lnTo>
                    <a:pt x="1263354" y="1233007"/>
                  </a:lnTo>
                  <a:lnTo>
                    <a:pt x="1319561" y="1199849"/>
                  </a:lnTo>
                  <a:lnTo>
                    <a:pt x="1374976" y="1165386"/>
                  </a:lnTo>
                  <a:lnTo>
                    <a:pt x="1428826" y="1130115"/>
                  </a:lnTo>
                  <a:lnTo>
                    <a:pt x="1481054" y="1094116"/>
                  </a:lnTo>
                  <a:lnTo>
                    <a:pt x="1531603" y="1057470"/>
                  </a:lnTo>
                  <a:lnTo>
                    <a:pt x="1580415" y="1020259"/>
                  </a:lnTo>
                  <a:lnTo>
                    <a:pt x="1627434" y="982562"/>
                  </a:lnTo>
                  <a:lnTo>
                    <a:pt x="1672601" y="944460"/>
                  </a:lnTo>
                  <a:lnTo>
                    <a:pt x="1715861" y="906034"/>
                  </a:lnTo>
                  <a:lnTo>
                    <a:pt x="1757156" y="867364"/>
                  </a:lnTo>
                  <a:lnTo>
                    <a:pt x="1796428" y="828532"/>
                  </a:lnTo>
                  <a:lnTo>
                    <a:pt x="1833622" y="789618"/>
                  </a:lnTo>
                  <a:lnTo>
                    <a:pt x="1868678" y="750702"/>
                  </a:lnTo>
                  <a:lnTo>
                    <a:pt x="1901541" y="711865"/>
                  </a:lnTo>
                  <a:lnTo>
                    <a:pt x="1932153" y="673189"/>
                  </a:lnTo>
                  <a:lnTo>
                    <a:pt x="1960457" y="634753"/>
                  </a:lnTo>
                  <a:lnTo>
                    <a:pt x="1986396" y="596639"/>
                  </a:lnTo>
                  <a:lnTo>
                    <a:pt x="2009913" y="558926"/>
                  </a:lnTo>
                  <a:lnTo>
                    <a:pt x="2030950" y="521696"/>
                  </a:lnTo>
                  <a:lnTo>
                    <a:pt x="2049450" y="485030"/>
                  </a:lnTo>
                  <a:lnTo>
                    <a:pt x="2065357" y="449007"/>
                  </a:lnTo>
                  <a:lnTo>
                    <a:pt x="2089161" y="379217"/>
                  </a:lnTo>
                  <a:lnTo>
                    <a:pt x="2101903" y="312971"/>
                  </a:lnTo>
                  <a:lnTo>
                    <a:pt x="2103983" y="281379"/>
                  </a:lnTo>
                  <a:lnTo>
                    <a:pt x="2103127" y="250915"/>
                  </a:lnTo>
                  <a:lnTo>
                    <a:pt x="2092376" y="193693"/>
                  </a:lnTo>
                  <a:lnTo>
                    <a:pt x="2069192" y="141952"/>
                  </a:lnTo>
                  <a:lnTo>
                    <a:pt x="2034068" y="97443"/>
                  </a:lnTo>
                  <a:lnTo>
                    <a:pt x="1988329" y="61416"/>
                  </a:lnTo>
                  <a:lnTo>
                    <a:pt x="1932760" y="33764"/>
                  </a:lnTo>
                  <a:lnTo>
                    <a:pt x="1868144" y="14382"/>
                  </a:lnTo>
                  <a:lnTo>
                    <a:pt x="1795265" y="3163"/>
                  </a:lnTo>
                  <a:lnTo>
                    <a:pt x="1755972" y="581"/>
                  </a:lnTo>
                  <a:lnTo>
                    <a:pt x="1714907" y="0"/>
                  </a:lnTo>
                  <a:close/>
                </a:path>
              </a:pathLst>
            </a:custGeom>
            <a:solidFill>
              <a:srgbClr val="253883">
                <a:alpha val="54899"/>
              </a:srgbClr>
            </a:solidFill>
          </p:spPr>
          <p:txBody>
            <a:bodyPr wrap="square" lIns="0" tIns="0" rIns="0" bIns="0" rtlCol="0"/>
            <a:lstStyle/>
            <a:p>
              <a:pPr rtl="0"/>
              <a:endParaRPr sz="975" dirty="0"/>
            </a:p>
          </p:txBody>
        </p:sp>
        <p:sp>
          <p:nvSpPr>
            <p:cNvPr id="575" name="object 160">
              <a:extLst>
                <a:ext uri="{FF2B5EF4-FFF2-40B4-BE49-F238E27FC236}">
                  <a16:creationId xmlns:a16="http://schemas.microsoft.com/office/drawing/2014/main" id="{087E37F7-A6E3-49EF-9899-2635829D6791}"/>
                </a:ext>
              </a:extLst>
            </p:cNvPr>
            <p:cNvSpPr/>
            <p:nvPr/>
          </p:nvSpPr>
          <p:spPr>
            <a:xfrm>
              <a:off x="9010359" y="3813989"/>
              <a:ext cx="1054135" cy="2282197"/>
            </a:xfrm>
            <a:custGeom>
              <a:avLst/>
              <a:gdLst/>
              <a:ahLst/>
              <a:cxnLst/>
              <a:rect l="l" t="t" r="r" b="b"/>
              <a:pathLst>
                <a:path w="1036954" h="2377440">
                  <a:moveTo>
                    <a:pt x="518426" y="0"/>
                  </a:moveTo>
                  <a:lnTo>
                    <a:pt x="461937" y="6973"/>
                  </a:lnTo>
                  <a:lnTo>
                    <a:pt x="407211" y="27411"/>
                  </a:lnTo>
                  <a:lnTo>
                    <a:pt x="354562" y="60588"/>
                  </a:lnTo>
                  <a:lnTo>
                    <a:pt x="304308" y="105779"/>
                  </a:lnTo>
                  <a:lnTo>
                    <a:pt x="256765" y="162259"/>
                  </a:lnTo>
                  <a:lnTo>
                    <a:pt x="234109" y="194506"/>
                  </a:lnTo>
                  <a:lnTo>
                    <a:pt x="212249" y="229304"/>
                  </a:lnTo>
                  <a:lnTo>
                    <a:pt x="191225" y="266561"/>
                  </a:lnTo>
                  <a:lnTo>
                    <a:pt x="171076" y="306187"/>
                  </a:lnTo>
                  <a:lnTo>
                    <a:pt x="151842" y="348092"/>
                  </a:lnTo>
                  <a:lnTo>
                    <a:pt x="133563" y="392185"/>
                  </a:lnTo>
                  <a:lnTo>
                    <a:pt x="116277" y="438375"/>
                  </a:lnTo>
                  <a:lnTo>
                    <a:pt x="100025" y="486572"/>
                  </a:lnTo>
                  <a:lnTo>
                    <a:pt x="84846" y="536685"/>
                  </a:lnTo>
                  <a:lnTo>
                    <a:pt x="70779" y="588623"/>
                  </a:lnTo>
                  <a:lnTo>
                    <a:pt x="57865" y="642296"/>
                  </a:lnTo>
                  <a:lnTo>
                    <a:pt x="46142" y="697613"/>
                  </a:lnTo>
                  <a:lnTo>
                    <a:pt x="35650" y="754484"/>
                  </a:lnTo>
                  <a:lnTo>
                    <a:pt x="26429" y="812817"/>
                  </a:lnTo>
                  <a:lnTo>
                    <a:pt x="18518" y="872523"/>
                  </a:lnTo>
                  <a:lnTo>
                    <a:pt x="11957" y="933511"/>
                  </a:lnTo>
                  <a:lnTo>
                    <a:pt x="6785" y="995690"/>
                  </a:lnTo>
                  <a:lnTo>
                    <a:pt x="3042" y="1058969"/>
                  </a:lnTo>
                  <a:lnTo>
                    <a:pt x="767" y="1123257"/>
                  </a:lnTo>
                  <a:lnTo>
                    <a:pt x="0" y="1188465"/>
                  </a:lnTo>
                  <a:lnTo>
                    <a:pt x="767" y="1253674"/>
                  </a:lnTo>
                  <a:lnTo>
                    <a:pt x="3042" y="1317962"/>
                  </a:lnTo>
                  <a:lnTo>
                    <a:pt x="6785" y="1381241"/>
                  </a:lnTo>
                  <a:lnTo>
                    <a:pt x="11957" y="1443420"/>
                  </a:lnTo>
                  <a:lnTo>
                    <a:pt x="18518" y="1504408"/>
                  </a:lnTo>
                  <a:lnTo>
                    <a:pt x="26429" y="1564114"/>
                  </a:lnTo>
                  <a:lnTo>
                    <a:pt x="35650" y="1622447"/>
                  </a:lnTo>
                  <a:lnTo>
                    <a:pt x="46142" y="1679318"/>
                  </a:lnTo>
                  <a:lnTo>
                    <a:pt x="57865" y="1734635"/>
                  </a:lnTo>
                  <a:lnTo>
                    <a:pt x="70779" y="1788308"/>
                  </a:lnTo>
                  <a:lnTo>
                    <a:pt x="84846" y="1840246"/>
                  </a:lnTo>
                  <a:lnTo>
                    <a:pt x="100025" y="1890359"/>
                  </a:lnTo>
                  <a:lnTo>
                    <a:pt x="116277" y="1938556"/>
                  </a:lnTo>
                  <a:lnTo>
                    <a:pt x="133563" y="1984746"/>
                  </a:lnTo>
                  <a:lnTo>
                    <a:pt x="151842" y="2028839"/>
                  </a:lnTo>
                  <a:lnTo>
                    <a:pt x="171076" y="2070744"/>
                  </a:lnTo>
                  <a:lnTo>
                    <a:pt x="191225" y="2110370"/>
                  </a:lnTo>
                  <a:lnTo>
                    <a:pt x="212249" y="2147627"/>
                  </a:lnTo>
                  <a:lnTo>
                    <a:pt x="234109" y="2182425"/>
                  </a:lnTo>
                  <a:lnTo>
                    <a:pt x="256765" y="2214672"/>
                  </a:lnTo>
                  <a:lnTo>
                    <a:pt x="304308" y="2271152"/>
                  </a:lnTo>
                  <a:lnTo>
                    <a:pt x="354562" y="2316343"/>
                  </a:lnTo>
                  <a:lnTo>
                    <a:pt x="407211" y="2349520"/>
                  </a:lnTo>
                  <a:lnTo>
                    <a:pt x="461937" y="2369958"/>
                  </a:lnTo>
                  <a:lnTo>
                    <a:pt x="518426" y="2376931"/>
                  </a:lnTo>
                  <a:lnTo>
                    <a:pt x="546871" y="2375173"/>
                  </a:lnTo>
                  <a:lnTo>
                    <a:pt x="602518" y="2361377"/>
                  </a:lnTo>
                  <a:lnTo>
                    <a:pt x="656245" y="2334479"/>
                  </a:lnTo>
                  <a:lnTo>
                    <a:pt x="707736" y="2295204"/>
                  </a:lnTo>
                  <a:lnTo>
                    <a:pt x="756674" y="2244278"/>
                  </a:lnTo>
                  <a:lnTo>
                    <a:pt x="802743" y="2182425"/>
                  </a:lnTo>
                  <a:lnTo>
                    <a:pt x="824603" y="2147627"/>
                  </a:lnTo>
                  <a:lnTo>
                    <a:pt x="845627" y="2110370"/>
                  </a:lnTo>
                  <a:lnTo>
                    <a:pt x="865776" y="2070744"/>
                  </a:lnTo>
                  <a:lnTo>
                    <a:pt x="885010" y="2028839"/>
                  </a:lnTo>
                  <a:lnTo>
                    <a:pt x="903290" y="1984746"/>
                  </a:lnTo>
                  <a:lnTo>
                    <a:pt x="920575" y="1938556"/>
                  </a:lnTo>
                  <a:lnTo>
                    <a:pt x="936827" y="1890359"/>
                  </a:lnTo>
                  <a:lnTo>
                    <a:pt x="952006" y="1840246"/>
                  </a:lnTo>
                  <a:lnTo>
                    <a:pt x="966073" y="1788308"/>
                  </a:lnTo>
                  <a:lnTo>
                    <a:pt x="978987" y="1734635"/>
                  </a:lnTo>
                  <a:lnTo>
                    <a:pt x="990710" y="1679318"/>
                  </a:lnTo>
                  <a:lnTo>
                    <a:pt x="1001202" y="1622447"/>
                  </a:lnTo>
                  <a:lnTo>
                    <a:pt x="1010423" y="1564114"/>
                  </a:lnTo>
                  <a:lnTo>
                    <a:pt x="1018334" y="1504408"/>
                  </a:lnTo>
                  <a:lnTo>
                    <a:pt x="1024896" y="1443420"/>
                  </a:lnTo>
                  <a:lnTo>
                    <a:pt x="1030068" y="1381241"/>
                  </a:lnTo>
                  <a:lnTo>
                    <a:pt x="1033811" y="1317962"/>
                  </a:lnTo>
                  <a:lnTo>
                    <a:pt x="1036086" y="1253674"/>
                  </a:lnTo>
                  <a:lnTo>
                    <a:pt x="1036853" y="1188465"/>
                  </a:lnTo>
                  <a:lnTo>
                    <a:pt x="1036086" y="1123257"/>
                  </a:lnTo>
                  <a:lnTo>
                    <a:pt x="1033811" y="1058969"/>
                  </a:lnTo>
                  <a:lnTo>
                    <a:pt x="1030068" y="995690"/>
                  </a:lnTo>
                  <a:lnTo>
                    <a:pt x="1024896" y="933511"/>
                  </a:lnTo>
                  <a:lnTo>
                    <a:pt x="1018334" y="872523"/>
                  </a:lnTo>
                  <a:lnTo>
                    <a:pt x="1010423" y="812817"/>
                  </a:lnTo>
                  <a:lnTo>
                    <a:pt x="1001202" y="754484"/>
                  </a:lnTo>
                  <a:lnTo>
                    <a:pt x="990710" y="697613"/>
                  </a:lnTo>
                  <a:lnTo>
                    <a:pt x="978987" y="642296"/>
                  </a:lnTo>
                  <a:lnTo>
                    <a:pt x="966073" y="588623"/>
                  </a:lnTo>
                  <a:lnTo>
                    <a:pt x="952006" y="536685"/>
                  </a:lnTo>
                  <a:lnTo>
                    <a:pt x="936827" y="486572"/>
                  </a:lnTo>
                  <a:lnTo>
                    <a:pt x="920575" y="438375"/>
                  </a:lnTo>
                  <a:lnTo>
                    <a:pt x="903290" y="392185"/>
                  </a:lnTo>
                  <a:lnTo>
                    <a:pt x="885010" y="348092"/>
                  </a:lnTo>
                  <a:lnTo>
                    <a:pt x="865776" y="306187"/>
                  </a:lnTo>
                  <a:lnTo>
                    <a:pt x="845627" y="266561"/>
                  </a:lnTo>
                  <a:lnTo>
                    <a:pt x="824603" y="229304"/>
                  </a:lnTo>
                  <a:lnTo>
                    <a:pt x="802743" y="194506"/>
                  </a:lnTo>
                  <a:lnTo>
                    <a:pt x="780087" y="162259"/>
                  </a:lnTo>
                  <a:lnTo>
                    <a:pt x="732544" y="105779"/>
                  </a:lnTo>
                  <a:lnTo>
                    <a:pt x="682290" y="60588"/>
                  </a:lnTo>
                  <a:lnTo>
                    <a:pt x="629642" y="27411"/>
                  </a:lnTo>
                  <a:lnTo>
                    <a:pt x="574915" y="6973"/>
                  </a:lnTo>
                  <a:lnTo>
                    <a:pt x="518426" y="0"/>
                  </a:lnTo>
                  <a:close/>
                </a:path>
              </a:pathLst>
            </a:custGeom>
            <a:solidFill>
              <a:srgbClr val="5D8ECA">
                <a:alpha val="54899"/>
              </a:srgbClr>
            </a:solidFill>
          </p:spPr>
          <p:txBody>
            <a:bodyPr wrap="square" lIns="0" tIns="0" rIns="0" bIns="0" rtlCol="0"/>
            <a:lstStyle/>
            <a:p>
              <a:pPr rtl="0"/>
              <a:endParaRPr sz="975" dirty="0"/>
            </a:p>
          </p:txBody>
        </p:sp>
        <p:sp>
          <p:nvSpPr>
            <p:cNvPr id="576" name="object 161">
              <a:extLst>
                <a:ext uri="{FF2B5EF4-FFF2-40B4-BE49-F238E27FC236}">
                  <a16:creationId xmlns:a16="http://schemas.microsoft.com/office/drawing/2014/main" id="{0C2DFB96-700E-4F9E-9821-82AD52AD2688}"/>
                </a:ext>
              </a:extLst>
            </p:cNvPr>
            <p:cNvSpPr/>
            <p:nvPr/>
          </p:nvSpPr>
          <p:spPr>
            <a:xfrm>
              <a:off x="9208584" y="3196595"/>
              <a:ext cx="2034036" cy="1584859"/>
            </a:xfrm>
            <a:custGeom>
              <a:avLst/>
              <a:gdLst/>
              <a:ahLst/>
              <a:cxnLst/>
              <a:rect l="l" t="t" r="r" b="b"/>
              <a:pathLst>
                <a:path w="2000885" h="1651000">
                  <a:moveTo>
                    <a:pt x="1664743" y="0"/>
                  </a:moveTo>
                  <a:lnTo>
                    <a:pt x="1625389" y="1346"/>
                  </a:lnTo>
                  <a:lnTo>
                    <a:pt x="1584472" y="4859"/>
                  </a:lnTo>
                  <a:lnTo>
                    <a:pt x="1542086" y="10517"/>
                  </a:lnTo>
                  <a:lnTo>
                    <a:pt x="1498329" y="18296"/>
                  </a:lnTo>
                  <a:lnTo>
                    <a:pt x="1453297" y="28173"/>
                  </a:lnTo>
                  <a:lnTo>
                    <a:pt x="1407085" y="40126"/>
                  </a:lnTo>
                  <a:lnTo>
                    <a:pt x="1359790" y="54131"/>
                  </a:lnTo>
                  <a:lnTo>
                    <a:pt x="1311508" y="70165"/>
                  </a:lnTo>
                  <a:lnTo>
                    <a:pt x="1262336" y="88205"/>
                  </a:lnTo>
                  <a:lnTo>
                    <a:pt x="1212369" y="108229"/>
                  </a:lnTo>
                  <a:lnTo>
                    <a:pt x="1161703" y="130213"/>
                  </a:lnTo>
                  <a:lnTo>
                    <a:pt x="1110435" y="154134"/>
                  </a:lnTo>
                  <a:lnTo>
                    <a:pt x="1058661" y="179969"/>
                  </a:lnTo>
                  <a:lnTo>
                    <a:pt x="1006477" y="207695"/>
                  </a:lnTo>
                  <a:lnTo>
                    <a:pt x="953979" y="237289"/>
                  </a:lnTo>
                  <a:lnTo>
                    <a:pt x="901264" y="268729"/>
                  </a:lnTo>
                  <a:lnTo>
                    <a:pt x="848427" y="301991"/>
                  </a:lnTo>
                  <a:lnTo>
                    <a:pt x="795564" y="337052"/>
                  </a:lnTo>
                  <a:lnTo>
                    <a:pt x="742772" y="373889"/>
                  </a:lnTo>
                  <a:lnTo>
                    <a:pt x="690147" y="412479"/>
                  </a:lnTo>
                  <a:lnTo>
                    <a:pt x="638440" y="452290"/>
                  </a:lnTo>
                  <a:lnTo>
                    <a:pt x="588371" y="492750"/>
                  </a:lnTo>
                  <a:lnTo>
                    <a:pt x="539988" y="533772"/>
                  </a:lnTo>
                  <a:lnTo>
                    <a:pt x="493340" y="575270"/>
                  </a:lnTo>
                  <a:lnTo>
                    <a:pt x="448476" y="617158"/>
                  </a:lnTo>
                  <a:lnTo>
                    <a:pt x="405445" y="659350"/>
                  </a:lnTo>
                  <a:lnTo>
                    <a:pt x="364296" y="701761"/>
                  </a:lnTo>
                  <a:lnTo>
                    <a:pt x="325078" y="744304"/>
                  </a:lnTo>
                  <a:lnTo>
                    <a:pt x="287839" y="786894"/>
                  </a:lnTo>
                  <a:lnTo>
                    <a:pt x="252628" y="829444"/>
                  </a:lnTo>
                  <a:lnTo>
                    <a:pt x="219494" y="871868"/>
                  </a:lnTo>
                  <a:lnTo>
                    <a:pt x="188487" y="914081"/>
                  </a:lnTo>
                  <a:lnTo>
                    <a:pt x="159654" y="955996"/>
                  </a:lnTo>
                  <a:lnTo>
                    <a:pt x="133045" y="997528"/>
                  </a:lnTo>
                  <a:lnTo>
                    <a:pt x="108708" y="1038590"/>
                  </a:lnTo>
                  <a:lnTo>
                    <a:pt x="86692" y="1079097"/>
                  </a:lnTo>
                  <a:lnTo>
                    <a:pt x="67047" y="1118963"/>
                  </a:lnTo>
                  <a:lnTo>
                    <a:pt x="49821" y="1158101"/>
                  </a:lnTo>
                  <a:lnTo>
                    <a:pt x="35063" y="1196427"/>
                  </a:lnTo>
                  <a:lnTo>
                    <a:pt x="22821" y="1233852"/>
                  </a:lnTo>
                  <a:lnTo>
                    <a:pt x="6084" y="1305663"/>
                  </a:lnTo>
                  <a:lnTo>
                    <a:pt x="0" y="1372845"/>
                  </a:lnTo>
                  <a:lnTo>
                    <a:pt x="1074" y="1404485"/>
                  </a:lnTo>
                  <a:lnTo>
                    <a:pt x="11702" y="1463435"/>
                  </a:lnTo>
                  <a:lnTo>
                    <a:pt x="33960" y="1516037"/>
                  </a:lnTo>
                  <a:lnTo>
                    <a:pt x="67999" y="1561336"/>
                  </a:lnTo>
                  <a:lnTo>
                    <a:pt x="112333" y="1597352"/>
                  </a:lnTo>
                  <a:lnTo>
                    <a:pt x="165999" y="1623962"/>
                  </a:lnTo>
                  <a:lnTo>
                    <a:pt x="228229" y="1641351"/>
                  </a:lnTo>
                  <a:lnTo>
                    <a:pt x="298252" y="1649702"/>
                  </a:lnTo>
                  <a:lnTo>
                    <a:pt x="335947" y="1650547"/>
                  </a:lnTo>
                  <a:lnTo>
                    <a:pt x="375301" y="1649200"/>
                  </a:lnTo>
                  <a:lnTo>
                    <a:pt x="416219" y="1645687"/>
                  </a:lnTo>
                  <a:lnTo>
                    <a:pt x="458604" y="1640029"/>
                  </a:lnTo>
                  <a:lnTo>
                    <a:pt x="502362" y="1632250"/>
                  </a:lnTo>
                  <a:lnTo>
                    <a:pt x="547394" y="1622373"/>
                  </a:lnTo>
                  <a:lnTo>
                    <a:pt x="593606" y="1610420"/>
                  </a:lnTo>
                  <a:lnTo>
                    <a:pt x="640902" y="1596415"/>
                  </a:lnTo>
                  <a:lnTo>
                    <a:pt x="689184" y="1580381"/>
                  </a:lnTo>
                  <a:lnTo>
                    <a:pt x="738357" y="1562341"/>
                  </a:lnTo>
                  <a:lnTo>
                    <a:pt x="788324" y="1542317"/>
                  </a:lnTo>
                  <a:lnTo>
                    <a:pt x="838990" y="1520333"/>
                  </a:lnTo>
                  <a:lnTo>
                    <a:pt x="890259" y="1496412"/>
                  </a:lnTo>
                  <a:lnTo>
                    <a:pt x="942034" y="1470577"/>
                  </a:lnTo>
                  <a:lnTo>
                    <a:pt x="994219" y="1442851"/>
                  </a:lnTo>
                  <a:lnTo>
                    <a:pt x="1046717" y="1413257"/>
                  </a:lnTo>
                  <a:lnTo>
                    <a:pt x="1099434" y="1381817"/>
                  </a:lnTo>
                  <a:lnTo>
                    <a:pt x="1152272" y="1348555"/>
                  </a:lnTo>
                  <a:lnTo>
                    <a:pt x="1205136" y="1313494"/>
                  </a:lnTo>
                  <a:lnTo>
                    <a:pt x="1257929" y="1276657"/>
                  </a:lnTo>
                  <a:lnTo>
                    <a:pt x="1310555" y="1238067"/>
                  </a:lnTo>
                  <a:lnTo>
                    <a:pt x="1362262" y="1198256"/>
                  </a:lnTo>
                  <a:lnTo>
                    <a:pt x="1412331" y="1157796"/>
                  </a:lnTo>
                  <a:lnTo>
                    <a:pt x="1460714" y="1116774"/>
                  </a:lnTo>
                  <a:lnTo>
                    <a:pt x="1507362" y="1075276"/>
                  </a:lnTo>
                  <a:lnTo>
                    <a:pt x="1552226" y="1033388"/>
                  </a:lnTo>
                  <a:lnTo>
                    <a:pt x="1595257" y="991196"/>
                  </a:lnTo>
                  <a:lnTo>
                    <a:pt x="1636406" y="948785"/>
                  </a:lnTo>
                  <a:lnTo>
                    <a:pt x="1675624" y="906242"/>
                  </a:lnTo>
                  <a:lnTo>
                    <a:pt x="1712863" y="863652"/>
                  </a:lnTo>
                  <a:lnTo>
                    <a:pt x="1748074" y="821102"/>
                  </a:lnTo>
                  <a:lnTo>
                    <a:pt x="1781207" y="778678"/>
                  </a:lnTo>
                  <a:lnTo>
                    <a:pt x="1812215" y="736465"/>
                  </a:lnTo>
                  <a:lnTo>
                    <a:pt x="1841047" y="694550"/>
                  </a:lnTo>
                  <a:lnTo>
                    <a:pt x="1867656" y="653018"/>
                  </a:lnTo>
                  <a:lnTo>
                    <a:pt x="1891993" y="611956"/>
                  </a:lnTo>
                  <a:lnTo>
                    <a:pt x="1914008" y="571449"/>
                  </a:lnTo>
                  <a:lnTo>
                    <a:pt x="1933652" y="531583"/>
                  </a:lnTo>
                  <a:lnTo>
                    <a:pt x="1950878" y="492445"/>
                  </a:lnTo>
                  <a:lnTo>
                    <a:pt x="1965636" y="454120"/>
                  </a:lnTo>
                  <a:lnTo>
                    <a:pt x="1977877" y="416694"/>
                  </a:lnTo>
                  <a:lnTo>
                    <a:pt x="1994613" y="344883"/>
                  </a:lnTo>
                  <a:lnTo>
                    <a:pt x="2000696" y="277701"/>
                  </a:lnTo>
                  <a:lnTo>
                    <a:pt x="1999620" y="246061"/>
                  </a:lnTo>
                  <a:lnTo>
                    <a:pt x="1988991" y="187111"/>
                  </a:lnTo>
                  <a:lnTo>
                    <a:pt x="1966731" y="134509"/>
                  </a:lnTo>
                  <a:lnTo>
                    <a:pt x="1932690" y="89210"/>
                  </a:lnTo>
                  <a:lnTo>
                    <a:pt x="1888356" y="53194"/>
                  </a:lnTo>
                  <a:lnTo>
                    <a:pt x="1834690" y="26584"/>
                  </a:lnTo>
                  <a:lnTo>
                    <a:pt x="1772461" y="9195"/>
                  </a:lnTo>
                  <a:lnTo>
                    <a:pt x="1702437" y="844"/>
                  </a:lnTo>
                  <a:lnTo>
                    <a:pt x="1664743" y="0"/>
                  </a:lnTo>
                  <a:close/>
                </a:path>
              </a:pathLst>
            </a:custGeom>
            <a:solidFill>
              <a:srgbClr val="8FD1EE">
                <a:alpha val="54899"/>
              </a:srgbClr>
            </a:solidFill>
          </p:spPr>
          <p:txBody>
            <a:bodyPr wrap="square" lIns="0" tIns="0" rIns="0" bIns="0" rtlCol="0"/>
            <a:lstStyle/>
            <a:p>
              <a:pPr rtl="0"/>
              <a:endParaRPr sz="975" dirty="0"/>
            </a:p>
          </p:txBody>
        </p:sp>
        <p:sp>
          <p:nvSpPr>
            <p:cNvPr id="577" name="object 162">
              <a:extLst>
                <a:ext uri="{FF2B5EF4-FFF2-40B4-BE49-F238E27FC236}">
                  <a16:creationId xmlns:a16="http://schemas.microsoft.com/office/drawing/2014/main" id="{89974354-3593-4781-99B2-E6E21A11E736}"/>
                </a:ext>
              </a:extLst>
            </p:cNvPr>
            <p:cNvSpPr/>
            <p:nvPr/>
          </p:nvSpPr>
          <p:spPr>
            <a:xfrm>
              <a:off x="9127482" y="4021351"/>
              <a:ext cx="2139255" cy="1455632"/>
            </a:xfrm>
            <a:custGeom>
              <a:avLst/>
              <a:gdLst/>
              <a:ahLst/>
              <a:cxnLst/>
              <a:rect l="l" t="t" r="r" b="b"/>
              <a:pathLst>
                <a:path w="2104390" h="1516379">
                  <a:moveTo>
                    <a:pt x="389076" y="0"/>
                  </a:moveTo>
                  <a:lnTo>
                    <a:pt x="348011" y="581"/>
                  </a:lnTo>
                  <a:lnTo>
                    <a:pt x="308718" y="3163"/>
                  </a:lnTo>
                  <a:lnTo>
                    <a:pt x="235838" y="14382"/>
                  </a:lnTo>
                  <a:lnTo>
                    <a:pt x="171222" y="33764"/>
                  </a:lnTo>
                  <a:lnTo>
                    <a:pt x="115653" y="61416"/>
                  </a:lnTo>
                  <a:lnTo>
                    <a:pt x="69915" y="97443"/>
                  </a:lnTo>
                  <a:lnTo>
                    <a:pt x="34791" y="141952"/>
                  </a:lnTo>
                  <a:lnTo>
                    <a:pt x="11607" y="193693"/>
                  </a:lnTo>
                  <a:lnTo>
                    <a:pt x="856" y="250914"/>
                  </a:lnTo>
                  <a:lnTo>
                    <a:pt x="0" y="281378"/>
                  </a:lnTo>
                  <a:lnTo>
                    <a:pt x="2080" y="312970"/>
                  </a:lnTo>
                  <a:lnTo>
                    <a:pt x="14822" y="379215"/>
                  </a:lnTo>
                  <a:lnTo>
                    <a:pt x="38626" y="449005"/>
                  </a:lnTo>
                  <a:lnTo>
                    <a:pt x="54532" y="485027"/>
                  </a:lnTo>
                  <a:lnTo>
                    <a:pt x="73033" y="521693"/>
                  </a:lnTo>
                  <a:lnTo>
                    <a:pt x="94070" y="558922"/>
                  </a:lnTo>
                  <a:lnTo>
                    <a:pt x="117587" y="596634"/>
                  </a:lnTo>
                  <a:lnTo>
                    <a:pt x="143525" y="634748"/>
                  </a:lnTo>
                  <a:lnTo>
                    <a:pt x="171830" y="673184"/>
                  </a:lnTo>
                  <a:lnTo>
                    <a:pt x="202442" y="711860"/>
                  </a:lnTo>
                  <a:lnTo>
                    <a:pt x="235305" y="750696"/>
                  </a:lnTo>
                  <a:lnTo>
                    <a:pt x="270361" y="789612"/>
                  </a:lnTo>
                  <a:lnTo>
                    <a:pt x="307554" y="828526"/>
                  </a:lnTo>
                  <a:lnTo>
                    <a:pt x="346827" y="867358"/>
                  </a:lnTo>
                  <a:lnTo>
                    <a:pt x="388122" y="906028"/>
                  </a:lnTo>
                  <a:lnTo>
                    <a:pt x="431382" y="944454"/>
                  </a:lnTo>
                  <a:lnTo>
                    <a:pt x="476549" y="982557"/>
                  </a:lnTo>
                  <a:lnTo>
                    <a:pt x="523568" y="1020254"/>
                  </a:lnTo>
                  <a:lnTo>
                    <a:pt x="572380" y="1057467"/>
                  </a:lnTo>
                  <a:lnTo>
                    <a:pt x="622929" y="1094113"/>
                  </a:lnTo>
                  <a:lnTo>
                    <a:pt x="675156" y="1130113"/>
                  </a:lnTo>
                  <a:lnTo>
                    <a:pt x="729006" y="1165385"/>
                  </a:lnTo>
                  <a:lnTo>
                    <a:pt x="784421" y="1199849"/>
                  </a:lnTo>
                  <a:lnTo>
                    <a:pt x="840628" y="1233007"/>
                  </a:lnTo>
                  <a:lnTo>
                    <a:pt x="896827" y="1264403"/>
                  </a:lnTo>
                  <a:lnTo>
                    <a:pt x="952919" y="1294024"/>
                  </a:lnTo>
                  <a:lnTo>
                    <a:pt x="1008806" y="1321858"/>
                  </a:lnTo>
                  <a:lnTo>
                    <a:pt x="1064391" y="1347890"/>
                  </a:lnTo>
                  <a:lnTo>
                    <a:pt x="1119576" y="1372108"/>
                  </a:lnTo>
                  <a:lnTo>
                    <a:pt x="1174263" y="1394498"/>
                  </a:lnTo>
                  <a:lnTo>
                    <a:pt x="1228353" y="1415047"/>
                  </a:lnTo>
                  <a:lnTo>
                    <a:pt x="1281749" y="1433742"/>
                  </a:lnTo>
                  <a:lnTo>
                    <a:pt x="1334353" y="1450569"/>
                  </a:lnTo>
                  <a:lnTo>
                    <a:pt x="1386066" y="1465515"/>
                  </a:lnTo>
                  <a:lnTo>
                    <a:pt x="1436792" y="1478567"/>
                  </a:lnTo>
                  <a:lnTo>
                    <a:pt x="1486431" y="1489711"/>
                  </a:lnTo>
                  <a:lnTo>
                    <a:pt x="1534886" y="1498934"/>
                  </a:lnTo>
                  <a:lnTo>
                    <a:pt x="1582059" y="1506222"/>
                  </a:lnTo>
                  <a:lnTo>
                    <a:pt x="1627852" y="1511564"/>
                  </a:lnTo>
                  <a:lnTo>
                    <a:pt x="1672168" y="1514944"/>
                  </a:lnTo>
                  <a:lnTo>
                    <a:pt x="1714907" y="1516351"/>
                  </a:lnTo>
                  <a:lnTo>
                    <a:pt x="1755972" y="1515769"/>
                  </a:lnTo>
                  <a:lnTo>
                    <a:pt x="1795265" y="1513187"/>
                  </a:lnTo>
                  <a:lnTo>
                    <a:pt x="1868144" y="1501968"/>
                  </a:lnTo>
                  <a:lnTo>
                    <a:pt x="1932760" y="1482586"/>
                  </a:lnTo>
                  <a:lnTo>
                    <a:pt x="1988329" y="1454934"/>
                  </a:lnTo>
                  <a:lnTo>
                    <a:pt x="2034068" y="1418907"/>
                  </a:lnTo>
                  <a:lnTo>
                    <a:pt x="2069192" y="1374398"/>
                  </a:lnTo>
                  <a:lnTo>
                    <a:pt x="2092376" y="1322657"/>
                  </a:lnTo>
                  <a:lnTo>
                    <a:pt x="2103127" y="1265436"/>
                  </a:lnTo>
                  <a:lnTo>
                    <a:pt x="2103983" y="1234972"/>
                  </a:lnTo>
                  <a:lnTo>
                    <a:pt x="2101903" y="1203380"/>
                  </a:lnTo>
                  <a:lnTo>
                    <a:pt x="2089161" y="1137135"/>
                  </a:lnTo>
                  <a:lnTo>
                    <a:pt x="2065357" y="1067345"/>
                  </a:lnTo>
                  <a:lnTo>
                    <a:pt x="2049450" y="1031323"/>
                  </a:lnTo>
                  <a:lnTo>
                    <a:pt x="2030950" y="994657"/>
                  </a:lnTo>
                  <a:lnTo>
                    <a:pt x="2009913" y="957428"/>
                  </a:lnTo>
                  <a:lnTo>
                    <a:pt x="1986396" y="919716"/>
                  </a:lnTo>
                  <a:lnTo>
                    <a:pt x="1960457" y="881602"/>
                  </a:lnTo>
                  <a:lnTo>
                    <a:pt x="1932153" y="843166"/>
                  </a:lnTo>
                  <a:lnTo>
                    <a:pt x="1901541" y="804490"/>
                  </a:lnTo>
                  <a:lnTo>
                    <a:pt x="1868678" y="765654"/>
                  </a:lnTo>
                  <a:lnTo>
                    <a:pt x="1833622" y="726738"/>
                  </a:lnTo>
                  <a:lnTo>
                    <a:pt x="1796428" y="687824"/>
                  </a:lnTo>
                  <a:lnTo>
                    <a:pt x="1757156" y="648992"/>
                  </a:lnTo>
                  <a:lnTo>
                    <a:pt x="1715861" y="610322"/>
                  </a:lnTo>
                  <a:lnTo>
                    <a:pt x="1672601" y="571896"/>
                  </a:lnTo>
                  <a:lnTo>
                    <a:pt x="1627434" y="533793"/>
                  </a:lnTo>
                  <a:lnTo>
                    <a:pt x="1580415" y="496096"/>
                  </a:lnTo>
                  <a:lnTo>
                    <a:pt x="1531603" y="458883"/>
                  </a:lnTo>
                  <a:lnTo>
                    <a:pt x="1481054" y="422237"/>
                  </a:lnTo>
                  <a:lnTo>
                    <a:pt x="1428826" y="386237"/>
                  </a:lnTo>
                  <a:lnTo>
                    <a:pt x="1374976" y="350965"/>
                  </a:lnTo>
                  <a:lnTo>
                    <a:pt x="1319561" y="316501"/>
                  </a:lnTo>
                  <a:lnTo>
                    <a:pt x="1263354" y="283344"/>
                  </a:lnTo>
                  <a:lnTo>
                    <a:pt x="1207156" y="251947"/>
                  </a:lnTo>
                  <a:lnTo>
                    <a:pt x="1151064" y="222326"/>
                  </a:lnTo>
                  <a:lnTo>
                    <a:pt x="1095177" y="194492"/>
                  </a:lnTo>
                  <a:lnTo>
                    <a:pt x="1039591" y="168460"/>
                  </a:lnTo>
                  <a:lnTo>
                    <a:pt x="984407" y="144242"/>
                  </a:lnTo>
                  <a:lnTo>
                    <a:pt x="929720" y="121852"/>
                  </a:lnTo>
                  <a:lnTo>
                    <a:pt x="875630" y="101303"/>
                  </a:lnTo>
                  <a:lnTo>
                    <a:pt x="822234" y="82608"/>
                  </a:lnTo>
                  <a:lnTo>
                    <a:pt x="769630" y="65781"/>
                  </a:lnTo>
                  <a:lnTo>
                    <a:pt x="717917" y="50835"/>
                  </a:lnTo>
                  <a:lnTo>
                    <a:pt x="667191" y="37784"/>
                  </a:lnTo>
                  <a:lnTo>
                    <a:pt x="617552" y="26640"/>
                  </a:lnTo>
                  <a:lnTo>
                    <a:pt x="569097" y="17416"/>
                  </a:lnTo>
                  <a:lnTo>
                    <a:pt x="521924" y="10128"/>
                  </a:lnTo>
                  <a:lnTo>
                    <a:pt x="476130" y="4786"/>
                  </a:lnTo>
                  <a:lnTo>
                    <a:pt x="431815" y="1406"/>
                  </a:lnTo>
                  <a:lnTo>
                    <a:pt x="389076" y="0"/>
                  </a:lnTo>
                  <a:close/>
                </a:path>
              </a:pathLst>
            </a:custGeom>
            <a:solidFill>
              <a:srgbClr val="F2CA44">
                <a:alpha val="54899"/>
              </a:srgbClr>
            </a:solidFill>
          </p:spPr>
          <p:txBody>
            <a:bodyPr wrap="square" lIns="0" tIns="0" rIns="0" bIns="0" rtlCol="0"/>
            <a:lstStyle/>
            <a:p>
              <a:pPr rtl="0"/>
              <a:endParaRPr sz="975" dirty="0"/>
            </a:p>
          </p:txBody>
        </p:sp>
        <p:pic>
          <p:nvPicPr>
            <p:cNvPr id="578" name="object 163">
              <a:extLst>
                <a:ext uri="{FF2B5EF4-FFF2-40B4-BE49-F238E27FC236}">
                  <a16:creationId xmlns:a16="http://schemas.microsoft.com/office/drawing/2014/main" id="{5C9FCCA5-5C8F-45F8-A514-2423D8104618}"/>
                </a:ext>
              </a:extLst>
            </p:cNvPr>
            <p:cNvPicPr/>
            <p:nvPr/>
          </p:nvPicPr>
          <p:blipFill>
            <a:blip r:embed="rId15" cstate="print"/>
            <a:stretch>
              <a:fillRect/>
            </a:stretch>
          </p:blipFill>
          <p:spPr>
            <a:xfrm>
              <a:off x="9586239" y="4130318"/>
              <a:ext cx="70500" cy="98689"/>
            </a:xfrm>
            <a:prstGeom prst="rect">
              <a:avLst/>
            </a:prstGeom>
          </p:spPr>
        </p:pic>
        <p:sp>
          <p:nvSpPr>
            <p:cNvPr id="579" name="object 164">
              <a:extLst>
                <a:ext uri="{FF2B5EF4-FFF2-40B4-BE49-F238E27FC236}">
                  <a16:creationId xmlns:a16="http://schemas.microsoft.com/office/drawing/2014/main" id="{8EDC4990-06AD-406D-BBF4-80210ECACAF2}"/>
                </a:ext>
              </a:extLst>
            </p:cNvPr>
            <p:cNvSpPr/>
            <p:nvPr/>
          </p:nvSpPr>
          <p:spPr>
            <a:xfrm>
              <a:off x="9518635" y="4210133"/>
              <a:ext cx="184619" cy="274303"/>
            </a:xfrm>
            <a:custGeom>
              <a:avLst/>
              <a:gdLst/>
              <a:ahLst/>
              <a:cxnLst/>
              <a:rect l="l" t="t" r="r" b="b"/>
              <a:pathLst>
                <a:path w="181610" h="285750">
                  <a:moveTo>
                    <a:pt x="180896" y="80388"/>
                  </a:moveTo>
                  <a:lnTo>
                    <a:pt x="56349" y="80388"/>
                  </a:lnTo>
                  <a:lnTo>
                    <a:pt x="53328" y="107531"/>
                  </a:lnTo>
                  <a:lnTo>
                    <a:pt x="48348" y="157478"/>
                  </a:lnTo>
                  <a:lnTo>
                    <a:pt x="43369" y="208609"/>
                  </a:lnTo>
                  <a:lnTo>
                    <a:pt x="40347" y="239303"/>
                  </a:lnTo>
                  <a:lnTo>
                    <a:pt x="38499" y="272995"/>
                  </a:lnTo>
                  <a:lnTo>
                    <a:pt x="38004" y="285627"/>
                  </a:lnTo>
                  <a:lnTo>
                    <a:pt x="86781" y="281691"/>
                  </a:lnTo>
                  <a:lnTo>
                    <a:pt x="133819" y="270106"/>
                  </a:lnTo>
                  <a:lnTo>
                    <a:pt x="177680" y="251568"/>
                  </a:lnTo>
                  <a:lnTo>
                    <a:pt x="180021" y="250114"/>
                  </a:lnTo>
                  <a:lnTo>
                    <a:pt x="176281" y="210889"/>
                  </a:lnTo>
                  <a:lnTo>
                    <a:pt x="174221" y="187934"/>
                  </a:lnTo>
                  <a:lnTo>
                    <a:pt x="171957" y="160317"/>
                  </a:lnTo>
                  <a:lnTo>
                    <a:pt x="168490" y="116367"/>
                  </a:lnTo>
                  <a:lnTo>
                    <a:pt x="181340" y="84915"/>
                  </a:lnTo>
                  <a:lnTo>
                    <a:pt x="180896" y="80388"/>
                  </a:lnTo>
                  <a:close/>
                </a:path>
                <a:path w="181610" h="285750">
                  <a:moveTo>
                    <a:pt x="0" y="59204"/>
                  </a:moveTo>
                  <a:lnTo>
                    <a:pt x="23012" y="100505"/>
                  </a:lnTo>
                  <a:lnTo>
                    <a:pt x="29976" y="102876"/>
                  </a:lnTo>
                  <a:lnTo>
                    <a:pt x="35771" y="101571"/>
                  </a:lnTo>
                  <a:lnTo>
                    <a:pt x="43520" y="94704"/>
                  </a:lnTo>
                  <a:lnTo>
                    <a:pt x="56349" y="80388"/>
                  </a:lnTo>
                  <a:lnTo>
                    <a:pt x="180896" y="80388"/>
                  </a:lnTo>
                  <a:lnTo>
                    <a:pt x="179351" y="64622"/>
                  </a:lnTo>
                  <a:lnTo>
                    <a:pt x="14561" y="64622"/>
                  </a:lnTo>
                  <a:lnTo>
                    <a:pt x="0" y="59204"/>
                  </a:lnTo>
                  <a:close/>
                </a:path>
                <a:path w="181610" h="285750">
                  <a:moveTo>
                    <a:pt x="110750" y="0"/>
                  </a:moveTo>
                  <a:lnTo>
                    <a:pt x="67930" y="8123"/>
                  </a:lnTo>
                  <a:lnTo>
                    <a:pt x="34136" y="53746"/>
                  </a:lnTo>
                  <a:lnTo>
                    <a:pt x="24434" y="63640"/>
                  </a:lnTo>
                  <a:lnTo>
                    <a:pt x="14561" y="64622"/>
                  </a:lnTo>
                  <a:lnTo>
                    <a:pt x="179351" y="64622"/>
                  </a:lnTo>
                  <a:lnTo>
                    <a:pt x="155879" y="17891"/>
                  </a:lnTo>
                  <a:lnTo>
                    <a:pt x="128493" y="2276"/>
                  </a:lnTo>
                  <a:lnTo>
                    <a:pt x="110750" y="0"/>
                  </a:lnTo>
                  <a:close/>
                </a:path>
              </a:pathLst>
            </a:custGeom>
            <a:solidFill>
              <a:srgbClr val="D1D5D5"/>
            </a:solidFill>
          </p:spPr>
          <p:txBody>
            <a:bodyPr wrap="square" lIns="0" tIns="0" rIns="0" bIns="0" rtlCol="0"/>
            <a:lstStyle/>
            <a:p>
              <a:pPr rtl="0"/>
              <a:endParaRPr sz="975" dirty="0"/>
            </a:p>
          </p:txBody>
        </p:sp>
        <p:pic>
          <p:nvPicPr>
            <p:cNvPr id="580" name="object 165">
              <a:extLst>
                <a:ext uri="{FF2B5EF4-FFF2-40B4-BE49-F238E27FC236}">
                  <a16:creationId xmlns:a16="http://schemas.microsoft.com/office/drawing/2014/main" id="{F28F171F-4964-4C1B-AC22-0CD645CD394F}"/>
                </a:ext>
              </a:extLst>
            </p:cNvPr>
            <p:cNvPicPr/>
            <p:nvPr/>
          </p:nvPicPr>
          <p:blipFill>
            <a:blip r:embed="rId16" cstate="print"/>
            <a:stretch>
              <a:fillRect/>
            </a:stretch>
          </p:blipFill>
          <p:spPr>
            <a:xfrm>
              <a:off x="9408949" y="4131773"/>
              <a:ext cx="279939" cy="352607"/>
            </a:xfrm>
            <a:prstGeom prst="rect">
              <a:avLst/>
            </a:prstGeom>
          </p:spPr>
        </p:pic>
        <p:pic>
          <p:nvPicPr>
            <p:cNvPr id="581" name="object 166">
              <a:extLst>
                <a:ext uri="{FF2B5EF4-FFF2-40B4-BE49-F238E27FC236}">
                  <a16:creationId xmlns:a16="http://schemas.microsoft.com/office/drawing/2014/main" id="{090F04BD-72D7-4513-A740-1E33322C6140}"/>
                </a:ext>
              </a:extLst>
            </p:cNvPr>
            <p:cNvPicPr/>
            <p:nvPr/>
          </p:nvPicPr>
          <p:blipFill>
            <a:blip r:embed="rId17" cstate="print"/>
            <a:stretch>
              <a:fillRect/>
            </a:stretch>
          </p:blipFill>
          <p:spPr>
            <a:xfrm>
              <a:off x="8801464" y="2710773"/>
              <a:ext cx="396662" cy="174480"/>
            </a:xfrm>
            <a:prstGeom prst="rect">
              <a:avLst/>
            </a:prstGeom>
          </p:spPr>
        </p:pic>
        <p:pic>
          <p:nvPicPr>
            <p:cNvPr id="582" name="object 167">
              <a:extLst>
                <a:ext uri="{FF2B5EF4-FFF2-40B4-BE49-F238E27FC236}">
                  <a16:creationId xmlns:a16="http://schemas.microsoft.com/office/drawing/2014/main" id="{37E77552-225B-4A4D-947F-9FC123844E80}"/>
                </a:ext>
              </a:extLst>
            </p:cNvPr>
            <p:cNvPicPr/>
            <p:nvPr/>
          </p:nvPicPr>
          <p:blipFill>
            <a:blip r:embed="rId18" cstate="print"/>
            <a:stretch>
              <a:fillRect/>
            </a:stretch>
          </p:blipFill>
          <p:spPr>
            <a:xfrm>
              <a:off x="9245263" y="2673238"/>
              <a:ext cx="372327" cy="125391"/>
            </a:xfrm>
            <a:prstGeom prst="rect">
              <a:avLst/>
            </a:prstGeom>
          </p:spPr>
        </p:pic>
        <p:pic>
          <p:nvPicPr>
            <p:cNvPr id="583" name="object 168">
              <a:extLst>
                <a:ext uri="{FF2B5EF4-FFF2-40B4-BE49-F238E27FC236}">
                  <a16:creationId xmlns:a16="http://schemas.microsoft.com/office/drawing/2014/main" id="{DA5E7E78-0039-490F-88F9-E69B0FA2778E}"/>
                </a:ext>
              </a:extLst>
            </p:cNvPr>
            <p:cNvPicPr/>
            <p:nvPr/>
          </p:nvPicPr>
          <p:blipFill>
            <a:blip r:embed="rId19" cstate="print"/>
            <a:stretch>
              <a:fillRect/>
            </a:stretch>
          </p:blipFill>
          <p:spPr>
            <a:xfrm>
              <a:off x="9637801" y="2674654"/>
              <a:ext cx="292074" cy="127074"/>
            </a:xfrm>
            <a:prstGeom prst="rect">
              <a:avLst/>
            </a:prstGeom>
          </p:spPr>
        </p:pic>
        <p:pic>
          <p:nvPicPr>
            <p:cNvPr id="584" name="object 169">
              <a:extLst>
                <a:ext uri="{FF2B5EF4-FFF2-40B4-BE49-F238E27FC236}">
                  <a16:creationId xmlns:a16="http://schemas.microsoft.com/office/drawing/2014/main" id="{B7870FE9-BB0B-495A-8B40-0B99FD5859A7}"/>
                </a:ext>
              </a:extLst>
            </p:cNvPr>
            <p:cNvPicPr/>
            <p:nvPr/>
          </p:nvPicPr>
          <p:blipFill>
            <a:blip r:embed="rId20" cstate="print"/>
            <a:stretch>
              <a:fillRect/>
            </a:stretch>
          </p:blipFill>
          <p:spPr>
            <a:xfrm>
              <a:off x="9967784" y="2758025"/>
              <a:ext cx="248474" cy="123028"/>
            </a:xfrm>
            <a:prstGeom prst="rect">
              <a:avLst/>
            </a:prstGeom>
          </p:spPr>
        </p:pic>
        <p:pic>
          <p:nvPicPr>
            <p:cNvPr id="585" name="object 170">
              <a:extLst>
                <a:ext uri="{FF2B5EF4-FFF2-40B4-BE49-F238E27FC236}">
                  <a16:creationId xmlns:a16="http://schemas.microsoft.com/office/drawing/2014/main" id="{6332C86B-E330-4145-963A-B4FCF369A886}"/>
                </a:ext>
              </a:extLst>
            </p:cNvPr>
            <p:cNvPicPr/>
            <p:nvPr/>
          </p:nvPicPr>
          <p:blipFill>
            <a:blip r:embed="rId21" cstate="print"/>
            <a:stretch>
              <a:fillRect/>
            </a:stretch>
          </p:blipFill>
          <p:spPr>
            <a:xfrm>
              <a:off x="9185136" y="3134863"/>
              <a:ext cx="360977" cy="122792"/>
            </a:xfrm>
            <a:prstGeom prst="rect">
              <a:avLst/>
            </a:prstGeom>
          </p:spPr>
        </p:pic>
        <p:pic>
          <p:nvPicPr>
            <p:cNvPr id="586" name="object 171">
              <a:extLst>
                <a:ext uri="{FF2B5EF4-FFF2-40B4-BE49-F238E27FC236}">
                  <a16:creationId xmlns:a16="http://schemas.microsoft.com/office/drawing/2014/main" id="{D34ADCEE-FEE4-4590-8514-F6C4576C8FC5}"/>
                </a:ext>
              </a:extLst>
            </p:cNvPr>
            <p:cNvPicPr/>
            <p:nvPr/>
          </p:nvPicPr>
          <p:blipFill>
            <a:blip r:embed="rId22" cstate="print"/>
            <a:stretch>
              <a:fillRect/>
            </a:stretch>
          </p:blipFill>
          <p:spPr>
            <a:xfrm>
              <a:off x="9565727" y="3135226"/>
              <a:ext cx="112431" cy="91291"/>
            </a:xfrm>
            <a:prstGeom prst="rect">
              <a:avLst/>
            </a:prstGeom>
          </p:spPr>
        </p:pic>
        <p:pic>
          <p:nvPicPr>
            <p:cNvPr id="587" name="object 172">
              <a:extLst>
                <a:ext uri="{FF2B5EF4-FFF2-40B4-BE49-F238E27FC236}">
                  <a16:creationId xmlns:a16="http://schemas.microsoft.com/office/drawing/2014/main" id="{EB6D71AD-BB0F-4E72-A049-15DEA06B3BCA}"/>
                </a:ext>
              </a:extLst>
            </p:cNvPr>
            <p:cNvPicPr/>
            <p:nvPr/>
          </p:nvPicPr>
          <p:blipFill>
            <a:blip r:embed="rId23" cstate="print"/>
            <a:stretch>
              <a:fillRect/>
            </a:stretch>
          </p:blipFill>
          <p:spPr>
            <a:xfrm>
              <a:off x="9720906" y="3146165"/>
              <a:ext cx="255141" cy="107529"/>
            </a:xfrm>
            <a:prstGeom prst="rect">
              <a:avLst/>
            </a:prstGeom>
          </p:spPr>
        </p:pic>
        <p:pic>
          <p:nvPicPr>
            <p:cNvPr id="588" name="object 173">
              <a:extLst>
                <a:ext uri="{FF2B5EF4-FFF2-40B4-BE49-F238E27FC236}">
                  <a16:creationId xmlns:a16="http://schemas.microsoft.com/office/drawing/2014/main" id="{A195F826-5083-4942-A533-0FFB654005F8}"/>
                </a:ext>
              </a:extLst>
            </p:cNvPr>
            <p:cNvPicPr/>
            <p:nvPr/>
          </p:nvPicPr>
          <p:blipFill>
            <a:blip r:embed="rId24" cstate="print"/>
            <a:stretch>
              <a:fillRect/>
            </a:stretch>
          </p:blipFill>
          <p:spPr>
            <a:xfrm>
              <a:off x="9077881" y="2871393"/>
              <a:ext cx="427955" cy="169071"/>
            </a:xfrm>
            <a:prstGeom prst="rect">
              <a:avLst/>
            </a:prstGeom>
          </p:spPr>
        </p:pic>
        <p:pic>
          <p:nvPicPr>
            <p:cNvPr id="589" name="object 174">
              <a:extLst>
                <a:ext uri="{FF2B5EF4-FFF2-40B4-BE49-F238E27FC236}">
                  <a16:creationId xmlns:a16="http://schemas.microsoft.com/office/drawing/2014/main" id="{1C8253CA-0D69-4C3E-8C1A-848E34E32125}"/>
                </a:ext>
              </a:extLst>
            </p:cNvPr>
            <p:cNvPicPr/>
            <p:nvPr/>
          </p:nvPicPr>
          <p:blipFill>
            <a:blip r:embed="rId25" cstate="print"/>
            <a:stretch>
              <a:fillRect/>
            </a:stretch>
          </p:blipFill>
          <p:spPr>
            <a:xfrm>
              <a:off x="9526245" y="2872378"/>
              <a:ext cx="252180" cy="99491"/>
            </a:xfrm>
            <a:prstGeom prst="rect">
              <a:avLst/>
            </a:prstGeom>
          </p:spPr>
        </p:pic>
        <p:pic>
          <p:nvPicPr>
            <p:cNvPr id="590" name="object 175">
              <a:extLst>
                <a:ext uri="{FF2B5EF4-FFF2-40B4-BE49-F238E27FC236}">
                  <a16:creationId xmlns:a16="http://schemas.microsoft.com/office/drawing/2014/main" id="{1A8447CC-64D9-4AD4-8CCF-CB54CB648F63}"/>
                </a:ext>
              </a:extLst>
            </p:cNvPr>
            <p:cNvPicPr/>
            <p:nvPr/>
          </p:nvPicPr>
          <p:blipFill>
            <a:blip r:embed="rId26" cstate="print"/>
            <a:stretch>
              <a:fillRect/>
            </a:stretch>
          </p:blipFill>
          <p:spPr>
            <a:xfrm>
              <a:off x="9823226" y="2921117"/>
              <a:ext cx="251253" cy="111254"/>
            </a:xfrm>
            <a:prstGeom prst="rect">
              <a:avLst/>
            </a:prstGeom>
          </p:spPr>
        </p:pic>
        <p:pic>
          <p:nvPicPr>
            <p:cNvPr id="591" name="object 176">
              <a:extLst>
                <a:ext uri="{FF2B5EF4-FFF2-40B4-BE49-F238E27FC236}">
                  <a16:creationId xmlns:a16="http://schemas.microsoft.com/office/drawing/2014/main" id="{F1E763AC-12B8-4045-873B-CC1EA88671C5}"/>
                </a:ext>
              </a:extLst>
            </p:cNvPr>
            <p:cNvPicPr/>
            <p:nvPr/>
          </p:nvPicPr>
          <p:blipFill>
            <a:blip r:embed="rId27" cstate="print"/>
            <a:stretch>
              <a:fillRect/>
            </a:stretch>
          </p:blipFill>
          <p:spPr>
            <a:xfrm>
              <a:off x="9201594" y="3375611"/>
              <a:ext cx="390559" cy="113523"/>
            </a:xfrm>
            <a:prstGeom prst="rect">
              <a:avLst/>
            </a:prstGeom>
          </p:spPr>
        </p:pic>
        <p:sp>
          <p:nvSpPr>
            <p:cNvPr id="592" name="object 177">
              <a:extLst>
                <a:ext uri="{FF2B5EF4-FFF2-40B4-BE49-F238E27FC236}">
                  <a16:creationId xmlns:a16="http://schemas.microsoft.com/office/drawing/2014/main" id="{68FE8408-D451-4741-8ACB-B98E686A8078}"/>
                </a:ext>
              </a:extLst>
            </p:cNvPr>
            <p:cNvSpPr/>
            <p:nvPr/>
          </p:nvSpPr>
          <p:spPr>
            <a:xfrm>
              <a:off x="9613784" y="3354540"/>
              <a:ext cx="17429" cy="92044"/>
            </a:xfrm>
            <a:custGeom>
              <a:avLst/>
              <a:gdLst/>
              <a:ahLst/>
              <a:cxnLst/>
              <a:rect l="l" t="t" r="r" b="b"/>
              <a:pathLst>
                <a:path w="17145" h="95885">
                  <a:moveTo>
                    <a:pt x="3492" y="0"/>
                  </a:moveTo>
                  <a:lnTo>
                    <a:pt x="0" y="95186"/>
                  </a:lnTo>
                  <a:lnTo>
                    <a:pt x="12141" y="95707"/>
                  </a:lnTo>
                  <a:lnTo>
                    <a:pt x="16738" y="558"/>
                  </a:lnTo>
                  <a:lnTo>
                    <a:pt x="3492" y="0"/>
                  </a:lnTo>
                  <a:close/>
                </a:path>
              </a:pathLst>
            </a:custGeom>
            <a:solidFill>
              <a:srgbClr val="010000"/>
            </a:solidFill>
          </p:spPr>
          <p:txBody>
            <a:bodyPr wrap="square" lIns="0" tIns="0" rIns="0" bIns="0" rtlCol="0"/>
            <a:lstStyle/>
            <a:p>
              <a:pPr rtl="0"/>
              <a:endParaRPr sz="975" dirty="0"/>
            </a:p>
          </p:txBody>
        </p:sp>
        <p:pic>
          <p:nvPicPr>
            <p:cNvPr id="593" name="object 178">
              <a:extLst>
                <a:ext uri="{FF2B5EF4-FFF2-40B4-BE49-F238E27FC236}">
                  <a16:creationId xmlns:a16="http://schemas.microsoft.com/office/drawing/2014/main" id="{CA2986CD-31DF-4ABF-9C40-1586336586F1}"/>
                </a:ext>
              </a:extLst>
            </p:cNvPr>
            <p:cNvPicPr/>
            <p:nvPr/>
          </p:nvPicPr>
          <p:blipFill>
            <a:blip r:embed="rId28" cstate="print"/>
            <a:stretch>
              <a:fillRect/>
            </a:stretch>
          </p:blipFill>
          <p:spPr>
            <a:xfrm>
              <a:off x="9682232" y="3390037"/>
              <a:ext cx="250073" cy="105374"/>
            </a:xfrm>
            <a:prstGeom prst="rect">
              <a:avLst/>
            </a:prstGeom>
          </p:spPr>
        </p:pic>
        <p:pic>
          <p:nvPicPr>
            <p:cNvPr id="594" name="object 179">
              <a:extLst>
                <a:ext uri="{FF2B5EF4-FFF2-40B4-BE49-F238E27FC236}">
                  <a16:creationId xmlns:a16="http://schemas.microsoft.com/office/drawing/2014/main" id="{C52C689B-52AB-4B5F-97C0-E24FA3A87650}"/>
                </a:ext>
              </a:extLst>
            </p:cNvPr>
            <p:cNvPicPr/>
            <p:nvPr/>
          </p:nvPicPr>
          <p:blipFill>
            <a:blip r:embed="rId29" cstate="print"/>
            <a:stretch>
              <a:fillRect/>
            </a:stretch>
          </p:blipFill>
          <p:spPr>
            <a:xfrm>
              <a:off x="9131438" y="3616604"/>
              <a:ext cx="408220" cy="155688"/>
            </a:xfrm>
            <a:prstGeom prst="rect">
              <a:avLst/>
            </a:prstGeom>
          </p:spPr>
        </p:pic>
        <p:pic>
          <p:nvPicPr>
            <p:cNvPr id="595" name="object 180">
              <a:extLst>
                <a:ext uri="{FF2B5EF4-FFF2-40B4-BE49-F238E27FC236}">
                  <a16:creationId xmlns:a16="http://schemas.microsoft.com/office/drawing/2014/main" id="{DD1ABE00-6EB5-44C2-A515-017F53275E8A}"/>
                </a:ext>
              </a:extLst>
            </p:cNvPr>
            <p:cNvPicPr/>
            <p:nvPr/>
          </p:nvPicPr>
          <p:blipFill>
            <a:blip r:embed="rId30" cstate="print"/>
            <a:stretch>
              <a:fillRect/>
            </a:stretch>
          </p:blipFill>
          <p:spPr>
            <a:xfrm>
              <a:off x="9591461" y="3614216"/>
              <a:ext cx="453943" cy="154026"/>
            </a:xfrm>
            <a:prstGeom prst="rect">
              <a:avLst/>
            </a:prstGeom>
          </p:spPr>
        </p:pic>
        <p:pic>
          <p:nvPicPr>
            <p:cNvPr id="596" name="object 181">
              <a:extLst>
                <a:ext uri="{FF2B5EF4-FFF2-40B4-BE49-F238E27FC236}">
                  <a16:creationId xmlns:a16="http://schemas.microsoft.com/office/drawing/2014/main" id="{B8BBE46F-6A09-43B5-8B24-B1D042F2B863}"/>
                </a:ext>
              </a:extLst>
            </p:cNvPr>
            <p:cNvPicPr/>
            <p:nvPr/>
          </p:nvPicPr>
          <p:blipFill>
            <a:blip r:embed="rId31" cstate="print"/>
            <a:stretch>
              <a:fillRect/>
            </a:stretch>
          </p:blipFill>
          <p:spPr>
            <a:xfrm>
              <a:off x="8987080" y="3882405"/>
              <a:ext cx="319989" cy="360737"/>
            </a:xfrm>
            <a:prstGeom prst="rect">
              <a:avLst/>
            </a:prstGeom>
          </p:spPr>
        </p:pic>
        <p:sp>
          <p:nvSpPr>
            <p:cNvPr id="597" name="object 182">
              <a:extLst>
                <a:ext uri="{FF2B5EF4-FFF2-40B4-BE49-F238E27FC236}">
                  <a16:creationId xmlns:a16="http://schemas.microsoft.com/office/drawing/2014/main" id="{779CBC6F-13D5-4958-B9CE-C967692F4DC0}"/>
                </a:ext>
              </a:extLst>
            </p:cNvPr>
            <p:cNvSpPr/>
            <p:nvPr/>
          </p:nvSpPr>
          <p:spPr>
            <a:xfrm>
              <a:off x="9333483" y="3828992"/>
              <a:ext cx="533846" cy="139590"/>
            </a:xfrm>
            <a:custGeom>
              <a:avLst/>
              <a:gdLst/>
              <a:ahLst/>
              <a:cxnLst/>
              <a:rect l="l" t="t" r="r" b="b"/>
              <a:pathLst>
                <a:path w="525145" h="145414">
                  <a:moveTo>
                    <a:pt x="40754" y="75933"/>
                  </a:moveTo>
                  <a:lnTo>
                    <a:pt x="38265" y="70485"/>
                  </a:lnTo>
                  <a:lnTo>
                    <a:pt x="37172" y="71513"/>
                  </a:lnTo>
                  <a:lnTo>
                    <a:pt x="35877" y="72478"/>
                  </a:lnTo>
                  <a:lnTo>
                    <a:pt x="32880" y="74218"/>
                  </a:lnTo>
                  <a:lnTo>
                    <a:pt x="31445" y="74879"/>
                  </a:lnTo>
                  <a:lnTo>
                    <a:pt x="27381" y="76276"/>
                  </a:lnTo>
                  <a:lnTo>
                    <a:pt x="25006" y="76695"/>
                  </a:lnTo>
                  <a:lnTo>
                    <a:pt x="20688" y="76517"/>
                  </a:lnTo>
                  <a:lnTo>
                    <a:pt x="9410" y="64795"/>
                  </a:lnTo>
                  <a:lnTo>
                    <a:pt x="9563" y="61277"/>
                  </a:lnTo>
                  <a:lnTo>
                    <a:pt x="30289" y="48425"/>
                  </a:lnTo>
                  <a:lnTo>
                    <a:pt x="29286" y="42926"/>
                  </a:lnTo>
                  <a:lnTo>
                    <a:pt x="0" y="66395"/>
                  </a:lnTo>
                  <a:lnTo>
                    <a:pt x="406" y="68961"/>
                  </a:lnTo>
                  <a:lnTo>
                    <a:pt x="18262" y="82638"/>
                  </a:lnTo>
                  <a:lnTo>
                    <a:pt x="24460" y="82511"/>
                  </a:lnTo>
                  <a:lnTo>
                    <a:pt x="39243" y="77101"/>
                  </a:lnTo>
                  <a:lnTo>
                    <a:pt x="40754" y="75933"/>
                  </a:lnTo>
                  <a:close/>
                </a:path>
                <a:path w="525145" h="145414">
                  <a:moveTo>
                    <a:pt x="89916" y="50215"/>
                  </a:moveTo>
                  <a:lnTo>
                    <a:pt x="80683" y="33642"/>
                  </a:lnTo>
                  <a:lnTo>
                    <a:pt x="80683" y="50215"/>
                  </a:lnTo>
                  <a:lnTo>
                    <a:pt x="80264" y="53606"/>
                  </a:lnTo>
                  <a:lnTo>
                    <a:pt x="64427" y="64465"/>
                  </a:lnTo>
                  <a:lnTo>
                    <a:pt x="60388" y="63893"/>
                  </a:lnTo>
                  <a:lnTo>
                    <a:pt x="50406" y="52095"/>
                  </a:lnTo>
                  <a:lnTo>
                    <a:pt x="50482" y="50012"/>
                  </a:lnTo>
                  <a:lnTo>
                    <a:pt x="66598" y="36791"/>
                  </a:lnTo>
                  <a:lnTo>
                    <a:pt x="70700" y="37363"/>
                  </a:lnTo>
                  <a:lnTo>
                    <a:pt x="80683" y="50215"/>
                  </a:lnTo>
                  <a:lnTo>
                    <a:pt x="80683" y="33642"/>
                  </a:lnTo>
                  <a:lnTo>
                    <a:pt x="77279" y="32080"/>
                  </a:lnTo>
                  <a:lnTo>
                    <a:pt x="74371" y="31407"/>
                  </a:lnTo>
                  <a:lnTo>
                    <a:pt x="67856" y="31038"/>
                  </a:lnTo>
                  <a:lnTo>
                    <a:pt x="64350" y="31407"/>
                  </a:lnTo>
                  <a:lnTo>
                    <a:pt x="40970" y="53606"/>
                  </a:lnTo>
                  <a:lnTo>
                    <a:pt x="41046" y="54610"/>
                  </a:lnTo>
                  <a:lnTo>
                    <a:pt x="63906" y="70091"/>
                  </a:lnTo>
                  <a:lnTo>
                    <a:pt x="67208" y="69723"/>
                  </a:lnTo>
                  <a:lnTo>
                    <a:pt x="73926" y="67983"/>
                  </a:lnTo>
                  <a:lnTo>
                    <a:pt x="76898" y="66738"/>
                  </a:lnTo>
                  <a:lnTo>
                    <a:pt x="80441" y="64465"/>
                  </a:lnTo>
                  <a:lnTo>
                    <a:pt x="82054" y="63436"/>
                  </a:lnTo>
                  <a:lnTo>
                    <a:pt x="84188" y="61544"/>
                  </a:lnTo>
                  <a:lnTo>
                    <a:pt x="87490" y="57289"/>
                  </a:lnTo>
                  <a:lnTo>
                    <a:pt x="88658" y="54991"/>
                  </a:lnTo>
                  <a:lnTo>
                    <a:pt x="89916" y="50215"/>
                  </a:lnTo>
                  <a:close/>
                </a:path>
                <a:path w="525145" h="145414">
                  <a:moveTo>
                    <a:pt x="145427" y="54229"/>
                  </a:moveTo>
                  <a:lnTo>
                    <a:pt x="142379" y="28117"/>
                  </a:lnTo>
                  <a:lnTo>
                    <a:pt x="140474" y="24523"/>
                  </a:lnTo>
                  <a:lnTo>
                    <a:pt x="133870" y="19812"/>
                  </a:lnTo>
                  <a:lnTo>
                    <a:pt x="128968" y="19037"/>
                  </a:lnTo>
                  <a:lnTo>
                    <a:pt x="119126" y="20447"/>
                  </a:lnTo>
                  <a:lnTo>
                    <a:pt x="115963" y="21513"/>
                  </a:lnTo>
                  <a:lnTo>
                    <a:pt x="110464" y="24714"/>
                  </a:lnTo>
                  <a:lnTo>
                    <a:pt x="108597" y="26657"/>
                  </a:lnTo>
                  <a:lnTo>
                    <a:pt x="107607" y="28956"/>
                  </a:lnTo>
                  <a:lnTo>
                    <a:pt x="107416" y="28981"/>
                  </a:lnTo>
                  <a:lnTo>
                    <a:pt x="106400" y="23380"/>
                  </a:lnTo>
                  <a:lnTo>
                    <a:pt x="97650" y="24968"/>
                  </a:lnTo>
                  <a:lnTo>
                    <a:pt x="104673" y="60337"/>
                  </a:lnTo>
                  <a:lnTo>
                    <a:pt x="113118" y="58813"/>
                  </a:lnTo>
                  <a:lnTo>
                    <a:pt x="109753" y="40246"/>
                  </a:lnTo>
                  <a:lnTo>
                    <a:pt x="109677" y="38214"/>
                  </a:lnTo>
                  <a:lnTo>
                    <a:pt x="126276" y="24942"/>
                  </a:lnTo>
                  <a:lnTo>
                    <a:pt x="129247" y="25755"/>
                  </a:lnTo>
                  <a:lnTo>
                    <a:pt x="132740" y="29502"/>
                  </a:lnTo>
                  <a:lnTo>
                    <a:pt x="133883" y="32562"/>
                  </a:lnTo>
                  <a:lnTo>
                    <a:pt x="136906" y="55245"/>
                  </a:lnTo>
                  <a:lnTo>
                    <a:pt x="145427" y="54229"/>
                  </a:lnTo>
                  <a:close/>
                </a:path>
                <a:path w="525145" h="145414">
                  <a:moveTo>
                    <a:pt x="185432" y="51142"/>
                  </a:moveTo>
                  <a:lnTo>
                    <a:pt x="185216" y="45491"/>
                  </a:lnTo>
                  <a:lnTo>
                    <a:pt x="184556" y="45834"/>
                  </a:lnTo>
                  <a:lnTo>
                    <a:pt x="181864" y="46761"/>
                  </a:lnTo>
                  <a:lnTo>
                    <a:pt x="180721" y="46939"/>
                  </a:lnTo>
                  <a:lnTo>
                    <a:pt x="177457" y="47091"/>
                  </a:lnTo>
                  <a:lnTo>
                    <a:pt x="175691" y="46647"/>
                  </a:lnTo>
                  <a:lnTo>
                    <a:pt x="172643" y="44691"/>
                  </a:lnTo>
                  <a:lnTo>
                    <a:pt x="171818" y="43129"/>
                  </a:lnTo>
                  <a:lnTo>
                    <a:pt x="170421" y="21285"/>
                  </a:lnTo>
                  <a:lnTo>
                    <a:pt x="175653" y="20967"/>
                  </a:lnTo>
                  <a:lnTo>
                    <a:pt x="183502" y="20637"/>
                  </a:lnTo>
                  <a:lnTo>
                    <a:pt x="183286" y="15303"/>
                  </a:lnTo>
                  <a:lnTo>
                    <a:pt x="178003" y="15494"/>
                  </a:lnTo>
                  <a:lnTo>
                    <a:pt x="170078" y="15951"/>
                  </a:lnTo>
                  <a:lnTo>
                    <a:pt x="169405" y="5486"/>
                  </a:lnTo>
                  <a:lnTo>
                    <a:pt x="160261" y="8255"/>
                  </a:lnTo>
                  <a:lnTo>
                    <a:pt x="160934" y="16586"/>
                  </a:lnTo>
                  <a:lnTo>
                    <a:pt x="149694" y="17551"/>
                  </a:lnTo>
                  <a:lnTo>
                    <a:pt x="150241" y="22872"/>
                  </a:lnTo>
                  <a:lnTo>
                    <a:pt x="161366" y="21907"/>
                  </a:lnTo>
                  <a:lnTo>
                    <a:pt x="163347" y="46507"/>
                  </a:lnTo>
                  <a:lnTo>
                    <a:pt x="164846" y="49047"/>
                  </a:lnTo>
                  <a:lnTo>
                    <a:pt x="170192" y="52070"/>
                  </a:lnTo>
                  <a:lnTo>
                    <a:pt x="173723" y="52679"/>
                  </a:lnTo>
                  <a:lnTo>
                    <a:pt x="179603" y="52387"/>
                  </a:lnTo>
                  <a:lnTo>
                    <a:pt x="180924" y="52209"/>
                  </a:lnTo>
                  <a:lnTo>
                    <a:pt x="185432" y="51142"/>
                  </a:lnTo>
                  <a:close/>
                </a:path>
                <a:path w="525145" h="145414">
                  <a:moveTo>
                    <a:pt x="222719" y="14757"/>
                  </a:moveTo>
                  <a:lnTo>
                    <a:pt x="219151" y="14224"/>
                  </a:lnTo>
                  <a:lnTo>
                    <a:pt x="213956" y="14084"/>
                  </a:lnTo>
                  <a:lnTo>
                    <a:pt x="211416" y="14643"/>
                  </a:lnTo>
                  <a:lnTo>
                    <a:pt x="206641" y="17030"/>
                  </a:lnTo>
                  <a:lnTo>
                    <a:pt x="204838" y="18580"/>
                  </a:lnTo>
                  <a:lnTo>
                    <a:pt x="203631" y="20434"/>
                  </a:lnTo>
                  <a:lnTo>
                    <a:pt x="203441" y="20434"/>
                  </a:lnTo>
                  <a:lnTo>
                    <a:pt x="203428" y="14884"/>
                  </a:lnTo>
                  <a:lnTo>
                    <a:pt x="194830" y="14973"/>
                  </a:lnTo>
                  <a:lnTo>
                    <a:pt x="195516" y="51003"/>
                  </a:lnTo>
                  <a:lnTo>
                    <a:pt x="204101" y="50914"/>
                  </a:lnTo>
                  <a:lnTo>
                    <a:pt x="204050" y="29984"/>
                  </a:lnTo>
                  <a:lnTo>
                    <a:pt x="205270" y="26390"/>
                  </a:lnTo>
                  <a:lnTo>
                    <a:pt x="210146" y="21183"/>
                  </a:lnTo>
                  <a:lnTo>
                    <a:pt x="213423" y="19850"/>
                  </a:lnTo>
                  <a:lnTo>
                    <a:pt x="219138" y="20015"/>
                  </a:lnTo>
                  <a:lnTo>
                    <a:pt x="220840" y="20256"/>
                  </a:lnTo>
                  <a:lnTo>
                    <a:pt x="222542" y="20688"/>
                  </a:lnTo>
                  <a:lnTo>
                    <a:pt x="222719" y="14757"/>
                  </a:lnTo>
                  <a:close/>
                </a:path>
                <a:path w="525145" h="145414">
                  <a:moveTo>
                    <a:pt x="243205" y="16116"/>
                  </a:moveTo>
                  <a:lnTo>
                    <a:pt x="239534" y="15862"/>
                  </a:lnTo>
                  <a:lnTo>
                    <a:pt x="234010" y="15582"/>
                  </a:lnTo>
                  <a:lnTo>
                    <a:pt x="232143" y="51562"/>
                  </a:lnTo>
                  <a:lnTo>
                    <a:pt x="237312" y="51828"/>
                  </a:lnTo>
                  <a:lnTo>
                    <a:pt x="240753" y="52057"/>
                  </a:lnTo>
                  <a:lnTo>
                    <a:pt x="243205" y="16116"/>
                  </a:lnTo>
                  <a:close/>
                </a:path>
                <a:path w="525145" h="145414">
                  <a:moveTo>
                    <a:pt x="244868" y="609"/>
                  </a:moveTo>
                  <a:lnTo>
                    <a:pt x="240626" y="330"/>
                  </a:lnTo>
                  <a:lnTo>
                    <a:pt x="234238" y="0"/>
                  </a:lnTo>
                  <a:lnTo>
                    <a:pt x="233857" y="7493"/>
                  </a:lnTo>
                  <a:lnTo>
                    <a:pt x="240157" y="7810"/>
                  </a:lnTo>
                  <a:lnTo>
                    <a:pt x="244348" y="8089"/>
                  </a:lnTo>
                  <a:lnTo>
                    <a:pt x="244868" y="609"/>
                  </a:lnTo>
                  <a:close/>
                </a:path>
                <a:path w="525145" h="145414">
                  <a:moveTo>
                    <a:pt x="304190" y="36169"/>
                  </a:moveTo>
                  <a:lnTo>
                    <a:pt x="294652" y="22275"/>
                  </a:lnTo>
                  <a:lnTo>
                    <a:pt x="294652" y="36169"/>
                  </a:lnTo>
                  <a:lnTo>
                    <a:pt x="294627" y="37833"/>
                  </a:lnTo>
                  <a:lnTo>
                    <a:pt x="281508" y="51676"/>
                  </a:lnTo>
                  <a:lnTo>
                    <a:pt x="276771" y="51028"/>
                  </a:lnTo>
                  <a:lnTo>
                    <a:pt x="274739" y="50368"/>
                  </a:lnTo>
                  <a:lnTo>
                    <a:pt x="272757" y="49085"/>
                  </a:lnTo>
                  <a:lnTo>
                    <a:pt x="271475" y="48260"/>
                  </a:lnTo>
                  <a:lnTo>
                    <a:pt x="266839" y="37833"/>
                  </a:lnTo>
                  <a:lnTo>
                    <a:pt x="267208" y="34645"/>
                  </a:lnTo>
                  <a:lnTo>
                    <a:pt x="280670" y="24320"/>
                  </a:lnTo>
                  <a:lnTo>
                    <a:pt x="285584" y="24993"/>
                  </a:lnTo>
                  <a:lnTo>
                    <a:pt x="294652" y="36169"/>
                  </a:lnTo>
                  <a:lnTo>
                    <a:pt x="294652" y="22275"/>
                  </a:lnTo>
                  <a:lnTo>
                    <a:pt x="292455" y="21043"/>
                  </a:lnTo>
                  <a:lnTo>
                    <a:pt x="289420" y="20091"/>
                  </a:lnTo>
                  <a:lnTo>
                    <a:pt x="281482" y="18986"/>
                  </a:lnTo>
                  <a:lnTo>
                    <a:pt x="277901" y="19075"/>
                  </a:lnTo>
                  <a:lnTo>
                    <a:pt x="272516" y="20662"/>
                  </a:lnTo>
                  <a:lnTo>
                    <a:pt x="270332" y="21818"/>
                  </a:lnTo>
                  <a:lnTo>
                    <a:pt x="268719" y="23291"/>
                  </a:lnTo>
                  <a:lnTo>
                    <a:pt x="268528" y="23279"/>
                  </a:lnTo>
                  <a:lnTo>
                    <a:pt x="271043" y="1498"/>
                  </a:lnTo>
                  <a:lnTo>
                    <a:pt x="267284" y="1079"/>
                  </a:lnTo>
                  <a:lnTo>
                    <a:pt x="261632" y="533"/>
                  </a:lnTo>
                  <a:lnTo>
                    <a:pt x="256400" y="53301"/>
                  </a:lnTo>
                  <a:lnTo>
                    <a:pt x="259676" y="53606"/>
                  </a:lnTo>
                  <a:lnTo>
                    <a:pt x="264579" y="54127"/>
                  </a:lnTo>
                  <a:lnTo>
                    <a:pt x="265150" y="49085"/>
                  </a:lnTo>
                  <a:lnTo>
                    <a:pt x="265328" y="49110"/>
                  </a:lnTo>
                  <a:lnTo>
                    <a:pt x="265836" y="49822"/>
                  </a:lnTo>
                  <a:lnTo>
                    <a:pt x="266522" y="50571"/>
                  </a:lnTo>
                  <a:lnTo>
                    <a:pt x="283933" y="57454"/>
                  </a:lnTo>
                  <a:lnTo>
                    <a:pt x="286994" y="57340"/>
                  </a:lnTo>
                  <a:lnTo>
                    <a:pt x="304190" y="38506"/>
                  </a:lnTo>
                  <a:lnTo>
                    <a:pt x="304190" y="36169"/>
                  </a:lnTo>
                  <a:close/>
                </a:path>
                <a:path w="525145" h="145414">
                  <a:moveTo>
                    <a:pt x="361962" y="36410"/>
                  </a:moveTo>
                  <a:lnTo>
                    <a:pt x="353098" y="33997"/>
                  </a:lnTo>
                  <a:lnTo>
                    <a:pt x="348056" y="52197"/>
                  </a:lnTo>
                  <a:lnTo>
                    <a:pt x="347243" y="54063"/>
                  </a:lnTo>
                  <a:lnTo>
                    <a:pt x="335381" y="61658"/>
                  </a:lnTo>
                  <a:lnTo>
                    <a:pt x="333159" y="61531"/>
                  </a:lnTo>
                  <a:lnTo>
                    <a:pt x="327190" y="60007"/>
                  </a:lnTo>
                  <a:lnTo>
                    <a:pt x="324815" y="58242"/>
                  </a:lnTo>
                  <a:lnTo>
                    <a:pt x="322961" y="53555"/>
                  </a:lnTo>
                  <a:lnTo>
                    <a:pt x="322986" y="50304"/>
                  </a:lnTo>
                  <a:lnTo>
                    <a:pt x="328053" y="27965"/>
                  </a:lnTo>
                  <a:lnTo>
                    <a:pt x="319062" y="26098"/>
                  </a:lnTo>
                  <a:lnTo>
                    <a:pt x="313664" y="51841"/>
                  </a:lnTo>
                  <a:lnTo>
                    <a:pt x="314286" y="55841"/>
                  </a:lnTo>
                  <a:lnTo>
                    <a:pt x="318668" y="62318"/>
                  </a:lnTo>
                  <a:lnTo>
                    <a:pt x="322681" y="64579"/>
                  </a:lnTo>
                  <a:lnTo>
                    <a:pt x="331711" y="66687"/>
                  </a:lnTo>
                  <a:lnTo>
                    <a:pt x="334810" y="66852"/>
                  </a:lnTo>
                  <a:lnTo>
                    <a:pt x="340817" y="66014"/>
                  </a:lnTo>
                  <a:lnTo>
                    <a:pt x="343242" y="64960"/>
                  </a:lnTo>
                  <a:lnTo>
                    <a:pt x="345097" y="63271"/>
                  </a:lnTo>
                  <a:lnTo>
                    <a:pt x="345274" y="63322"/>
                  </a:lnTo>
                  <a:lnTo>
                    <a:pt x="343738" y="68846"/>
                  </a:lnTo>
                  <a:lnTo>
                    <a:pt x="351764" y="71043"/>
                  </a:lnTo>
                  <a:lnTo>
                    <a:pt x="361962" y="36410"/>
                  </a:lnTo>
                  <a:close/>
                </a:path>
                <a:path w="525145" h="145414">
                  <a:moveTo>
                    <a:pt x="402183" y="49403"/>
                  </a:moveTo>
                  <a:lnTo>
                    <a:pt x="397192" y="47586"/>
                  </a:lnTo>
                  <a:lnTo>
                    <a:pt x="389661" y="45008"/>
                  </a:lnTo>
                  <a:lnTo>
                    <a:pt x="393153" y="35090"/>
                  </a:lnTo>
                  <a:lnTo>
                    <a:pt x="383578" y="34188"/>
                  </a:lnTo>
                  <a:lnTo>
                    <a:pt x="380936" y="42125"/>
                  </a:lnTo>
                  <a:lnTo>
                    <a:pt x="370141" y="38798"/>
                  </a:lnTo>
                  <a:lnTo>
                    <a:pt x="368541" y="43903"/>
                  </a:lnTo>
                  <a:lnTo>
                    <a:pt x="379234" y="47218"/>
                  </a:lnTo>
                  <a:lnTo>
                    <a:pt x="371411" y="70662"/>
                  </a:lnTo>
                  <a:lnTo>
                    <a:pt x="390067" y="83299"/>
                  </a:lnTo>
                  <a:lnTo>
                    <a:pt x="392087" y="78003"/>
                  </a:lnTo>
                  <a:lnTo>
                    <a:pt x="391350" y="78079"/>
                  </a:lnTo>
                  <a:lnTo>
                    <a:pt x="388480" y="77914"/>
                  </a:lnTo>
                  <a:lnTo>
                    <a:pt x="380580" y="70751"/>
                  </a:lnTo>
                  <a:lnTo>
                    <a:pt x="387883" y="50063"/>
                  </a:lnTo>
                  <a:lnTo>
                    <a:pt x="392861" y="51739"/>
                  </a:lnTo>
                  <a:lnTo>
                    <a:pt x="400278" y="54419"/>
                  </a:lnTo>
                  <a:lnTo>
                    <a:pt x="402183" y="49403"/>
                  </a:lnTo>
                  <a:close/>
                </a:path>
                <a:path w="525145" h="145414">
                  <a:moveTo>
                    <a:pt x="422681" y="57353"/>
                  </a:moveTo>
                  <a:lnTo>
                    <a:pt x="417550" y="55257"/>
                  </a:lnTo>
                  <a:lnTo>
                    <a:pt x="414096" y="53911"/>
                  </a:lnTo>
                  <a:lnTo>
                    <a:pt x="400494" y="87401"/>
                  </a:lnTo>
                  <a:lnTo>
                    <a:pt x="403720" y="88658"/>
                  </a:lnTo>
                  <a:lnTo>
                    <a:pt x="408533" y="90614"/>
                  </a:lnTo>
                  <a:lnTo>
                    <a:pt x="422681" y="57353"/>
                  </a:lnTo>
                  <a:close/>
                </a:path>
                <a:path w="525145" h="145414">
                  <a:moveTo>
                    <a:pt x="429348" y="43218"/>
                  </a:moveTo>
                  <a:lnTo>
                    <a:pt x="425399" y="41579"/>
                  </a:lnTo>
                  <a:lnTo>
                    <a:pt x="419417" y="39230"/>
                  </a:lnTo>
                  <a:lnTo>
                    <a:pt x="416610" y="46202"/>
                  </a:lnTo>
                  <a:lnTo>
                    <a:pt x="420535" y="47739"/>
                  </a:lnTo>
                  <a:lnTo>
                    <a:pt x="426402" y="50126"/>
                  </a:lnTo>
                  <a:lnTo>
                    <a:pt x="429348" y="43218"/>
                  </a:lnTo>
                  <a:close/>
                </a:path>
                <a:path w="525145" h="145414">
                  <a:moveTo>
                    <a:pt x="474256" y="91046"/>
                  </a:moveTo>
                  <a:lnTo>
                    <a:pt x="473735" y="88480"/>
                  </a:lnTo>
                  <a:lnTo>
                    <a:pt x="471474" y="83451"/>
                  </a:lnTo>
                  <a:lnTo>
                    <a:pt x="469722" y="81038"/>
                  </a:lnTo>
                  <a:lnTo>
                    <a:pt x="465137" y="76555"/>
                  </a:lnTo>
                  <a:lnTo>
                    <a:pt x="465137" y="91046"/>
                  </a:lnTo>
                  <a:lnTo>
                    <a:pt x="464896" y="93395"/>
                  </a:lnTo>
                  <a:lnTo>
                    <a:pt x="452437" y="103720"/>
                  </a:lnTo>
                  <a:lnTo>
                    <a:pt x="448348" y="103441"/>
                  </a:lnTo>
                  <a:lnTo>
                    <a:pt x="434987" y="89928"/>
                  </a:lnTo>
                  <a:lnTo>
                    <a:pt x="435051" y="88176"/>
                  </a:lnTo>
                  <a:lnTo>
                    <a:pt x="447751" y="75526"/>
                  </a:lnTo>
                  <a:lnTo>
                    <a:pt x="451942" y="75844"/>
                  </a:lnTo>
                  <a:lnTo>
                    <a:pt x="465137" y="91046"/>
                  </a:lnTo>
                  <a:lnTo>
                    <a:pt x="465137" y="76555"/>
                  </a:lnTo>
                  <a:lnTo>
                    <a:pt x="445376" y="68935"/>
                  </a:lnTo>
                  <a:lnTo>
                    <a:pt x="442366" y="68986"/>
                  </a:lnTo>
                  <a:lnTo>
                    <a:pt x="426224" y="86029"/>
                  </a:lnTo>
                  <a:lnTo>
                    <a:pt x="426377" y="89077"/>
                  </a:lnTo>
                  <a:lnTo>
                    <a:pt x="453834" y="110007"/>
                  </a:lnTo>
                  <a:lnTo>
                    <a:pt x="456730" y="109994"/>
                  </a:lnTo>
                  <a:lnTo>
                    <a:pt x="474116" y="95034"/>
                  </a:lnTo>
                  <a:lnTo>
                    <a:pt x="474256" y="91046"/>
                  </a:lnTo>
                  <a:close/>
                </a:path>
                <a:path w="525145" h="145414">
                  <a:moveTo>
                    <a:pt x="524611" y="119900"/>
                  </a:moveTo>
                  <a:lnTo>
                    <a:pt x="501650" y="99923"/>
                  </a:lnTo>
                  <a:lnTo>
                    <a:pt x="498919" y="100139"/>
                  </a:lnTo>
                  <a:lnTo>
                    <a:pt x="496595" y="101180"/>
                  </a:lnTo>
                  <a:lnTo>
                    <a:pt x="496443" y="101092"/>
                  </a:lnTo>
                  <a:lnTo>
                    <a:pt x="499465" y="96227"/>
                  </a:lnTo>
                  <a:lnTo>
                    <a:pt x="491744" y="91605"/>
                  </a:lnTo>
                  <a:lnTo>
                    <a:pt x="473087" y="122631"/>
                  </a:lnTo>
                  <a:lnTo>
                    <a:pt x="480542" y="127101"/>
                  </a:lnTo>
                  <a:lnTo>
                    <a:pt x="490575" y="111036"/>
                  </a:lnTo>
                  <a:lnTo>
                    <a:pt x="491883" y="109474"/>
                  </a:lnTo>
                  <a:lnTo>
                    <a:pt x="494804" y="106972"/>
                  </a:lnTo>
                  <a:lnTo>
                    <a:pt x="496430" y="106133"/>
                  </a:lnTo>
                  <a:lnTo>
                    <a:pt x="499935" y="105206"/>
                  </a:lnTo>
                  <a:lnTo>
                    <a:pt x="501827" y="105181"/>
                  </a:lnTo>
                  <a:lnTo>
                    <a:pt x="505866" y="106019"/>
                  </a:lnTo>
                  <a:lnTo>
                    <a:pt x="508050" y="106934"/>
                  </a:lnTo>
                  <a:lnTo>
                    <a:pt x="513524" y="110655"/>
                  </a:lnTo>
                  <a:lnTo>
                    <a:pt x="515226" y="113284"/>
                  </a:lnTo>
                  <a:lnTo>
                    <a:pt x="515340" y="118402"/>
                  </a:lnTo>
                  <a:lnTo>
                    <a:pt x="514134" y="121437"/>
                  </a:lnTo>
                  <a:lnTo>
                    <a:pt x="501053" y="140360"/>
                  </a:lnTo>
                  <a:lnTo>
                    <a:pt x="508228" y="145338"/>
                  </a:lnTo>
                  <a:lnTo>
                    <a:pt x="523621" y="123863"/>
                  </a:lnTo>
                  <a:lnTo>
                    <a:pt x="524611" y="119900"/>
                  </a:lnTo>
                  <a:close/>
                </a:path>
              </a:pathLst>
            </a:custGeom>
            <a:solidFill>
              <a:srgbClr val="010000"/>
            </a:solidFill>
          </p:spPr>
          <p:txBody>
            <a:bodyPr wrap="square" lIns="0" tIns="0" rIns="0" bIns="0" rtlCol="0"/>
            <a:lstStyle/>
            <a:p>
              <a:pPr rtl="0"/>
              <a:endParaRPr sz="975" dirty="0"/>
            </a:p>
          </p:txBody>
        </p:sp>
        <p:pic>
          <p:nvPicPr>
            <p:cNvPr id="598" name="object 183">
              <a:extLst>
                <a:ext uri="{FF2B5EF4-FFF2-40B4-BE49-F238E27FC236}">
                  <a16:creationId xmlns:a16="http://schemas.microsoft.com/office/drawing/2014/main" id="{EC74493D-F962-4ED8-B0D8-ECF8482BAF1B}"/>
                </a:ext>
              </a:extLst>
            </p:cNvPr>
            <p:cNvPicPr/>
            <p:nvPr/>
          </p:nvPicPr>
          <p:blipFill>
            <a:blip r:embed="rId32" cstate="print"/>
            <a:stretch>
              <a:fillRect/>
            </a:stretch>
          </p:blipFill>
          <p:spPr>
            <a:xfrm>
              <a:off x="9889430" y="3961444"/>
              <a:ext cx="73452" cy="79939"/>
            </a:xfrm>
            <a:prstGeom prst="rect">
              <a:avLst/>
            </a:prstGeom>
          </p:spPr>
        </p:pic>
        <p:pic>
          <p:nvPicPr>
            <p:cNvPr id="599" name="object 184">
              <a:extLst>
                <a:ext uri="{FF2B5EF4-FFF2-40B4-BE49-F238E27FC236}">
                  <a16:creationId xmlns:a16="http://schemas.microsoft.com/office/drawing/2014/main" id="{06276806-A499-4A4D-951D-5602024BEE31}"/>
                </a:ext>
              </a:extLst>
            </p:cNvPr>
            <p:cNvPicPr/>
            <p:nvPr/>
          </p:nvPicPr>
          <p:blipFill>
            <a:blip r:embed="rId33" cstate="print"/>
            <a:stretch>
              <a:fillRect/>
            </a:stretch>
          </p:blipFill>
          <p:spPr>
            <a:xfrm>
              <a:off x="9973176" y="4062043"/>
              <a:ext cx="106790" cy="176915"/>
            </a:xfrm>
            <a:prstGeom prst="rect">
              <a:avLst/>
            </a:prstGeom>
          </p:spPr>
        </p:pic>
      </p:grpSp>
      <p:sp>
        <p:nvSpPr>
          <p:cNvPr id="385" name="Rectangle 10">
            <a:extLst>
              <a:ext uri="{FF2B5EF4-FFF2-40B4-BE49-F238E27FC236}">
                <a16:creationId xmlns:a16="http://schemas.microsoft.com/office/drawing/2014/main" id="{AD989FBB-530D-4A17-ADB3-639BBD7E567F}"/>
              </a:ext>
            </a:extLst>
          </p:cNvPr>
          <p:cNvSpPr>
            <a:spLocks noChangeArrowheads="1"/>
          </p:cNvSpPr>
          <p:nvPr/>
        </p:nvSpPr>
        <p:spPr bwMode="auto">
          <a:xfrm>
            <a:off x="3108252" y="2619632"/>
            <a:ext cx="3149621"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p>
            <a:pPr defTabSz="895350">
              <a:lnSpc>
                <a:spcPct val="92000"/>
              </a:lnSpc>
              <a:buClr>
                <a:schemeClr val="tx2"/>
              </a:buClr>
            </a:pPr>
            <a:r>
              <a:rPr sz="900" dirty="0" err="1">
                <a:latin typeface="Arial" charset="0"/>
              </a:rPr>
              <a:t>統合と協力を通じて高効率かつ高品質なケアを提供し</a:t>
            </a:r>
            <a:r>
              <a:rPr sz="900" dirty="0">
                <a:latin typeface="Arial" charset="0"/>
              </a:rPr>
              <a:t>、</a:t>
            </a:r>
            <a:r>
              <a:rPr lang="ja" altLang="en-US" sz="900" dirty="0">
                <a:latin typeface="Arial" charset="0"/>
                <a:sym typeface=""/>
              </a:rPr>
              <a:t>低コストでの治療提供とデジタルツールを通じたケアへのアクセスを可能にすることがねらい </a:t>
            </a:r>
            <a:r>
              <a:rPr lang="ja-JP" altLang="en-US" sz="900" dirty="0">
                <a:latin typeface="Arial" charset="0"/>
                <a:sym typeface=""/>
              </a:rPr>
              <a:t>。</a:t>
            </a:r>
            <a:endParaRPr lang="ja" altLang="en-US" sz="900" dirty="0">
              <a:latin typeface="Arial" charset="0"/>
              <a:sym typeface=""/>
            </a:endParaRPr>
          </a:p>
        </p:txBody>
      </p:sp>
      <p:sp>
        <p:nvSpPr>
          <p:cNvPr id="71" name="Rectangle 10">
            <a:extLst>
              <a:ext uri="{FF2B5EF4-FFF2-40B4-BE49-F238E27FC236}">
                <a16:creationId xmlns:a16="http://schemas.microsoft.com/office/drawing/2014/main" id="{BC3B2D1C-36EA-45CD-81D3-697A92DCEC4E}"/>
              </a:ext>
            </a:extLst>
          </p:cNvPr>
          <p:cNvSpPr>
            <a:spLocks noChangeArrowheads="1"/>
          </p:cNvSpPr>
          <p:nvPr/>
        </p:nvSpPr>
        <p:spPr bwMode="auto">
          <a:xfrm>
            <a:off x="450725" y="2619632"/>
            <a:ext cx="2449685"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p>
            <a:pPr defTabSz="895350">
              <a:lnSpc>
                <a:spcPct val="92000"/>
              </a:lnSpc>
              <a:buClr>
                <a:schemeClr val="tx2"/>
              </a:buClr>
            </a:pPr>
            <a:r>
              <a:rPr lang="ja" altLang="en-US" sz="900" dirty="0">
                <a:latin typeface="Arial" charset="0"/>
              </a:rPr>
              <a:t>サービス提供の</a:t>
            </a:r>
            <a:r>
              <a:rPr lang="en-US" altLang="ja" sz="900" dirty="0" err="1">
                <a:latin typeface="Arial" charset="0"/>
              </a:rPr>
              <a:t>MoH</a:t>
            </a:r>
            <a:r>
              <a:rPr lang="ja" altLang="en-US" sz="900" dirty="0">
                <a:latin typeface="Arial" charset="0"/>
              </a:rPr>
              <a:t>からの分割と病院の法人化による患者中心の新たな</a:t>
            </a:r>
            <a:r>
              <a:rPr lang="en-US" altLang="ja" sz="900" dirty="0" err="1">
                <a:latin typeface="Arial" charset="0"/>
              </a:rPr>
              <a:t>MoC</a:t>
            </a:r>
            <a:r>
              <a:rPr lang="ja" altLang="en-US" sz="900" dirty="0">
                <a:latin typeface="Arial" charset="0"/>
              </a:rPr>
              <a:t>に関する基盤整備がねらい</a:t>
            </a:r>
            <a:r>
              <a:rPr lang="ja-JP" altLang="en-US" sz="900" dirty="0">
                <a:latin typeface="Arial" charset="0"/>
              </a:rPr>
              <a:t>。</a:t>
            </a:r>
            <a:endParaRPr lang="ja" altLang="en-US" sz="900" dirty="0">
              <a:latin typeface="Arial" charset="0"/>
            </a:endParaRPr>
          </a:p>
        </p:txBody>
      </p:sp>
      <p:sp>
        <p:nvSpPr>
          <p:cNvPr id="76" name="TextBox 75">
            <a:extLst>
              <a:ext uri="{FF2B5EF4-FFF2-40B4-BE49-F238E27FC236}">
                <a16:creationId xmlns:a16="http://schemas.microsoft.com/office/drawing/2014/main" id="{9E11A289-60B1-42F9-B348-9A8BF93882ED}"/>
              </a:ext>
            </a:extLst>
          </p:cNvPr>
          <p:cNvSpPr txBox="1">
            <a:spLocks/>
          </p:cNvSpPr>
          <p:nvPr/>
        </p:nvSpPr>
        <p:spPr>
          <a:xfrm>
            <a:off x="3108252" y="2373252"/>
            <a:ext cx="3149621"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6</a:t>
            </a:r>
            <a:r>
              <a:rPr lang="en-US" altLang="ja"/>
              <a:t>. </a:t>
            </a:r>
            <a:r>
              <a:rPr lang="ja" altLang="en-US"/>
              <a:t>医療</a:t>
            </a:r>
            <a:r>
              <a:rPr lang="ja" altLang="en-US" dirty="0"/>
              <a:t>機関の</a:t>
            </a:r>
            <a:r>
              <a:rPr lang="ja" altLang="en-US"/>
              <a:t>制度的変革</a:t>
            </a:r>
            <a:endParaRPr lang="pt-PT" dirty="0"/>
          </a:p>
        </p:txBody>
      </p:sp>
      <p:sp>
        <p:nvSpPr>
          <p:cNvPr id="72" name="TextBox 71">
            <a:extLst>
              <a:ext uri="{FF2B5EF4-FFF2-40B4-BE49-F238E27FC236}">
                <a16:creationId xmlns:a16="http://schemas.microsoft.com/office/drawing/2014/main" id="{21F21A96-DD10-4709-BE93-4ADBAF57F0B7}"/>
              </a:ext>
            </a:extLst>
          </p:cNvPr>
          <p:cNvSpPr txBox="1">
            <a:spLocks/>
          </p:cNvSpPr>
          <p:nvPr/>
        </p:nvSpPr>
        <p:spPr>
          <a:xfrm>
            <a:off x="450723" y="2373252"/>
            <a:ext cx="2449685"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dirty="0"/>
              <a:t>5.</a:t>
            </a:r>
            <a:r>
              <a:rPr lang="ja-JP" altLang="en-US" dirty="0"/>
              <a:t> </a:t>
            </a:r>
            <a:r>
              <a:rPr lang="ja" altLang="en-US" dirty="0"/>
              <a:t>医療セクターのガバナンス</a:t>
            </a:r>
          </a:p>
        </p:txBody>
      </p:sp>
      <p:sp>
        <p:nvSpPr>
          <p:cNvPr id="179" name="Rectangle 178">
            <a:extLst>
              <a:ext uri="{FF2B5EF4-FFF2-40B4-BE49-F238E27FC236}">
                <a16:creationId xmlns:a16="http://schemas.microsoft.com/office/drawing/2014/main" id="{F3D08A74-AF8C-4E3D-886A-1D513EB20095}"/>
              </a:ext>
            </a:extLst>
          </p:cNvPr>
          <p:cNvSpPr>
            <a:spLocks/>
          </p:cNvSpPr>
          <p:nvPr/>
        </p:nvSpPr>
        <p:spPr>
          <a:xfrm>
            <a:off x="450723" y="3054671"/>
            <a:ext cx="2449685" cy="2830964"/>
          </a:xfrm>
          <a:prstGeom prst="rect">
            <a:avLst/>
          </a:prstGeom>
          <a:solidFill>
            <a:srgbClr val="E6E6E6">
              <a:alpha val="9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US" sz="1463" dirty="0">
              <a:solidFill>
                <a:schemeClr val="tx1"/>
              </a:solidFill>
            </a:endParaRPr>
          </a:p>
        </p:txBody>
      </p:sp>
      <p:grpSp>
        <p:nvGrpSpPr>
          <p:cNvPr id="180" name="Group 179">
            <a:extLst>
              <a:ext uri="{FF2B5EF4-FFF2-40B4-BE49-F238E27FC236}">
                <a16:creationId xmlns:a16="http://schemas.microsoft.com/office/drawing/2014/main" id="{11D0DD1B-535A-4E43-B2EF-69CAE17C7549}"/>
              </a:ext>
            </a:extLst>
          </p:cNvPr>
          <p:cNvGrpSpPr>
            <a:grpSpLocks/>
          </p:cNvGrpSpPr>
          <p:nvPr/>
        </p:nvGrpSpPr>
        <p:grpSpPr>
          <a:xfrm>
            <a:off x="1454887" y="3120834"/>
            <a:ext cx="441357" cy="441190"/>
            <a:chOff x="9980983" y="1445941"/>
            <a:chExt cx="778602" cy="778603"/>
          </a:xfrm>
        </p:grpSpPr>
        <p:sp>
          <p:nvSpPr>
            <p:cNvPr id="237" name="Oval 236">
              <a:extLst>
                <a:ext uri="{FF2B5EF4-FFF2-40B4-BE49-F238E27FC236}">
                  <a16:creationId xmlns:a16="http://schemas.microsoft.com/office/drawing/2014/main" id="{CD672C7F-5BD2-472F-80F0-BC0EE48A0875}"/>
                </a:ext>
              </a:extLst>
            </p:cNvPr>
            <p:cNvSpPr/>
            <p:nvPr/>
          </p:nvSpPr>
          <p:spPr>
            <a:xfrm>
              <a:off x="9980983" y="1445941"/>
              <a:ext cx="778602" cy="778603"/>
            </a:xfrm>
            <a:prstGeom prst="ellipse">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94" dirty="0">
                <a:solidFill>
                  <a:schemeClr val="tx1"/>
                </a:solidFill>
              </a:endParaRPr>
            </a:p>
          </p:txBody>
        </p:sp>
        <p:pic>
          <p:nvPicPr>
            <p:cNvPr id="238" name="Picture 237">
              <a:extLst>
                <a:ext uri="{FF2B5EF4-FFF2-40B4-BE49-F238E27FC236}">
                  <a16:creationId xmlns:a16="http://schemas.microsoft.com/office/drawing/2014/main" id="{8F46ADC9-7DEA-4BEE-861D-3CE892445D3C}"/>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64208" y="1638473"/>
              <a:ext cx="612178" cy="393543"/>
            </a:xfrm>
            <a:prstGeom prst="rect">
              <a:avLst/>
            </a:prstGeom>
            <a:ln>
              <a:noFill/>
            </a:ln>
          </p:spPr>
        </p:pic>
      </p:grpSp>
      <p:sp>
        <p:nvSpPr>
          <p:cNvPr id="217" name="TextBox 216">
            <a:extLst>
              <a:ext uri="{FF2B5EF4-FFF2-40B4-BE49-F238E27FC236}">
                <a16:creationId xmlns:a16="http://schemas.microsoft.com/office/drawing/2014/main" id="{BAC29EF4-DBC0-4D06-A4F0-AA69BE325B26}"/>
              </a:ext>
            </a:extLst>
          </p:cNvPr>
          <p:cNvSpPr txBox="1">
            <a:spLocks/>
          </p:cNvSpPr>
          <p:nvPr/>
        </p:nvSpPr>
        <p:spPr>
          <a:xfrm>
            <a:off x="562010" y="3896677"/>
            <a:ext cx="436317" cy="13760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利用者</a:t>
            </a:r>
            <a:endParaRPr lang="en-GB" sz="894" dirty="0"/>
          </a:p>
        </p:txBody>
      </p:sp>
      <p:pic>
        <p:nvPicPr>
          <p:cNvPr id="11" name="CustomIcon">
            <a:extLst>
              <a:ext uri="{FF2B5EF4-FFF2-40B4-BE49-F238E27FC236}">
                <a16:creationId xmlns:a16="http://schemas.microsoft.com/office/drawing/2014/main" id="{30E6771C-203C-4662-BF1A-D4602C7D0CF3}"/>
              </a:ext>
            </a:extLst>
          </p:cNvPr>
          <p:cNvPicPr>
            <a:picLocks/>
          </p:cNvPicPr>
          <p:nvPr>
            <p:custDataLst>
              <p:tags r:id="rId3"/>
            </p:custDataLst>
          </p:nvPr>
        </p:nvPicPr>
        <p:blipFill>
          <a:blip r:embed="rId35">
            <a:extLst>
              <a:ext uri="{96DAC541-7B7A-43D3-8B79-37D633B846F1}">
                <asvg:svgBlip xmlns:asvg="http://schemas.microsoft.com/office/drawing/2016/SVG/main" r:embed="rId36"/>
              </a:ext>
            </a:extLst>
          </a:blip>
          <a:stretch>
            <a:fillRect/>
          </a:stretch>
        </p:blipFill>
        <p:spPr>
          <a:xfrm>
            <a:off x="656463" y="3630646"/>
            <a:ext cx="247412" cy="246516"/>
          </a:xfrm>
          <a:prstGeom prst="rect">
            <a:avLst/>
          </a:prstGeom>
        </p:spPr>
      </p:pic>
      <p:sp>
        <p:nvSpPr>
          <p:cNvPr id="231" name="TextBox 230">
            <a:extLst>
              <a:ext uri="{FF2B5EF4-FFF2-40B4-BE49-F238E27FC236}">
                <a16:creationId xmlns:a16="http://schemas.microsoft.com/office/drawing/2014/main" id="{22D32B96-A393-4AEB-94C8-68EBD5F06628}"/>
              </a:ext>
            </a:extLst>
          </p:cNvPr>
          <p:cNvSpPr txBox="1">
            <a:spLocks/>
          </p:cNvSpPr>
          <p:nvPr/>
        </p:nvSpPr>
        <p:spPr>
          <a:xfrm>
            <a:off x="1421594" y="3896677"/>
            <a:ext cx="507942" cy="13760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規制当局</a:t>
            </a:r>
          </a:p>
        </p:txBody>
      </p:sp>
      <p:pic>
        <p:nvPicPr>
          <p:cNvPr id="13" name="CustomIcon">
            <a:extLst>
              <a:ext uri="{FF2B5EF4-FFF2-40B4-BE49-F238E27FC236}">
                <a16:creationId xmlns:a16="http://schemas.microsoft.com/office/drawing/2014/main" id="{0E0FFAF2-57AD-4205-9A1E-EAF76B594C0E}"/>
              </a:ext>
            </a:extLst>
          </p:cNvPr>
          <p:cNvPicPr>
            <a:picLocks/>
          </p:cNvPicPr>
          <p:nvPr>
            <p:custDataLst>
              <p:tags r:id="rId4"/>
            </p:custDataLst>
          </p:nvPr>
        </p:nvPicPr>
        <p:blipFill>
          <a:blip r:embed="rId37">
            <a:extLst>
              <a:ext uri="{96DAC541-7B7A-43D3-8B79-37D633B846F1}">
                <asvg:svgBlip xmlns:asvg="http://schemas.microsoft.com/office/drawing/2016/SVG/main" r:embed="rId38"/>
              </a:ext>
            </a:extLst>
          </a:blip>
          <a:stretch>
            <a:fillRect/>
          </a:stretch>
        </p:blipFill>
        <p:spPr>
          <a:xfrm>
            <a:off x="1551859" y="3630646"/>
            <a:ext cx="247412" cy="246516"/>
          </a:xfrm>
          <a:prstGeom prst="rect">
            <a:avLst/>
          </a:prstGeom>
        </p:spPr>
      </p:pic>
      <p:sp>
        <p:nvSpPr>
          <p:cNvPr id="223" name="TextBox 222">
            <a:extLst>
              <a:ext uri="{FF2B5EF4-FFF2-40B4-BE49-F238E27FC236}">
                <a16:creationId xmlns:a16="http://schemas.microsoft.com/office/drawing/2014/main" id="{000B2E04-5C76-4DE5-AE8D-EFA66BB169D2}"/>
              </a:ext>
            </a:extLst>
          </p:cNvPr>
          <p:cNvSpPr txBox="1">
            <a:spLocks/>
          </p:cNvSpPr>
          <p:nvPr/>
        </p:nvSpPr>
        <p:spPr>
          <a:xfrm>
            <a:off x="2147955" y="3896677"/>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プロバイダー</a:t>
            </a:r>
            <a:endParaRPr lang="en-GB" sz="894" dirty="0"/>
          </a:p>
        </p:txBody>
      </p:sp>
      <p:pic>
        <p:nvPicPr>
          <p:cNvPr id="15" name="CustomIcon">
            <a:extLst>
              <a:ext uri="{FF2B5EF4-FFF2-40B4-BE49-F238E27FC236}">
                <a16:creationId xmlns:a16="http://schemas.microsoft.com/office/drawing/2014/main" id="{AC894703-DCDC-45EC-BF26-153B668F5E50}"/>
              </a:ext>
            </a:extLst>
          </p:cNvPr>
          <p:cNvPicPr>
            <a:picLocks/>
          </p:cNvPicPr>
          <p:nvPr>
            <p:custDataLst>
              <p:tags r:id="rId5"/>
            </p:custDataLst>
          </p:nvPr>
        </p:nvPicPr>
        <p:blipFill>
          <a:blip r:embed="rId39">
            <a:extLst>
              <a:ext uri="{96DAC541-7B7A-43D3-8B79-37D633B846F1}">
                <asvg:svgBlip xmlns:asvg="http://schemas.microsoft.com/office/drawing/2016/SVG/main" r:embed="rId40"/>
              </a:ext>
            </a:extLst>
          </a:blip>
          <a:stretch>
            <a:fillRect/>
          </a:stretch>
        </p:blipFill>
        <p:spPr>
          <a:xfrm>
            <a:off x="2352827" y="3630646"/>
            <a:ext cx="247412" cy="246516"/>
          </a:xfrm>
          <a:prstGeom prst="rect">
            <a:avLst/>
          </a:prstGeom>
        </p:spPr>
      </p:pic>
      <p:grpSp>
        <p:nvGrpSpPr>
          <p:cNvPr id="200" name="Group 199">
            <a:extLst>
              <a:ext uri="{FF2B5EF4-FFF2-40B4-BE49-F238E27FC236}">
                <a16:creationId xmlns:a16="http://schemas.microsoft.com/office/drawing/2014/main" id="{5D80C609-1498-46BE-9CB4-3CD904BC9CD5}"/>
              </a:ext>
            </a:extLst>
          </p:cNvPr>
          <p:cNvGrpSpPr>
            <a:grpSpLocks/>
          </p:cNvGrpSpPr>
          <p:nvPr/>
        </p:nvGrpSpPr>
        <p:grpSpPr>
          <a:xfrm>
            <a:off x="581780" y="4386233"/>
            <a:ext cx="441357" cy="441190"/>
            <a:chOff x="6838298" y="1432582"/>
            <a:chExt cx="1036320" cy="1036320"/>
          </a:xfrm>
        </p:grpSpPr>
        <p:sp>
          <p:nvSpPr>
            <p:cNvPr id="208" name="Oval 207">
              <a:extLst>
                <a:ext uri="{FF2B5EF4-FFF2-40B4-BE49-F238E27FC236}">
                  <a16:creationId xmlns:a16="http://schemas.microsoft.com/office/drawing/2014/main" id="{C6B92D9D-0374-4593-AFE8-F61FE8C4BC28}"/>
                </a:ext>
              </a:extLst>
            </p:cNvPr>
            <p:cNvSpPr/>
            <p:nvPr/>
          </p:nvSpPr>
          <p:spPr>
            <a:xfrm>
              <a:off x="6838298" y="1432582"/>
              <a:ext cx="1036320" cy="1036320"/>
            </a:xfrm>
            <a:prstGeom prst="ellipse">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94" dirty="0">
                <a:solidFill>
                  <a:schemeClr val="tx1"/>
                </a:solidFill>
              </a:endParaRPr>
            </a:p>
          </p:txBody>
        </p:sp>
        <p:pic>
          <p:nvPicPr>
            <p:cNvPr id="209" name="Picture 208">
              <a:extLst>
                <a:ext uri="{FF2B5EF4-FFF2-40B4-BE49-F238E27FC236}">
                  <a16:creationId xmlns:a16="http://schemas.microsoft.com/office/drawing/2014/main" id="{46E2ECFB-346B-4F6F-AA40-D5FF46CB5EBC}"/>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49054" y="1688840"/>
              <a:ext cx="814809" cy="523805"/>
            </a:xfrm>
            <a:prstGeom prst="rect">
              <a:avLst/>
            </a:prstGeom>
            <a:ln>
              <a:noFill/>
            </a:ln>
          </p:spPr>
        </p:pic>
      </p:grpSp>
      <p:sp>
        <p:nvSpPr>
          <p:cNvPr id="201" name="TextBox 200">
            <a:extLst>
              <a:ext uri="{FF2B5EF4-FFF2-40B4-BE49-F238E27FC236}">
                <a16:creationId xmlns:a16="http://schemas.microsoft.com/office/drawing/2014/main" id="{B0400AB8-11E2-491D-8680-1EDE8561643C}"/>
              </a:ext>
            </a:extLst>
          </p:cNvPr>
          <p:cNvSpPr txBox="1">
            <a:spLocks/>
          </p:cNvSpPr>
          <p:nvPr/>
        </p:nvSpPr>
        <p:spPr>
          <a:xfrm>
            <a:off x="2147955" y="4540371"/>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a:t>規制当局</a:t>
            </a:r>
          </a:p>
        </p:txBody>
      </p:sp>
      <p:pic>
        <p:nvPicPr>
          <p:cNvPr id="242" name="CustomIcon">
            <a:extLst>
              <a:ext uri="{FF2B5EF4-FFF2-40B4-BE49-F238E27FC236}">
                <a16:creationId xmlns:a16="http://schemas.microsoft.com/office/drawing/2014/main" id="{07163F90-3914-4CFC-A3FB-857E61CECA5E}"/>
              </a:ext>
            </a:extLst>
          </p:cNvPr>
          <p:cNvPicPr>
            <a:picLocks/>
          </p:cNvPicPr>
          <p:nvPr>
            <p:custDataLst>
              <p:tags r:id="rId6"/>
            </p:custDataLst>
          </p:nvPr>
        </p:nvPicPr>
        <p:blipFill>
          <a:blip r:embed="rId35">
            <a:extLst>
              <a:ext uri="{96DAC541-7B7A-43D3-8B79-37D633B846F1}">
                <asvg:svgBlip xmlns:asvg="http://schemas.microsoft.com/office/drawing/2016/SVG/main" r:embed="rId36"/>
              </a:ext>
            </a:extLst>
          </a:blip>
          <a:stretch>
            <a:fillRect/>
          </a:stretch>
        </p:blipFill>
        <p:spPr>
          <a:xfrm>
            <a:off x="1551859" y="4486143"/>
            <a:ext cx="247412" cy="246516"/>
          </a:xfrm>
          <a:prstGeom prst="rect">
            <a:avLst/>
          </a:prstGeom>
        </p:spPr>
      </p:pic>
      <p:sp>
        <p:nvSpPr>
          <p:cNvPr id="188" name="Oval 187">
            <a:extLst>
              <a:ext uri="{FF2B5EF4-FFF2-40B4-BE49-F238E27FC236}">
                <a16:creationId xmlns:a16="http://schemas.microsoft.com/office/drawing/2014/main" id="{70516DAB-D61E-416F-87A7-BE301C54358B}"/>
              </a:ext>
            </a:extLst>
          </p:cNvPr>
          <p:cNvSpPr>
            <a:spLocks/>
          </p:cNvSpPr>
          <p:nvPr/>
        </p:nvSpPr>
        <p:spPr>
          <a:xfrm>
            <a:off x="581780" y="4885265"/>
            <a:ext cx="441357" cy="441190"/>
          </a:xfrm>
          <a:prstGeom prst="ellipse">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43339" tIns="6191" rIns="43339" bIns="6191" rtlCol="0" anchor="ctr">
            <a:noAutofit/>
          </a:bodyPr>
          <a:lstStyle/>
          <a:p>
            <a:pPr algn="ctr" rtl="0">
              <a:lnSpc>
                <a:spcPct val="95000"/>
              </a:lnSpc>
              <a:buClr>
                <a:schemeClr val="tx2"/>
              </a:buClr>
            </a:pPr>
            <a:r>
              <a:rPr lang="ja" altLang="en-US" sz="650">
                <a:solidFill>
                  <a:schemeClr val="tx1"/>
                </a:solidFill>
              </a:rPr>
              <a:t>国営</a:t>
            </a:r>
            <a:br>
              <a:rPr lang="en-GB" sz="650" dirty="0">
                <a:solidFill>
                  <a:schemeClr val="tx1"/>
                </a:solidFill>
              </a:rPr>
            </a:br>
            <a:r>
              <a:rPr lang="ja" altLang="en-US" sz="650">
                <a:solidFill>
                  <a:schemeClr val="tx1"/>
                </a:solidFill>
              </a:rPr>
              <a:t>保険</a:t>
            </a:r>
            <a:br>
              <a:rPr lang="en-GB" sz="650" dirty="0">
                <a:solidFill>
                  <a:schemeClr val="tx1"/>
                </a:solidFill>
              </a:rPr>
            </a:br>
            <a:r>
              <a:rPr lang="ja" altLang="en-US" sz="650">
                <a:solidFill>
                  <a:schemeClr val="tx1"/>
                </a:solidFill>
              </a:rPr>
              <a:t>事業者 </a:t>
            </a:r>
          </a:p>
        </p:txBody>
      </p:sp>
      <p:sp>
        <p:nvSpPr>
          <p:cNvPr id="189" name="TextBox 188">
            <a:extLst>
              <a:ext uri="{FF2B5EF4-FFF2-40B4-BE49-F238E27FC236}">
                <a16:creationId xmlns:a16="http://schemas.microsoft.com/office/drawing/2014/main" id="{782DCC5E-9170-4A9C-8272-6A6C3A86D4C5}"/>
              </a:ext>
            </a:extLst>
          </p:cNvPr>
          <p:cNvSpPr txBox="1">
            <a:spLocks/>
          </p:cNvSpPr>
          <p:nvPr/>
        </p:nvSpPr>
        <p:spPr>
          <a:xfrm>
            <a:off x="2147955" y="5039403"/>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a:t>利用者</a:t>
            </a:r>
            <a:endParaRPr lang="en-GB" sz="894" dirty="0"/>
          </a:p>
        </p:txBody>
      </p:sp>
      <p:pic>
        <p:nvPicPr>
          <p:cNvPr id="243" name="CustomIcon">
            <a:extLst>
              <a:ext uri="{FF2B5EF4-FFF2-40B4-BE49-F238E27FC236}">
                <a16:creationId xmlns:a16="http://schemas.microsoft.com/office/drawing/2014/main" id="{9866B634-139D-4EF6-86D0-50F9C604525D}"/>
              </a:ext>
            </a:extLst>
          </p:cNvPr>
          <p:cNvPicPr>
            <a:picLocks/>
          </p:cNvPicPr>
          <p:nvPr>
            <p:custDataLst>
              <p:tags r:id="rId7"/>
            </p:custDataLst>
          </p:nvPr>
        </p:nvPicPr>
        <p:blipFill>
          <a:blip r:embed="rId37">
            <a:extLst>
              <a:ext uri="{96DAC541-7B7A-43D3-8B79-37D633B846F1}">
                <asvg:svgBlip xmlns:asvg="http://schemas.microsoft.com/office/drawing/2016/SVG/main" r:embed="rId38"/>
              </a:ext>
            </a:extLst>
          </a:blip>
          <a:stretch>
            <a:fillRect/>
          </a:stretch>
        </p:blipFill>
        <p:spPr>
          <a:xfrm>
            <a:off x="1551859" y="4985176"/>
            <a:ext cx="247412" cy="246516"/>
          </a:xfrm>
          <a:prstGeom prst="rect">
            <a:avLst/>
          </a:prstGeom>
        </p:spPr>
      </p:pic>
      <p:sp>
        <p:nvSpPr>
          <p:cNvPr id="185" name="Oval 184">
            <a:extLst>
              <a:ext uri="{FF2B5EF4-FFF2-40B4-BE49-F238E27FC236}">
                <a16:creationId xmlns:a16="http://schemas.microsoft.com/office/drawing/2014/main" id="{E0A6C0FE-42FE-434A-B04C-2B7116DB5342}"/>
              </a:ext>
            </a:extLst>
          </p:cNvPr>
          <p:cNvSpPr>
            <a:spLocks/>
          </p:cNvSpPr>
          <p:nvPr/>
        </p:nvSpPr>
        <p:spPr>
          <a:xfrm>
            <a:off x="581780" y="5384296"/>
            <a:ext cx="441357" cy="441190"/>
          </a:xfrm>
          <a:prstGeom prst="ellipse">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43339" tIns="6191" rIns="43339" bIns="6191" rtlCol="0" anchor="ctr">
            <a:noAutofit/>
          </a:bodyPr>
          <a:lstStyle/>
          <a:p>
            <a:pPr algn="ctr" rtl="0">
              <a:lnSpc>
                <a:spcPct val="95000"/>
              </a:lnSpc>
              <a:buClr>
                <a:schemeClr val="tx2"/>
              </a:buClr>
            </a:pPr>
            <a:r>
              <a:rPr lang="ja" altLang="en-US" sz="650">
                <a:solidFill>
                  <a:schemeClr val="tx1"/>
                </a:solidFill>
              </a:rPr>
              <a:t>国有</a:t>
            </a:r>
            <a:br>
              <a:rPr lang="en-GB" sz="650" dirty="0">
                <a:solidFill>
                  <a:schemeClr val="tx1"/>
                </a:solidFill>
              </a:rPr>
            </a:br>
            <a:r>
              <a:rPr lang="ja" altLang="en-US" sz="650">
                <a:solidFill>
                  <a:schemeClr val="tx1"/>
                </a:solidFill>
              </a:rPr>
              <a:t>企業</a:t>
            </a:r>
          </a:p>
        </p:txBody>
      </p:sp>
      <p:sp>
        <p:nvSpPr>
          <p:cNvPr id="186" name="TextBox 185">
            <a:extLst>
              <a:ext uri="{FF2B5EF4-FFF2-40B4-BE49-F238E27FC236}">
                <a16:creationId xmlns:a16="http://schemas.microsoft.com/office/drawing/2014/main" id="{E1D742B9-6687-4BF3-97AF-22E0DFA461C4}"/>
              </a:ext>
            </a:extLst>
          </p:cNvPr>
          <p:cNvSpPr txBox="1">
            <a:spLocks/>
          </p:cNvSpPr>
          <p:nvPr/>
        </p:nvSpPr>
        <p:spPr>
          <a:xfrm>
            <a:off x="2147955" y="5538434"/>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dirty="0"/>
              <a:t>プロバイダー</a:t>
            </a:r>
            <a:endParaRPr lang="en-GB" sz="894" dirty="0"/>
          </a:p>
        </p:txBody>
      </p:sp>
      <p:pic>
        <p:nvPicPr>
          <p:cNvPr id="244" name="CustomIcon">
            <a:extLst>
              <a:ext uri="{FF2B5EF4-FFF2-40B4-BE49-F238E27FC236}">
                <a16:creationId xmlns:a16="http://schemas.microsoft.com/office/drawing/2014/main" id="{7D4DD9AA-3DFA-4D36-A227-ED18533AB307}"/>
              </a:ext>
            </a:extLst>
          </p:cNvPr>
          <p:cNvPicPr>
            <a:picLocks/>
          </p:cNvPicPr>
          <p:nvPr>
            <p:custDataLst>
              <p:tags r:id="rId8"/>
            </p:custDataLst>
          </p:nvPr>
        </p:nvPicPr>
        <p:blipFill>
          <a:blip r:embed="rId39">
            <a:extLst>
              <a:ext uri="{96DAC541-7B7A-43D3-8B79-37D633B846F1}">
                <asvg:svgBlip xmlns:asvg="http://schemas.microsoft.com/office/drawing/2016/SVG/main" r:embed="rId40"/>
              </a:ext>
            </a:extLst>
          </a:blip>
          <a:stretch>
            <a:fillRect/>
          </a:stretch>
        </p:blipFill>
        <p:spPr>
          <a:xfrm>
            <a:off x="1551859" y="5484206"/>
            <a:ext cx="247412" cy="246516"/>
          </a:xfrm>
          <a:prstGeom prst="rect">
            <a:avLst/>
          </a:prstGeom>
        </p:spPr>
      </p:pic>
      <p:cxnSp>
        <p:nvCxnSpPr>
          <p:cNvPr id="211" name="Straight Connector 210">
            <a:extLst>
              <a:ext uri="{FF2B5EF4-FFF2-40B4-BE49-F238E27FC236}">
                <a16:creationId xmlns:a16="http://schemas.microsoft.com/office/drawing/2014/main" id="{C22DECEB-C0C1-4BFF-A5BC-CA32AE42640E}"/>
              </a:ext>
            </a:extLst>
          </p:cNvPr>
          <p:cNvCxnSpPr>
            <a:cxnSpLocks/>
          </p:cNvCxnSpPr>
          <p:nvPr/>
        </p:nvCxnSpPr>
        <p:spPr>
          <a:xfrm>
            <a:off x="562010" y="4229058"/>
            <a:ext cx="916658"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AC232F24-DA33-4D81-BCC0-330963EBECE7}"/>
              </a:ext>
            </a:extLst>
          </p:cNvPr>
          <p:cNvCxnSpPr>
            <a:cxnSpLocks/>
          </p:cNvCxnSpPr>
          <p:nvPr/>
        </p:nvCxnSpPr>
        <p:spPr>
          <a:xfrm>
            <a:off x="1872463" y="4229058"/>
            <a:ext cx="916658"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497D747-0AAA-4854-A183-7177527CF881}"/>
              </a:ext>
            </a:extLst>
          </p:cNvPr>
          <p:cNvGrpSpPr/>
          <p:nvPr/>
        </p:nvGrpSpPr>
        <p:grpSpPr>
          <a:xfrm>
            <a:off x="1550073" y="4104776"/>
            <a:ext cx="250985" cy="248563"/>
            <a:chOff x="1933947" y="3913627"/>
            <a:chExt cx="327909" cy="246822"/>
          </a:xfrm>
        </p:grpSpPr>
        <p:sp>
          <p:nvSpPr>
            <p:cNvPr id="22" name="Oval 21">
              <a:extLst>
                <a:ext uri="{FF2B5EF4-FFF2-40B4-BE49-F238E27FC236}">
                  <a16:creationId xmlns:a16="http://schemas.microsoft.com/office/drawing/2014/main" id="{C5A3A6BE-7B33-4574-BB8C-06DA9793D818}"/>
                </a:ext>
              </a:extLst>
            </p:cNvPr>
            <p:cNvSpPr/>
            <p:nvPr/>
          </p:nvSpPr>
          <p:spPr>
            <a:xfrm rot="5400000">
              <a:off x="1974491" y="3873083"/>
              <a:ext cx="246822" cy="32790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pt-PT" sz="1138" dirty="0" err="1">
                <a:solidFill>
                  <a:schemeClr val="bg1"/>
                </a:solidFill>
              </a:endParaRPr>
            </a:p>
          </p:txBody>
        </p:sp>
        <p:pic>
          <p:nvPicPr>
            <p:cNvPr id="26" name="Graphic 25">
              <a:extLst>
                <a:ext uri="{FF2B5EF4-FFF2-40B4-BE49-F238E27FC236}">
                  <a16:creationId xmlns:a16="http://schemas.microsoft.com/office/drawing/2014/main" id="{852F1D2B-400F-4F6D-9A40-BCA42829501C}"/>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5400000">
              <a:off x="1979234" y="3879384"/>
              <a:ext cx="237336" cy="315306"/>
            </a:xfrm>
            <a:prstGeom prst="rect">
              <a:avLst/>
            </a:prstGeom>
          </p:spPr>
        </p:pic>
      </p:grpSp>
      <p:sp>
        <p:nvSpPr>
          <p:cNvPr id="125" name="TextBox 124">
            <a:extLst>
              <a:ext uri="{FF2B5EF4-FFF2-40B4-BE49-F238E27FC236}">
                <a16:creationId xmlns:a16="http://schemas.microsoft.com/office/drawing/2014/main" id="{3282010E-810F-487D-9B7B-D59D37F0D942}"/>
              </a:ext>
            </a:extLst>
          </p:cNvPr>
          <p:cNvSpPr txBox="1">
            <a:spLocks/>
          </p:cNvSpPr>
          <p:nvPr>
            <p:custDataLst>
              <p:tags r:id="rId9"/>
            </p:custDataLst>
          </p:nvPr>
        </p:nvSpPr>
        <p:spPr>
          <a:xfrm>
            <a:off x="6465715" y="2619632"/>
            <a:ext cx="2987548" cy="20095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13"/>
              </a:spcBef>
            </a:pPr>
            <a:r>
              <a:rPr lang="ja" altLang="en-US" sz="975" dirty="0">
                <a:solidFill>
                  <a:srgbClr val="000000"/>
                </a:solidFill>
                <a:cs typeface="+mn-cs"/>
                <a:sym typeface=""/>
              </a:rPr>
              <a:t>国家機関 </a:t>
            </a:r>
            <a:r>
              <a:rPr lang="en-US" altLang="ja" sz="975" dirty="0">
                <a:solidFill>
                  <a:srgbClr val="000000"/>
                </a:solidFill>
                <a:cs typeface="+mn-cs"/>
                <a:sym typeface=""/>
              </a:rPr>
              <a:t>(</a:t>
            </a:r>
            <a:r>
              <a:rPr lang="ja" altLang="en-US" sz="975" b="1" dirty="0">
                <a:solidFill>
                  <a:srgbClr val="000000"/>
                </a:solidFill>
                <a:cs typeface="+mn-cs"/>
                <a:sym typeface=""/>
              </a:rPr>
              <a:t>国立健康保険センター</a:t>
            </a:r>
            <a:r>
              <a:rPr lang="en-US" altLang="ja" sz="975" dirty="0">
                <a:solidFill>
                  <a:srgbClr val="000000"/>
                </a:solidFill>
                <a:cs typeface="+mn-cs"/>
                <a:sym typeface=""/>
              </a:rPr>
              <a:t>) </a:t>
            </a:r>
            <a:r>
              <a:rPr lang="ja" altLang="en-US" sz="975" dirty="0">
                <a:solidFill>
                  <a:srgbClr val="000000"/>
                </a:solidFill>
                <a:cs typeface="+mn-cs"/>
                <a:sym typeface=""/>
              </a:rPr>
              <a:t>を設立し、医療費の支払いを行うとともに医療サービスの価値と質を強化することがねらい</a:t>
            </a:r>
            <a:r>
              <a:rPr lang="ja-JP" altLang="en-US" sz="975" dirty="0">
                <a:solidFill>
                  <a:srgbClr val="000000"/>
                </a:solidFill>
                <a:cs typeface="+mn-cs"/>
                <a:sym typeface=""/>
              </a:rPr>
              <a:t>。</a:t>
            </a:r>
            <a:endParaRPr lang="ja" altLang="en-US" sz="975" dirty="0">
              <a:solidFill>
                <a:srgbClr val="000000"/>
              </a:solidFill>
              <a:cs typeface="+mn-cs"/>
              <a:sym typeface=""/>
            </a:endParaRPr>
          </a:p>
          <a:p>
            <a:pPr lvl="1">
              <a:spcBef>
                <a:spcPts val="406"/>
              </a:spcBef>
            </a:pPr>
            <a:r>
              <a:rPr lang="ja" altLang="en-US" sz="975" dirty="0">
                <a:solidFill>
                  <a:srgbClr val="000000"/>
                </a:solidFill>
                <a:sym typeface=""/>
              </a:rPr>
              <a:t>国際的なベストプラクティスに従って国民の医療費を取り扱う唯一の国家機関</a:t>
            </a:r>
            <a:r>
              <a:rPr lang="ja-JP" altLang="en-US" sz="975" dirty="0">
                <a:solidFill>
                  <a:srgbClr val="000000"/>
                </a:solidFill>
                <a:sym typeface=""/>
              </a:rPr>
              <a:t>。</a:t>
            </a:r>
            <a:endParaRPr lang="ja" altLang="en-US" sz="975" dirty="0">
              <a:solidFill>
                <a:srgbClr val="000000"/>
              </a:solidFill>
              <a:sym typeface=""/>
            </a:endParaRPr>
          </a:p>
          <a:p>
            <a:pPr lvl="1">
              <a:spcBef>
                <a:spcPts val="406"/>
              </a:spcBef>
            </a:pPr>
            <a:r>
              <a:rPr lang="ja" altLang="en-US" sz="975" dirty="0">
                <a:solidFill>
                  <a:srgbClr val="000000"/>
                </a:solidFill>
                <a:sym typeface=""/>
              </a:rPr>
              <a:t>サービスプロバイダーからの医療サービスの購入にかかる資金の調達機構を提供</a:t>
            </a:r>
            <a:r>
              <a:rPr lang="ja-JP" altLang="en-US" sz="975" dirty="0">
                <a:solidFill>
                  <a:srgbClr val="000000"/>
                </a:solidFill>
                <a:sym typeface=""/>
              </a:rPr>
              <a:t>。</a:t>
            </a:r>
            <a:r>
              <a:rPr lang="ja" altLang="en-US" sz="975" dirty="0">
                <a:solidFill>
                  <a:srgbClr val="000000"/>
                </a:solidFill>
                <a:sym typeface=""/>
              </a:rPr>
              <a:t> </a:t>
            </a:r>
          </a:p>
          <a:p>
            <a:pPr lvl="1">
              <a:spcBef>
                <a:spcPts val="406"/>
              </a:spcBef>
            </a:pPr>
            <a:r>
              <a:rPr lang="ja" altLang="en-US" sz="975" dirty="0">
                <a:solidFill>
                  <a:srgbClr val="000000"/>
                </a:solidFill>
                <a:sym typeface=""/>
              </a:rPr>
              <a:t>各自のニーズに応じたカスタマイズ型の支払構造を通じて総合的医療の資金を調達</a:t>
            </a:r>
            <a:r>
              <a:rPr lang="ja-JP" altLang="en-US" sz="975" dirty="0">
                <a:solidFill>
                  <a:srgbClr val="000000"/>
                </a:solidFill>
                <a:sym typeface=""/>
              </a:rPr>
              <a:t>。</a:t>
            </a:r>
            <a:endParaRPr lang="ja" altLang="en-US" sz="975" dirty="0">
              <a:solidFill>
                <a:srgbClr val="000000"/>
              </a:solidFill>
              <a:sym typeface=""/>
            </a:endParaRPr>
          </a:p>
          <a:p>
            <a:pPr lvl="1">
              <a:spcBef>
                <a:spcPts val="406"/>
              </a:spcBef>
            </a:pPr>
            <a:r>
              <a:rPr lang="ja" altLang="en-US" sz="975" dirty="0">
                <a:solidFill>
                  <a:srgbClr val="000000"/>
                </a:solidFill>
                <a:sym typeface=""/>
              </a:rPr>
              <a:t>一定のペースで政策を変革し、総合的医療における支払手法の採用を推進</a:t>
            </a:r>
            <a:r>
              <a:rPr lang="ja-JP" altLang="en-US" sz="975" dirty="0">
                <a:solidFill>
                  <a:srgbClr val="000000"/>
                </a:solidFill>
                <a:sym typeface=""/>
              </a:rPr>
              <a:t>。</a:t>
            </a:r>
            <a:endParaRPr lang="pt-PT" sz="975" dirty="0">
              <a:solidFill>
                <a:srgbClr val="000000"/>
              </a:solidFill>
              <a:sym typeface=""/>
            </a:endParaRPr>
          </a:p>
        </p:txBody>
      </p:sp>
      <p:sp>
        <p:nvSpPr>
          <p:cNvPr id="126" name="TextBox 125">
            <a:extLst>
              <a:ext uri="{FF2B5EF4-FFF2-40B4-BE49-F238E27FC236}">
                <a16:creationId xmlns:a16="http://schemas.microsoft.com/office/drawing/2014/main" id="{4E3E4FAA-87EB-4150-9225-E5F3B6954A1F}"/>
              </a:ext>
            </a:extLst>
          </p:cNvPr>
          <p:cNvSpPr txBox="1">
            <a:spLocks/>
          </p:cNvSpPr>
          <p:nvPr/>
        </p:nvSpPr>
        <p:spPr>
          <a:xfrm>
            <a:off x="6465715" y="2373252"/>
            <a:ext cx="2987548" cy="156966"/>
          </a:xfrm>
          <a:prstGeom prst="rect">
            <a:avLst/>
          </a:prstGeom>
        </p:spPr>
        <p:txBody>
          <a:bodyPr vert="horz" wrap="square" lIns="0" tIns="0" rIns="0" bIns="0" rtlCol="0" anchor="b" anchorCtr="0">
            <a:no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7. </a:t>
            </a:r>
            <a:r>
              <a:rPr lang="ja" altLang="en-US" dirty="0"/>
              <a:t>国の健康保険制度と新規資金調達</a:t>
            </a:r>
            <a:endParaRPr lang="pt-PT" dirty="0"/>
          </a:p>
        </p:txBody>
      </p:sp>
      <p:sp>
        <p:nvSpPr>
          <p:cNvPr id="103" name="テキスト プレースホルダー 2">
            <a:extLst>
              <a:ext uri="{FF2B5EF4-FFF2-40B4-BE49-F238E27FC236}">
                <a16:creationId xmlns:a16="http://schemas.microsoft.com/office/drawing/2014/main" id="{9807CB03-43AA-40B5-A788-16DB341832EA}"/>
              </a:ext>
            </a:extLst>
          </p:cNvPr>
          <p:cNvSpPr>
            <a:spLocks noGrp="1"/>
          </p:cNvSpPr>
          <p:nvPr>
            <p:ph type="body" sz="quarter" idx="15"/>
          </p:nvPr>
        </p:nvSpPr>
        <p:spPr>
          <a:xfrm>
            <a:off x="200025" y="549275"/>
            <a:ext cx="9505950" cy="359445"/>
          </a:xfrm>
        </p:spPr>
        <p:txBody>
          <a:bodyPr/>
          <a:lstStyle/>
          <a:p>
            <a:r>
              <a:rPr lang="ja-JP" altLang="en-US" dirty="0"/>
              <a:t>医療関連政策の将来動向（</a:t>
            </a:r>
            <a:r>
              <a:rPr lang="en-US" altLang="ja-JP" dirty="0"/>
              <a:t>5/6</a:t>
            </a:r>
            <a:r>
              <a:rPr lang="ja-JP" altLang="en-US" dirty="0"/>
              <a:t>）</a:t>
            </a:r>
          </a:p>
        </p:txBody>
      </p:sp>
      <p:sp>
        <p:nvSpPr>
          <p:cNvPr id="105" name="テキスト ボックス 27">
            <a:extLst>
              <a:ext uri="{FF2B5EF4-FFF2-40B4-BE49-F238E27FC236}">
                <a16:creationId xmlns:a16="http://schemas.microsoft.com/office/drawing/2014/main" id="{9F2399EF-682F-47ED-935D-7FCEE011DF12}"/>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ST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重点を絞った施策を通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テーマすべてで医療セクターの変革をサポート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itle 11">
            <a:extLst>
              <a:ext uri="{FF2B5EF4-FFF2-40B4-BE49-F238E27FC236}">
                <a16:creationId xmlns:a16="http://schemas.microsoft.com/office/drawing/2014/main" id="{5888365F-02F2-4166-BBD4-AA44CF6491C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政策動向</a:t>
            </a:r>
            <a:endParaRPr kumimoji="1" lang="pt-PT" dirty="0"/>
          </a:p>
        </p:txBody>
      </p:sp>
      <p:sp>
        <p:nvSpPr>
          <p:cNvPr id="93" name="テキスト ボックス 21">
            <a:extLst>
              <a:ext uri="{FF2B5EF4-FFF2-40B4-BE49-F238E27FC236}">
                <a16:creationId xmlns:a16="http://schemas.microsoft.com/office/drawing/2014/main" id="{65F1A684-4AF9-4760-969D-5CEFF0961C17}"/>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cxnSp>
        <p:nvCxnSpPr>
          <p:cNvPr id="94" name="Straight Connector 93">
            <a:extLst>
              <a:ext uri="{FF2B5EF4-FFF2-40B4-BE49-F238E27FC236}">
                <a16:creationId xmlns:a16="http://schemas.microsoft.com/office/drawing/2014/main" id="{B5F95F1F-5E60-4C74-85A1-3D2F39903363}"/>
              </a:ext>
            </a:extLst>
          </p:cNvPr>
          <p:cNvCxnSpPr>
            <a:cxnSpLocks/>
          </p:cNvCxnSpPr>
          <p:nvPr/>
        </p:nvCxnSpPr>
        <p:spPr>
          <a:xfrm>
            <a:off x="450725" y="2576823"/>
            <a:ext cx="9004554"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E529142-0F3C-4771-80BD-7C3E07E6EC24}"/>
              </a:ext>
            </a:extLst>
          </p:cNvPr>
          <p:cNvGrpSpPr/>
          <p:nvPr/>
        </p:nvGrpSpPr>
        <p:grpSpPr>
          <a:xfrm>
            <a:off x="435220" y="1947058"/>
            <a:ext cx="5822652" cy="167894"/>
            <a:chOff x="435220" y="1947058"/>
            <a:chExt cx="1938111" cy="167894"/>
          </a:xfrm>
        </p:grpSpPr>
        <p:cxnSp>
          <p:nvCxnSpPr>
            <p:cNvPr id="97" name="Straight Connector 96">
              <a:extLst>
                <a:ext uri="{FF2B5EF4-FFF2-40B4-BE49-F238E27FC236}">
                  <a16:creationId xmlns:a16="http://schemas.microsoft.com/office/drawing/2014/main" id="{B5F76BCD-849D-4D81-AC3E-1DCDE52E3124}"/>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6AABEBC0-DB50-448A-95B3-87B21C0D5C35}"/>
                </a:ext>
              </a:extLst>
            </p:cNvPr>
            <p:cNvSpPr txBox="1">
              <a:spLocks/>
            </p:cNvSpPr>
            <p:nvPr>
              <p:custDataLst>
                <p:tags r:id="rId11"/>
              </p:custDataLst>
            </p:nvPr>
          </p:nvSpPr>
          <p:spPr>
            <a:xfrm>
              <a:off x="435220" y="1947058"/>
              <a:ext cx="1938110"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JP" altLang="en-US" sz="1200" dirty="0">
                  <a:latin typeface="HGP創英角ｺﾞｼｯｸUB" pitchFamily="50" charset="-128"/>
                  <a:ea typeface="HGP創英角ｺﾞｼｯｸUB" pitchFamily="50" charset="-128"/>
                  <a:cs typeface="+mn-cs"/>
                </a:rPr>
                <a:t>規制機関の役割と責任の変革</a:t>
              </a:r>
            </a:p>
          </p:txBody>
        </p:sp>
      </p:grpSp>
      <p:grpSp>
        <p:nvGrpSpPr>
          <p:cNvPr id="99" name="Group 98">
            <a:extLst>
              <a:ext uri="{FF2B5EF4-FFF2-40B4-BE49-F238E27FC236}">
                <a16:creationId xmlns:a16="http://schemas.microsoft.com/office/drawing/2014/main" id="{B8DB2864-CC2C-4452-9CE7-7FE3E8B791B8}"/>
              </a:ext>
            </a:extLst>
          </p:cNvPr>
          <p:cNvGrpSpPr>
            <a:grpSpLocks/>
          </p:cNvGrpSpPr>
          <p:nvPr/>
        </p:nvGrpSpPr>
        <p:grpSpPr>
          <a:xfrm>
            <a:off x="6465715" y="1947058"/>
            <a:ext cx="2987548" cy="167894"/>
            <a:chOff x="435220" y="1947058"/>
            <a:chExt cx="1938111" cy="167894"/>
          </a:xfrm>
        </p:grpSpPr>
        <p:cxnSp>
          <p:nvCxnSpPr>
            <p:cNvPr id="100" name="Straight Connector 99">
              <a:extLst>
                <a:ext uri="{FF2B5EF4-FFF2-40B4-BE49-F238E27FC236}">
                  <a16:creationId xmlns:a16="http://schemas.microsoft.com/office/drawing/2014/main" id="{986D2C93-BCB0-4623-B562-496F0B8C2E27}"/>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4552F2FB-C5AE-497B-9381-AC0679760374}"/>
                </a:ext>
              </a:extLst>
            </p:cNvPr>
            <p:cNvSpPr txBox="1">
              <a:spLocks/>
            </p:cNvSpPr>
            <p:nvPr>
              <p:custDataLst>
                <p:tags r:id="rId10"/>
              </p:custDataLst>
            </p:nvPr>
          </p:nvSpPr>
          <p:spPr>
            <a:xfrm>
              <a:off x="435220" y="1947058"/>
              <a:ext cx="1938110"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JP" altLang="en-US" sz="1200" dirty="0">
                  <a:latin typeface="HGP創英角ｺﾞｼｯｸUB" pitchFamily="50" charset="-128"/>
                  <a:ea typeface="HGP創英角ｺﾞｼｯｸUB" pitchFamily="50" charset="-128"/>
                  <a:cs typeface="+mn-cs"/>
                </a:rPr>
                <a:t>公共料金支払体制の変革 </a:t>
              </a:r>
            </a:p>
          </p:txBody>
        </p:sp>
      </p:grpSp>
    </p:spTree>
    <p:extLst>
      <p:ext uri="{BB962C8B-B14F-4D97-AF65-F5344CB8AC3E}">
        <p14:creationId xmlns:p14="http://schemas.microsoft.com/office/powerpoint/2010/main" val="312859787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86AC7-B689-B23B-2BA7-77BE620A054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F8194F-0358-F1E3-3450-1795C838B223}"/>
              </a:ext>
            </a:extLst>
          </p:cNvPr>
          <p:cNvGraphicFramePr>
            <a:graphicFrameLocks noChangeAspect="1"/>
          </p:cNvGraphicFramePr>
          <p:nvPr>
            <p:custDataLst>
              <p:tags r:id="rId1"/>
            </p:custDataLst>
            <p:extLst>
              <p:ext uri="{D42A27DB-BD31-4B8C-83A1-F6EECF244321}">
                <p14:modId xmlns:p14="http://schemas.microsoft.com/office/powerpoint/2010/main" val="54023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7" imgW="360" imgH="360" progId="TCLayout.ActiveDocument.1">
                  <p:embed/>
                </p:oleObj>
              </mc:Choice>
              <mc:Fallback>
                <p:oleObj name="think-cellスライド" r:id="rId17" imgW="360" imgH="360" progId="TCLayout.ActiveDocument.1">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2C088CBA-D11F-998E-39E2-3004E73FF17F}"/>
              </a:ext>
            </a:extLst>
          </p:cNvPr>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a:extLst>
              <a:ext uri="{FF2B5EF4-FFF2-40B4-BE49-F238E27FC236}">
                <a16:creationId xmlns:a16="http://schemas.microsoft.com/office/drawing/2014/main" id="{9BFFBEE8-1E34-1502-7C74-FA57669FF324}"/>
              </a:ext>
            </a:extLst>
          </p:cNvPr>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a:extLst>
              <a:ext uri="{FF2B5EF4-FFF2-40B4-BE49-F238E27FC236}">
                <a16:creationId xmlns:a16="http://schemas.microsoft.com/office/drawing/2014/main" id="{54E4CEDA-B6F7-DDA3-70B9-FEC1D7B3AC02}"/>
              </a:ext>
            </a:extLst>
          </p:cNvPr>
          <p:cNvSpPr>
            <a:spLocks noGrp="1"/>
          </p:cNvSpPr>
          <p:nvPr>
            <p:ph type="body" sz="quarter" idx="15"/>
          </p:nvPr>
        </p:nvSpPr>
        <p:spPr/>
        <p:txBody>
          <a:bodyPr>
            <a:noAutofit/>
          </a:bodyPr>
          <a:lstStyle/>
          <a:p>
            <a:r>
              <a:rPr lang="ja-JP" altLang="en-US" dirty="0"/>
              <a:t>医療関連政策の将来動向（</a:t>
            </a:r>
            <a:r>
              <a:rPr lang="en-US" altLang="ja-JP" dirty="0"/>
              <a:t>6/6</a:t>
            </a:r>
            <a:r>
              <a:rPr lang="ja-JP" altLang="en-US" dirty="0"/>
              <a:t>）</a:t>
            </a:r>
          </a:p>
        </p:txBody>
      </p:sp>
      <p:sp>
        <p:nvSpPr>
          <p:cNvPr id="4" name="テキスト ボックス 3">
            <a:extLst>
              <a:ext uri="{FF2B5EF4-FFF2-40B4-BE49-F238E27FC236}">
                <a16:creationId xmlns:a16="http://schemas.microsoft.com/office/drawing/2014/main" id="{BB729801-6469-0F26-CB62-4F11750A53D8}"/>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サウジアラビア</a:t>
            </a:r>
            <a:r>
              <a:rPr lang="ja-JP" altLang="ja-JP" sz="1400" dirty="0"/>
              <a:t>の</a:t>
            </a:r>
            <a:r>
              <a:rPr lang="ja-JP" altLang="en-US" sz="1400" dirty="0"/>
              <a:t>医療分野における連結</a:t>
            </a:r>
            <a:r>
              <a:rPr lang="ja-JP" altLang="ja-JP" sz="1400" dirty="0"/>
              <a:t>予算の</a:t>
            </a:r>
            <a:r>
              <a:rPr lang="ja-JP" altLang="en-US" sz="1400" dirty="0"/>
              <a:t>推移・</a:t>
            </a:r>
            <a:r>
              <a:rPr lang="ja-JP" altLang="ja-JP" sz="1400" dirty="0"/>
              <a:t>内訳</a:t>
            </a:r>
            <a:r>
              <a:rPr lang="ja-JP" altLang="en-US" sz="1400" dirty="0"/>
              <a:t>を以下に示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a:extLst>
              <a:ext uri="{FF2B5EF4-FFF2-40B4-BE49-F238E27FC236}">
                <a16:creationId xmlns:a16="http://schemas.microsoft.com/office/drawing/2014/main" id="{A546A3DE-3827-3106-72B4-70BBF9C1AFF8}"/>
              </a:ext>
            </a:extLst>
          </p:cNvPr>
          <p:cNvSpPr txBox="1"/>
          <p:nvPr/>
        </p:nvSpPr>
        <p:spPr>
          <a:xfrm>
            <a:off x="200472" y="6453336"/>
            <a:ext cx="8640960" cy="144016"/>
          </a:xfrm>
          <a:prstGeom prst="rect">
            <a:avLst/>
          </a:prstGeom>
          <a:noFill/>
        </p:spPr>
        <p:txBody>
          <a:bodyPr wrap="square" lIns="0" tIns="0" rIns="0" bIns="0" rtlCol="0">
            <a:noAutofit/>
          </a:bodyPr>
          <a:lstStyle/>
          <a:p>
            <a:r>
              <a:rPr lang="ja-JP" altLang="en-US" sz="800" dirty="0"/>
              <a:t>（出所）　</a:t>
            </a:r>
            <a:r>
              <a:rPr lang="en-IN" altLang="ja-JP" sz="800" dirty="0"/>
              <a:t>MoH </a:t>
            </a:r>
            <a:r>
              <a:rPr lang="en-US" altLang="ja-JP" sz="800" dirty="0"/>
              <a:t>Statistical Book for the Year 2024 </a:t>
            </a:r>
            <a:r>
              <a:rPr lang="ja-JP" altLang="en-US" sz="800" dirty="0"/>
              <a:t>（</a:t>
            </a:r>
            <a:r>
              <a:rPr lang="en-US" altLang="ja-JP" sz="800" dirty="0"/>
              <a:t>2026</a:t>
            </a:r>
            <a:r>
              <a:rPr lang="ja-JP" altLang="en-US" sz="800" dirty="0"/>
              <a:t>年</a:t>
            </a:r>
            <a:r>
              <a:rPr lang="en-US" altLang="ja-JP" sz="800" dirty="0"/>
              <a:t>3</a:t>
            </a:r>
            <a:r>
              <a:rPr lang="ja-JP" altLang="en-US" sz="800" dirty="0"/>
              <a:t>月時点） </a:t>
            </a:r>
            <a:endParaRPr lang="en-US" altLang="ja-JP" sz="800" dirty="0"/>
          </a:p>
        </p:txBody>
      </p:sp>
      <p:sp>
        <p:nvSpPr>
          <p:cNvPr id="108" name="正方形/長方形 35">
            <a:extLst>
              <a:ext uri="{FF2B5EF4-FFF2-40B4-BE49-F238E27FC236}">
                <a16:creationId xmlns:a16="http://schemas.microsoft.com/office/drawing/2014/main" id="{BC3CC6D1-2A53-591B-2590-9AE57C23CBD8}"/>
              </a:ext>
            </a:extLst>
          </p:cNvPr>
          <p:cNvSpPr/>
          <p:nvPr/>
        </p:nvSpPr>
        <p:spPr>
          <a:xfrm>
            <a:off x="920552" y="5476784"/>
            <a:ext cx="3744416" cy="832536"/>
          </a:xfrm>
          <a:prstGeom prst="rect">
            <a:avLst/>
          </a:prstGeom>
        </p:spPr>
        <p:txBody>
          <a:bodyPr wrap="square" lIns="0" rIns="0">
            <a:noAutofit/>
          </a:bodyPr>
          <a:lstStyle/>
          <a:p>
            <a:pPr marL="152400" lvl="1" indent="-152400" algn="just">
              <a:lnSpc>
                <a:spcPct val="114000"/>
              </a:lnSpc>
              <a:spcAft>
                <a:spcPts val="300"/>
              </a:spcAft>
              <a:buClr>
                <a:srgbClr val="5F8AC3"/>
              </a:buClr>
              <a:buSzPct val="90000"/>
              <a:buFont typeface="Wingdings" panose="05000000000000000000" pitchFamily="2" charset="2"/>
              <a:buChar char="l"/>
            </a:pPr>
            <a:endParaRPr lang="ja-JP" altLang="ja-JP" sz="1000" dirty="0"/>
          </a:p>
        </p:txBody>
      </p:sp>
      <p:cxnSp>
        <p:nvCxnSpPr>
          <p:cNvPr id="89" name="直線コネクタ 22">
            <a:extLst>
              <a:ext uri="{FF2B5EF4-FFF2-40B4-BE49-F238E27FC236}">
                <a16:creationId xmlns:a16="http://schemas.microsoft.com/office/drawing/2014/main" id="{C9F5D956-9239-7D80-316C-4B1B3A252033}"/>
              </a:ext>
            </a:extLst>
          </p:cNvPr>
          <p:cNvCxnSpPr>
            <a:cxnSpLocks/>
          </p:cNvCxnSpPr>
          <p:nvPr/>
        </p:nvCxnSpPr>
        <p:spPr>
          <a:xfrm>
            <a:off x="200024" y="1737678"/>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a:extLst>
              <a:ext uri="{FF2B5EF4-FFF2-40B4-BE49-F238E27FC236}">
                <a16:creationId xmlns:a16="http://schemas.microsoft.com/office/drawing/2014/main" id="{739558D3-C8D7-AF53-36C2-403434662C25}"/>
              </a:ext>
            </a:extLst>
          </p:cNvPr>
          <p:cNvSpPr>
            <a:spLocks noChangeArrowheads="1"/>
          </p:cNvSpPr>
          <p:nvPr/>
        </p:nvSpPr>
        <p:spPr bwMode="auto">
          <a:xfrm>
            <a:off x="200025" y="1506538"/>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予算と保健省の予算の推移</a:t>
            </a:r>
          </a:p>
        </p:txBody>
      </p:sp>
      <p:graphicFrame>
        <p:nvGraphicFramePr>
          <p:cNvPr id="185" name="Chart 184">
            <a:extLst>
              <a:ext uri="{FF2B5EF4-FFF2-40B4-BE49-F238E27FC236}">
                <a16:creationId xmlns:a16="http://schemas.microsoft.com/office/drawing/2014/main" id="{04850010-D20E-62D9-1690-A03DA27A6AD5}"/>
              </a:ext>
            </a:extLst>
          </p:cNvPr>
          <p:cNvGraphicFramePr/>
          <p:nvPr>
            <p:custDataLst>
              <p:tags r:id="rId3"/>
            </p:custDataLst>
            <p:extLst>
              <p:ext uri="{D42A27DB-BD31-4B8C-83A1-F6EECF244321}">
                <p14:modId xmlns:p14="http://schemas.microsoft.com/office/powerpoint/2010/main" val="1712477300"/>
              </p:ext>
            </p:extLst>
          </p:nvPr>
        </p:nvGraphicFramePr>
        <p:xfrm>
          <a:off x="96838" y="2668588"/>
          <a:ext cx="9355137" cy="3430587"/>
        </p:xfrm>
        <a:graphic>
          <a:graphicData uri="http://schemas.openxmlformats.org/drawingml/2006/chart">
            <c:chart xmlns:c="http://schemas.openxmlformats.org/drawingml/2006/chart" xmlns:r="http://schemas.openxmlformats.org/officeDocument/2006/relationships" r:id="rId19"/>
          </a:graphicData>
        </a:graphic>
      </p:graphicFrame>
      <p:sp>
        <p:nvSpPr>
          <p:cNvPr id="53" name="テキスト プレースホルダ 9">
            <a:extLst>
              <a:ext uri="{FF2B5EF4-FFF2-40B4-BE49-F238E27FC236}">
                <a16:creationId xmlns:a16="http://schemas.microsoft.com/office/drawing/2014/main" id="{E198765D-A19E-3D3E-4519-F0A8192F709E}"/>
              </a:ext>
            </a:extLst>
          </p:cNvPr>
          <p:cNvSpPr>
            <a:spLocks noGrp="1"/>
          </p:cNvSpPr>
          <p:nvPr>
            <p:custDataLst>
              <p:tags r:id="rId4"/>
            </p:custDataLst>
          </p:nvPr>
        </p:nvSpPr>
        <p:spPr bwMode="auto">
          <a:xfrm>
            <a:off x="200025" y="2662238"/>
            <a:ext cx="12890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a:t>
            </a:r>
            <a:r>
              <a:rPr kumimoji="0" lang="en-US" altLang="ja-JP" sz="800" dirty="0">
                <a:sym typeface="+mn-lt"/>
              </a:rPr>
              <a:t>10</a:t>
            </a:r>
            <a:r>
              <a:rPr kumimoji="0" lang="ja-JP" altLang="en-US" sz="800" dirty="0">
                <a:sym typeface="+mn-lt"/>
              </a:rPr>
              <a:t>億サウジアラビア・リヤル）</a:t>
            </a:r>
          </a:p>
        </p:txBody>
      </p:sp>
      <p:sp>
        <p:nvSpPr>
          <p:cNvPr id="35" name="テキスト プレースホルダ 9">
            <a:extLst>
              <a:ext uri="{FF2B5EF4-FFF2-40B4-BE49-F238E27FC236}">
                <a16:creationId xmlns:a16="http://schemas.microsoft.com/office/drawing/2014/main" id="{4AB18AE6-9762-AD34-3E50-767627B4877D}"/>
              </a:ext>
            </a:extLst>
          </p:cNvPr>
          <p:cNvSpPr>
            <a:spLocks noGrp="1"/>
          </p:cNvSpPr>
          <p:nvPr>
            <p:custDataLst>
              <p:tags r:id="rId5"/>
            </p:custDataLst>
          </p:nvPr>
        </p:nvSpPr>
        <p:spPr bwMode="auto">
          <a:xfrm>
            <a:off x="1274763"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768A6CA-8D4A-44A1-B2DF-993F56FF7FC9}" type="datetime'''''''''2''''0''''''''''''''''''''''''''''20'''''''''''''''''">
              <a:rPr lang="ja-JP" altLang="en-US" sz="1000" smtClean="0"/>
              <a:pPr/>
              <a:t>2020</a:t>
            </a:fld>
            <a:endParaRPr kumimoji="0" lang="ja-JP" altLang="en-US" sz="1000" dirty="0">
              <a:sym typeface="+mn-lt"/>
            </a:endParaRPr>
          </a:p>
        </p:txBody>
      </p:sp>
      <p:sp>
        <p:nvSpPr>
          <p:cNvPr id="36" name="テキスト プレースホルダ 9">
            <a:extLst>
              <a:ext uri="{FF2B5EF4-FFF2-40B4-BE49-F238E27FC236}">
                <a16:creationId xmlns:a16="http://schemas.microsoft.com/office/drawing/2014/main" id="{804A7EB6-2A8B-ED79-A36D-116D840292B5}"/>
              </a:ext>
            </a:extLst>
          </p:cNvPr>
          <p:cNvSpPr>
            <a:spLocks noGrp="1"/>
          </p:cNvSpPr>
          <p:nvPr>
            <p:custDataLst>
              <p:tags r:id="rId6"/>
            </p:custDataLst>
          </p:nvPr>
        </p:nvSpPr>
        <p:spPr bwMode="auto">
          <a:xfrm>
            <a:off x="3040063"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AB8566E-BF4E-420C-8760-A004CDA88A1E}" type="datetime'''''2''''''''''''''''''0''''2''''''''''''''''1'''">
              <a:rPr lang="ja-JP" altLang="en-US" sz="1000" smtClean="0"/>
              <a:pPr/>
              <a:t>2021</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88594932-B9DB-7056-29CF-B6F68E5BFEBF}"/>
              </a:ext>
            </a:extLst>
          </p:cNvPr>
          <p:cNvSpPr>
            <a:spLocks noGrp="1"/>
          </p:cNvSpPr>
          <p:nvPr>
            <p:custDataLst>
              <p:tags r:id="rId7"/>
            </p:custDataLst>
          </p:nvPr>
        </p:nvSpPr>
        <p:spPr bwMode="auto">
          <a:xfrm>
            <a:off x="4806950"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C83D1B-744F-48BE-B488-837F5F3D7A36}" type="datetime'2''''''''0''''''''''''2''''''''''''2'''''''''''''''''">
              <a:rPr lang="ja-JP" altLang="en-US" sz="1000" smtClean="0"/>
              <a:pPr/>
              <a:t>2022</a:t>
            </a:fld>
            <a:endParaRPr kumimoji="0" lang="ja-JP" altLang="en-US" sz="1000" dirty="0">
              <a:sym typeface="+mn-lt"/>
            </a:endParaRPr>
          </a:p>
        </p:txBody>
      </p:sp>
      <p:sp>
        <p:nvSpPr>
          <p:cNvPr id="38" name="テキスト プレースホルダ 9">
            <a:extLst>
              <a:ext uri="{FF2B5EF4-FFF2-40B4-BE49-F238E27FC236}">
                <a16:creationId xmlns:a16="http://schemas.microsoft.com/office/drawing/2014/main" id="{F68107A9-7C1F-3098-7CA3-77BCA1B94C6C}"/>
              </a:ext>
            </a:extLst>
          </p:cNvPr>
          <p:cNvSpPr>
            <a:spLocks noGrp="1"/>
          </p:cNvSpPr>
          <p:nvPr>
            <p:custDataLst>
              <p:tags r:id="rId8"/>
            </p:custDataLst>
          </p:nvPr>
        </p:nvSpPr>
        <p:spPr bwMode="auto">
          <a:xfrm>
            <a:off x="6572250"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CC29B7D-F89F-41B2-BCF3-DED70B308F4B}" type="datetime'''''''''''''''''''''''''20''23'''''''''''''''''''''''''''''''">
              <a:rPr lang="ja-JP" altLang="en-US" sz="1000" smtClean="0"/>
              <a:pPr/>
              <a:t>2023</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0FFEB1F8-34C2-4B7D-6AE8-E0EA75506D4A}"/>
              </a:ext>
            </a:extLst>
          </p:cNvPr>
          <p:cNvSpPr>
            <a:spLocks noGrp="1"/>
          </p:cNvSpPr>
          <p:nvPr>
            <p:custDataLst>
              <p:tags r:id="rId9"/>
            </p:custDataLst>
          </p:nvPr>
        </p:nvSpPr>
        <p:spPr bwMode="auto">
          <a:xfrm>
            <a:off x="8339138"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BAE5F2-D662-43C6-8F77-374F1F2AFD38}" type="datetime'''''''''''''''''''''''''''''2''0''2''''''4'''''''''''''''">
              <a:rPr lang="ja-JP" altLang="en-US" sz="1000" smtClean="0"/>
              <a:pPr/>
              <a:t>2024</a:t>
            </a:fld>
            <a:endParaRPr kumimoji="0" lang="ja-JP" altLang="en-US" sz="1000" dirty="0">
              <a:sym typeface="+mn-lt"/>
            </a:endParaRPr>
          </a:p>
        </p:txBody>
      </p:sp>
      <p:cxnSp>
        <p:nvCxnSpPr>
          <p:cNvPr id="135" name="Straight Connector 134">
            <a:extLst>
              <a:ext uri="{FF2B5EF4-FFF2-40B4-BE49-F238E27FC236}">
                <a16:creationId xmlns:a16="http://schemas.microsoft.com/office/drawing/2014/main" id="{0F0F2EE6-09E3-3B50-8FED-4F61E83D2458}"/>
              </a:ext>
            </a:extLst>
          </p:cNvPr>
          <p:cNvCxnSpPr/>
          <p:nvPr>
            <p:custDataLst>
              <p:tags r:id="rId10"/>
            </p:custDataLst>
          </p:nvPr>
        </p:nvCxnSpPr>
        <p:spPr bwMode="gray">
          <a:xfrm>
            <a:off x="674688" y="1916113"/>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6" name="Oval 135">
            <a:extLst>
              <a:ext uri="{FF2B5EF4-FFF2-40B4-BE49-F238E27FC236}">
                <a16:creationId xmlns:a16="http://schemas.microsoft.com/office/drawing/2014/main" id="{B2C26B27-83F7-E849-40EA-5470446AA10D}"/>
              </a:ext>
            </a:extLst>
          </p:cNvPr>
          <p:cNvSpPr/>
          <p:nvPr>
            <p:custDataLst>
              <p:tags r:id="rId11"/>
            </p:custDataLst>
          </p:nvPr>
        </p:nvSpPr>
        <p:spPr bwMode="gray">
          <a:xfrm>
            <a:off x="763588" y="187801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テキスト プレースホルダ 9">
            <a:extLst>
              <a:ext uri="{FF2B5EF4-FFF2-40B4-BE49-F238E27FC236}">
                <a16:creationId xmlns:a16="http://schemas.microsoft.com/office/drawing/2014/main" id="{EBC79518-21CE-87B9-EB89-7C153FF2F353}"/>
              </a:ext>
            </a:extLst>
          </p:cNvPr>
          <p:cNvSpPr>
            <a:spLocks noGrp="1"/>
          </p:cNvSpPr>
          <p:nvPr>
            <p:custDataLst>
              <p:tags r:id="rId12"/>
            </p:custDataLst>
          </p:nvPr>
        </p:nvSpPr>
        <p:spPr bwMode="auto">
          <a:xfrm>
            <a:off x="985838" y="1844675"/>
            <a:ext cx="2130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6BCA182-9DBE-4DDD-8F44-8694AE90F0F6}" type="datetime'''国家''''''''''予算''''''に''''占め''る''''保''''健省''''の予算の''''''割合'''">
              <a:rPr lang="ja-JP" altLang="en-US" sz="1000" smtClean="0"/>
              <a:pPr/>
              <a:t>国家予算に占める保健省の予算の割合</a:t>
            </a:fld>
            <a:endParaRPr kumimoji="0" lang="ja-JP" altLang="en-US" sz="1000" dirty="0">
              <a:sym typeface="+mn-lt"/>
            </a:endParaRPr>
          </a:p>
        </p:txBody>
      </p:sp>
      <p:graphicFrame>
        <p:nvGraphicFramePr>
          <p:cNvPr id="256" name="Chart 255">
            <a:extLst>
              <a:ext uri="{FF2B5EF4-FFF2-40B4-BE49-F238E27FC236}">
                <a16:creationId xmlns:a16="http://schemas.microsoft.com/office/drawing/2014/main" id="{5F6D0BF3-8570-E500-67E0-396994B7128A}"/>
              </a:ext>
            </a:extLst>
          </p:cNvPr>
          <p:cNvGraphicFramePr/>
          <p:nvPr>
            <p:custDataLst>
              <p:tags r:id="rId13"/>
            </p:custDataLst>
            <p:extLst>
              <p:ext uri="{D42A27DB-BD31-4B8C-83A1-F6EECF244321}">
                <p14:modId xmlns:p14="http://schemas.microsoft.com/office/powerpoint/2010/main" val="837996094"/>
              </p:ext>
            </p:extLst>
          </p:nvPr>
        </p:nvGraphicFramePr>
        <p:xfrm>
          <a:off x="1092200" y="2381250"/>
          <a:ext cx="8118475" cy="1196975"/>
        </p:xfrm>
        <a:graphic>
          <a:graphicData uri="http://schemas.openxmlformats.org/drawingml/2006/chart">
            <c:chart xmlns:c="http://schemas.openxmlformats.org/drawingml/2006/chart" xmlns:r="http://schemas.openxmlformats.org/officeDocument/2006/relationships" r:id="rId20"/>
          </a:graphicData>
        </a:graphic>
      </p:graphicFrame>
      <p:sp>
        <p:nvSpPr>
          <p:cNvPr id="178" name="Rectangle 177">
            <a:extLst>
              <a:ext uri="{FF2B5EF4-FFF2-40B4-BE49-F238E27FC236}">
                <a16:creationId xmlns:a16="http://schemas.microsoft.com/office/drawing/2014/main" id="{F22B89D8-26A5-73D4-EBB1-331053C6C8B3}"/>
              </a:ext>
            </a:extLst>
          </p:cNvPr>
          <p:cNvSpPr/>
          <p:nvPr>
            <p:custDataLst>
              <p:tags r:id="rId14"/>
            </p:custDataLst>
          </p:nvPr>
        </p:nvSpPr>
        <p:spPr bwMode="auto">
          <a:xfrm>
            <a:off x="795338" y="2103438"/>
            <a:ext cx="179388" cy="133350"/>
          </a:xfrm>
          <a:prstGeom prst="rect">
            <a:avLst/>
          </a:prstGeom>
          <a:solidFill>
            <a:srgbClr val="C0E6F4"/>
          </a:solidFill>
          <a:ln w="9525" cmpd="sng" algn="ctr">
            <a:solidFill>
              <a:schemeClr val="tx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5" name="テキスト プレースホルダ 9">
            <a:extLst>
              <a:ext uri="{FF2B5EF4-FFF2-40B4-BE49-F238E27FC236}">
                <a16:creationId xmlns:a16="http://schemas.microsoft.com/office/drawing/2014/main" id="{1D624C3C-7D94-301B-AEA6-CEBCED2EF224}"/>
              </a:ext>
            </a:extLst>
          </p:cNvPr>
          <p:cNvSpPr>
            <a:spLocks noGrp="1"/>
          </p:cNvSpPr>
          <p:nvPr>
            <p:custDataLst>
              <p:tags r:id="rId15"/>
            </p:custDataLst>
          </p:nvPr>
        </p:nvSpPr>
        <p:spPr bwMode="auto">
          <a:xfrm>
            <a:off x="1025525" y="2098675"/>
            <a:ext cx="889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99E7E3F-9F35-45FE-8ADD-420AD9EF4AC9}" type="datetime'''''保健省''''''''''の予''算''''''''''''''''''''''''''額'''''">
              <a:rPr lang="ja-JP" altLang="en-US" sz="1000" smtClean="0">
                <a:effectLst/>
                <a:sym typeface="+mn-lt"/>
              </a:rPr>
              <a:pPr marL="0" lvl="0" indent="0">
                <a:spcBef>
                  <a:spcPct val="0"/>
                </a:spcBef>
                <a:buNone/>
              </a:pPr>
              <a:t>保健省の予算額</a:t>
            </a:fld>
            <a:endParaRPr kumimoji="1" lang="ja-JP" altLang="en-US" sz="1000" dirty="0">
              <a:sym typeface="+mn-lt"/>
            </a:endParaRPr>
          </a:p>
        </p:txBody>
      </p:sp>
    </p:spTree>
    <p:extLst>
      <p:ext uri="{BB962C8B-B14F-4D97-AF65-F5344CB8AC3E}">
        <p14:creationId xmlns:p14="http://schemas.microsoft.com/office/powerpoint/2010/main" val="16164063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3A0F4-3D35-CF2E-8431-D85D88D6866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85B740-9317-AB64-ECB8-6E4BDC3C2C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7E4409C-76CA-BCAA-C339-D94CAFD4EA96}"/>
              </a:ext>
            </a:extLst>
          </p:cNvPr>
          <p:cNvSpPr>
            <a:spLocks noGrp="1"/>
          </p:cNvSpPr>
          <p:nvPr>
            <p:ph type="title"/>
          </p:nvPr>
        </p:nvSpPr>
        <p:spPr/>
        <p:txBody>
          <a:bodyPr vert="horz"/>
          <a:lstStyle/>
          <a:p>
            <a:r>
              <a:rPr lang="ja-JP" altLang="en-US" noProof="1"/>
              <a:t>サウジアラビア/政策動向</a:t>
            </a:r>
            <a:endParaRPr kumimoji="1" lang="ja-JP" altLang="en-US" dirty="0"/>
          </a:p>
        </p:txBody>
      </p:sp>
      <p:sp>
        <p:nvSpPr>
          <p:cNvPr id="3" name="テキスト プレースホルダー 2">
            <a:extLst>
              <a:ext uri="{FF2B5EF4-FFF2-40B4-BE49-F238E27FC236}">
                <a16:creationId xmlns:a16="http://schemas.microsoft.com/office/drawing/2014/main" id="{034C8780-8000-932A-3DCA-9DAA1D94F910}"/>
              </a:ext>
            </a:extLst>
          </p:cNvPr>
          <p:cNvSpPr>
            <a:spLocks noGrp="1"/>
          </p:cNvSpPr>
          <p:nvPr>
            <p:ph type="body" sz="quarter" idx="15"/>
          </p:nvPr>
        </p:nvSpPr>
        <p:spPr/>
        <p:txBody>
          <a:bodyPr/>
          <a:lstStyle/>
          <a:p>
            <a:r>
              <a:rPr lang="ja-JP" altLang="en-US" noProof="1"/>
              <a:t>サウジアラビアの医療課題に対処するための主要政策とプログラムのリスト (1/2)</a:t>
            </a:r>
            <a:endParaRPr lang="en-US" altLang="ja-JP" dirty="0"/>
          </a:p>
        </p:txBody>
      </p:sp>
      <p:sp>
        <p:nvSpPr>
          <p:cNvPr id="5" name="テキスト ボックス 3">
            <a:extLst>
              <a:ext uri="{FF2B5EF4-FFF2-40B4-BE49-F238E27FC236}">
                <a16:creationId xmlns:a16="http://schemas.microsoft.com/office/drawing/2014/main" id="{3A6CF067-5181-2FAE-BB78-AB56E2571D08}"/>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サウジアラビアは、デジタルヘルスサービスの提供、健康情報の統合、健康保険交換サービスのサポートなどのアプリケーションを通じて、医療分野のデジタル化を進めている。</a:t>
            </a:r>
          </a:p>
        </p:txBody>
      </p:sp>
      <p:graphicFrame>
        <p:nvGraphicFramePr>
          <p:cNvPr id="6" name="Content Placeholder 4">
            <a:extLst>
              <a:ext uri="{FF2B5EF4-FFF2-40B4-BE49-F238E27FC236}">
                <a16:creationId xmlns:a16="http://schemas.microsoft.com/office/drawing/2014/main" id="{26B52F86-33CB-B3BB-3927-12A4EF5511F5}"/>
              </a:ext>
            </a:extLst>
          </p:cNvPr>
          <p:cNvGraphicFramePr>
            <a:graphicFrameLocks/>
          </p:cNvGraphicFramePr>
          <p:nvPr/>
        </p:nvGraphicFramePr>
        <p:xfrm>
          <a:off x="213213" y="1937052"/>
          <a:ext cx="9505054" cy="418862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NPHIES (National Platform for Health&amp;Insurance Exchange Services)</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3</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Cooperative Health Insurance Council、National Health Information Centre、Ministry of Healt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医療提供者、保険会社、サードパーティ管理者を接続して、健康保険取引を合理化する一元化されたプラットフォーム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リアルタイムの保険資格チェック、事前承認、請求処理を可能にし、提供されるサービスの品質とそのコストの効率性と透明性を向上させ</a:t>
                      </a:r>
                      <a:r>
                        <a:rPr kumimoji="1" lang="ja-JP" altLang="en-US" sz="1000" noProof="1">
                          <a:latin typeface="+mj-ea"/>
                          <a:ea typeface="+mj-ea"/>
                        </a:rPr>
                        <a:t>る。</a:t>
                      </a:r>
                      <a:endParaRPr kumimoji="1" lang="en-US"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en-US" altLang="ja-JP" sz="1000" b="1" noProof="1">
                          <a:latin typeface="+mj-ea"/>
                          <a:ea typeface="+mj-ea"/>
                        </a:rPr>
                        <a:t>セハ仮想病院</a:t>
                      </a:r>
                    </a:p>
                    <a:p>
                      <a:pPr algn="ctr"/>
                      <a:r>
                        <a:rPr kumimoji="1" lang="en-US" altLang="ja-JP" sz="1000" b="1" noProof="1">
                          <a:latin typeface="+mj-ea"/>
                          <a:ea typeface="+mj-ea"/>
                        </a:rPr>
                        <a:t>(Seha Virtual Hospital)</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2</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170以上の病院を接続し、高度なデジタル技術を使用して30以上の専門医療サービスを提供する仮想病院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遠隔医療、AIツール、リアルタイム診断、仮想相談を通じて、保健所と専門医師を結びつけてい</a:t>
                      </a:r>
                      <a:r>
                        <a:rPr kumimoji="1" lang="ja-JP" altLang="en-US" sz="1000" noProof="1">
                          <a:latin typeface="+mj-ea"/>
                          <a:ea typeface="+mj-ea"/>
                        </a:rPr>
                        <a:t>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ビジョン2030に沿って、サウジアラビアのすべての居住者が、どこに住んでいても、専門家のケアに平等にアクセスできるようにすることを目指してい</a:t>
                      </a:r>
                      <a:r>
                        <a:rPr kumimoji="1" lang="ja-JP" altLang="en-US" sz="1000" noProof="1">
                          <a:latin typeface="+mj-ea"/>
                          <a:ea typeface="+mj-ea"/>
                        </a:rPr>
                        <a:t>る。</a:t>
                      </a:r>
                      <a:endParaRPr kumimoji="1" lang="en-US"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r h="1249200">
                <a:tc>
                  <a:txBody>
                    <a:bodyPr/>
                    <a:lstStyle/>
                    <a:p>
                      <a:pPr algn="ctr"/>
                      <a:r>
                        <a:rPr kumimoji="1" lang="en-US" altLang="ja-JP" sz="1000" b="1" noProof="1">
                          <a:latin typeface="+mj-ea"/>
                          <a:ea typeface="+mj-ea"/>
                        </a:rPr>
                        <a:t>Sehhatyプラットフォーム</a:t>
                      </a:r>
                    </a:p>
                    <a:p>
                      <a:pPr algn="ctr"/>
                      <a:r>
                        <a:rPr kumimoji="1" lang="en-US" altLang="ja-JP" sz="1000" b="1" noProof="1">
                          <a:latin typeface="+mj-ea"/>
                          <a:ea typeface="+mj-ea"/>
                        </a:rPr>
                        <a:t>(Sehhaty Platform)</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9</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ユーザーが健康情報にアクセスし、医療分野のすべての政府機関によって提供される統合された医療サービスを受けることができる、全国的な統合電子プラットフォーム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予約、遠隔医療相談、予防接種の追跡、病気休暇証明書、健康監視などの機能を提供</a:t>
                      </a:r>
                      <a:r>
                        <a:rPr kumimoji="1" lang="ja-JP" altLang="en-US" sz="1000" noProof="1">
                          <a:latin typeface="+mj-ea"/>
                          <a:ea typeface="+mj-ea"/>
                        </a:rPr>
                        <a:t>す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22年、MoHはデジタル・ガバメント・オーソリティ (DGA) と提携し、すべての医療分野のアプリとプラットフォームを統合し、医療分野のすべての政府機関を統合して、アプリを通じて医療サービスを提供</a:t>
                      </a:r>
                      <a:r>
                        <a:rPr kumimoji="1" lang="ja-JP" altLang="en-US" sz="1000" noProof="1">
                          <a:latin typeface="+mj-ea"/>
                          <a:ea typeface="+mj-ea"/>
                        </a:rPr>
                        <a:t>する。</a:t>
                      </a:r>
                      <a:endParaRPr kumimoji="1" lang="en-US"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00445484"/>
                  </a:ext>
                </a:extLst>
              </a:tr>
            </a:tbl>
          </a:graphicData>
        </a:graphic>
      </p:graphicFrame>
      <p:sp>
        <p:nvSpPr>
          <p:cNvPr id="7" name="テキスト ボックス 10">
            <a:extLst>
              <a:ext uri="{FF2B5EF4-FFF2-40B4-BE49-F238E27FC236}">
                <a16:creationId xmlns:a16="http://schemas.microsoft.com/office/drawing/2014/main" id="{09468722-C590-7C5B-EFBE-D1498B03986B}"/>
              </a:ext>
            </a:extLst>
          </p:cNvPr>
          <p:cNvSpPr txBox="1"/>
          <p:nvPr/>
        </p:nvSpPr>
        <p:spPr>
          <a:xfrm>
            <a:off x="200472" y="6683618"/>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保健省、記事(Cirrus、Solver ERP、Medical Buyer、Tanmeya Capital、Saudi Gazette、Zawya、GCC News)、ビジョン2030サウジアラビア</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183332472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5CAC0-3588-C138-96A1-3C9DA97E1C3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88CC71-0904-CE41-B831-AC06F65563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6C2C81D-C8B0-DE43-7BBA-0F09AB238398}"/>
              </a:ext>
            </a:extLst>
          </p:cNvPr>
          <p:cNvSpPr>
            <a:spLocks noGrp="1"/>
          </p:cNvSpPr>
          <p:nvPr>
            <p:ph type="title"/>
          </p:nvPr>
        </p:nvSpPr>
        <p:spPr/>
        <p:txBody>
          <a:bodyPr vert="horz"/>
          <a:lstStyle/>
          <a:p>
            <a:r>
              <a:rPr lang="ja-JP" altLang="en-US" noProof="1"/>
              <a:t>サウジアラビア/政策動向</a:t>
            </a:r>
            <a:endParaRPr kumimoji="1" lang="ja-JP" altLang="en-US" dirty="0"/>
          </a:p>
        </p:txBody>
      </p:sp>
      <p:sp>
        <p:nvSpPr>
          <p:cNvPr id="3" name="テキスト プレースホルダー 2">
            <a:extLst>
              <a:ext uri="{FF2B5EF4-FFF2-40B4-BE49-F238E27FC236}">
                <a16:creationId xmlns:a16="http://schemas.microsoft.com/office/drawing/2014/main" id="{24E42F2D-0F5D-1048-177E-DBC84EF3E371}"/>
              </a:ext>
            </a:extLst>
          </p:cNvPr>
          <p:cNvSpPr>
            <a:spLocks noGrp="1"/>
          </p:cNvSpPr>
          <p:nvPr>
            <p:ph type="body" sz="quarter" idx="15"/>
          </p:nvPr>
        </p:nvSpPr>
        <p:spPr/>
        <p:txBody>
          <a:bodyPr/>
          <a:lstStyle/>
          <a:p>
            <a:r>
              <a:rPr lang="ja-JP" altLang="en-US" noProof="1"/>
              <a:t>サウジアラビアの医療課題に対処するための主要政策とプログラムのリスト (2/2)</a:t>
            </a:r>
          </a:p>
        </p:txBody>
      </p:sp>
      <p:graphicFrame>
        <p:nvGraphicFramePr>
          <p:cNvPr id="6" name="Content Placeholder 4">
            <a:extLst>
              <a:ext uri="{FF2B5EF4-FFF2-40B4-BE49-F238E27FC236}">
                <a16:creationId xmlns:a16="http://schemas.microsoft.com/office/drawing/2014/main" id="{2E83E9A8-85B5-C46E-54EA-C32DB27BAD80}"/>
              </a:ext>
            </a:extLst>
          </p:cNvPr>
          <p:cNvGraphicFramePr>
            <a:graphicFrameLocks/>
          </p:cNvGraphicFramePr>
          <p:nvPr/>
        </p:nvGraphicFramePr>
        <p:xfrm>
          <a:off x="208939" y="1937049"/>
          <a:ext cx="9505054" cy="46625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2052000">
                <a:tc>
                  <a:txBody>
                    <a:bodyPr/>
                    <a:lstStyle/>
                    <a:p>
                      <a:pPr algn="ctr"/>
                      <a:r>
                        <a:rPr kumimoji="1" lang="en-US" altLang="ja-JP" sz="1000" b="1" noProof="1">
                          <a:latin typeface="+mj-ea"/>
                          <a:ea typeface="+mj-ea"/>
                        </a:rPr>
                        <a:t>保健省デジタル戦略の枠組みとロードマップ</a:t>
                      </a:r>
                    </a:p>
                    <a:p>
                      <a:pPr algn="ctr"/>
                      <a:r>
                        <a:rPr kumimoji="1" lang="en-US" altLang="ja-JP" sz="1000" b="1" noProof="1">
                          <a:latin typeface="+mj-ea"/>
                          <a:ea typeface="+mj-ea"/>
                        </a:rPr>
                        <a:t>(MoH Digital Strategy Framework and Roadmap)</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れは、デジタル技術を通じて医療システムを変革し、王国全体のアクセス性、質、効率性、患者中心のケアを向上させるという、サウジアラビアのビジョン2030に沿った戦略計画である。</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計画では、具体的な戦略目標、関連するKPI、イニシアチブを定義し、想定される戦略的方向性に従って優先順位を付けて、明確な実装ロードマップを作成</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主要な影響力者と利害関係者を巻き込んだロードマップの共同作成には、「Identify&amp;Align (特定と調整) 」、「Envision (ビジョン化) 」、「Strategize (戦略化) 」という3段階の方法論が使用され</a:t>
                      </a:r>
                      <a:r>
                        <a:rPr kumimoji="1" lang="ja-JP" altLang="en-US" sz="1000" kern="1200" noProof="1">
                          <a:solidFill>
                            <a:schemeClr val="dk1"/>
                          </a:solidFill>
                          <a:latin typeface="+mj-ea"/>
                          <a:ea typeface="+mj-ea"/>
                          <a:cs typeface="+mn-cs"/>
                        </a:rPr>
                        <a:t>る</a:t>
                      </a:r>
                      <a:r>
                        <a:rPr kumimoji="1" lang="en-US" altLang="ja-JP" sz="1000" kern="1200" noProof="1">
                          <a:solidFill>
                            <a:schemeClr val="dk1"/>
                          </a:solidFill>
                          <a:latin typeface="+mj-ea"/>
                          <a:ea typeface="+mj-ea"/>
                          <a:cs typeface="+mn-cs"/>
                        </a:rPr>
                        <a:t>。</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NCDの負担の増大、医療へのアクセスに対する地理的障壁、医療費の増加、デジタルヘルスの導入におけるギャップ、労働力の能力と能力、サービスの質などの主要な課題に対処</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戦略では、四つのロードマップカテゴリ、18のポートフォリオ、49のプログラムとプロジェクトを通じて、目標を達成するためのイニシアチブとプログラムを実施</a:t>
                      </a:r>
                      <a:r>
                        <a:rPr kumimoji="1" lang="ja-JP" altLang="en-US" sz="1000" kern="1200" noProof="1">
                          <a:solidFill>
                            <a:schemeClr val="dk1"/>
                          </a:solidFill>
                          <a:latin typeface="+mj-ea"/>
                          <a:ea typeface="+mj-ea"/>
                          <a:cs typeface="+mn-cs"/>
                        </a:rPr>
                        <a:t>する。</a:t>
                      </a:r>
                      <a:endParaRPr kumimoji="1" lang="en-US" altLang="ja-JP" sz="1000" kern="1200" noProof="1">
                        <a:solidFill>
                          <a:schemeClr val="dk1"/>
                        </a:solidFill>
                        <a:latin typeface="+mj-ea"/>
                        <a:ea typeface="+mj-ea"/>
                        <a:cs typeface="+mn-cs"/>
                      </a:endParaRP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四つのロードマップカテゴリは次のとおりで</a:t>
                      </a:r>
                      <a:r>
                        <a:rPr kumimoji="1" lang="ja-JP" altLang="en-US" sz="1000" kern="1200" noProof="1">
                          <a:solidFill>
                            <a:schemeClr val="dk1"/>
                          </a:solidFill>
                          <a:latin typeface="+mj-ea"/>
                          <a:ea typeface="+mj-ea"/>
                          <a:cs typeface="+mn-cs"/>
                        </a:rPr>
                        <a:t>ある。</a:t>
                      </a:r>
                      <a:endParaRPr kumimoji="1" lang="en-US" altLang="ja-JP" sz="1000" kern="1200" noProof="1">
                        <a:solidFill>
                          <a:schemeClr val="dk1"/>
                        </a:solidFill>
                        <a:latin typeface="+mj-ea"/>
                        <a:ea typeface="+mj-ea"/>
                        <a:cs typeface="+mn-cs"/>
                      </a:endParaRPr>
                    </a:p>
                    <a:p>
                      <a:pPr marL="266700" indent="-84138"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デジタルヘルスの基盤, 個人中心性, ヘルスケアとウェルネスの提供者, 統合されたエコシステム</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684000">
                <a:tc>
                  <a:txBody>
                    <a:bodyPr/>
                    <a:lstStyle/>
                    <a:p>
                      <a:pPr algn="ctr"/>
                      <a:r>
                        <a:rPr kumimoji="1" lang="en-US" altLang="ja-JP" sz="1000" b="1" noProof="1">
                          <a:latin typeface="+mj-ea"/>
                          <a:ea typeface="+mj-ea"/>
                        </a:rPr>
                        <a:t>ケアモデルの国内実施</a:t>
                      </a:r>
                    </a:p>
                    <a:p>
                      <a:pPr algn="ctr"/>
                      <a:r>
                        <a:rPr kumimoji="1" lang="en-US" altLang="ja-JP" sz="1000" b="1" noProof="1">
                          <a:latin typeface="+mj-ea"/>
                          <a:ea typeface="+mj-ea"/>
                        </a:rPr>
                        <a:t>(National Implementation of the Model of Car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8</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モデル・オブ・ケアまたは新しい医療モデルは、ビジョン2030に基づく国家変革プログラムの一環として実施された。</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これは、病院での病気の治療のみに焦点を当てるのではなく、より予防的で、統合され、患者中心の医療提供を再設計する包括的なシステムである。</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現代のケアモデルは、以下の六つの統合ケアシステムに従って運営されてい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予防的ケア (健康的なライフスタイルの採用と地域社会の支援)</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緊急ケア (適切な時期に適切な場所で治療を受けられるように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待機的ケア (手術前後に適切なケアを提供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安全な出産(結婚前から出産・産後までの母親への支援)</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慢性疾患ケア (慢性疾患のある患者に継続的なケアを提供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緩和ケア (人生の最終段階にある患者に対する支持的ケア)</a:t>
                      </a:r>
                    </a:p>
                    <a:p>
                      <a:pPr marL="180975" indent="-180975"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2024年には、健康変革の第二段階が開始され、ヘルスホールディングカンパニー (政府所有の事業体) が、ヘルスクラスターを管理し、受益者に包括的で統合された医療を提供するために活動を開始し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81719882"/>
                  </a:ext>
                </a:extLst>
              </a:tr>
            </a:tbl>
          </a:graphicData>
        </a:graphic>
      </p:graphicFrame>
      <p:sp>
        <p:nvSpPr>
          <p:cNvPr id="7" name="テキスト ボックス 10">
            <a:extLst>
              <a:ext uri="{FF2B5EF4-FFF2-40B4-BE49-F238E27FC236}">
                <a16:creationId xmlns:a16="http://schemas.microsoft.com/office/drawing/2014/main" id="{B4B25159-CBE4-5A85-9E95-006B901DB788}"/>
              </a:ext>
            </a:extLst>
          </p:cNvPr>
          <p:cNvSpPr txBox="1"/>
          <p:nvPr/>
        </p:nvSpPr>
        <p:spPr>
          <a:xfrm>
            <a:off x="200472" y="667874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a:t>
            </a:r>
            <a:r>
              <a:rPr lang="en-US" altLang="ja-JP" sz="800" noProof="1">
                <a:solidFill>
                  <a:srgbClr val="000000"/>
                </a:solidFill>
                <a:latin typeface="+mj-ea"/>
                <a:ea typeface="+mj-ea"/>
              </a:rPr>
              <a:t>保健省記事 (サウジ官報)</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2C71268F-D6B7-DFCB-BCA8-198A5970FC62}"/>
              </a:ext>
            </a:extLst>
          </p:cNvPr>
          <p:cNvSpPr txBox="1"/>
          <p:nvPr/>
        </p:nvSpPr>
        <p:spPr>
          <a:xfrm>
            <a:off x="200472" y="1124744"/>
            <a:ext cx="9505056" cy="6925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headings)"/>
                <a:ea typeface="ＭＳ Ｐゴシック" panose="020B0600070205080204" pitchFamily="50" charset="-128"/>
                <a:cs typeface="Arial" panose="020B0604020202020204" pitchFamily="34" charset="0"/>
              </a:rPr>
              <a:t>デジタル戦略フレームワークとロードマップは、ビジョン</a:t>
            </a:r>
            <a:r>
              <a:rPr lang="en-US" altLang="ja-JP" sz="1400" noProof="1">
                <a:latin typeface="MS PGothic (headings)"/>
                <a:ea typeface="ＭＳ Ｐゴシック" panose="020B0600070205080204" pitchFamily="50" charset="-128"/>
                <a:cs typeface="Arial" panose="020B0604020202020204" pitchFamily="34" charset="0"/>
              </a:rPr>
              <a:t>2030</a:t>
            </a:r>
            <a:r>
              <a:rPr lang="ja-JP" altLang="en-US" sz="1400" noProof="1">
                <a:latin typeface="MS PGothic (headings)"/>
                <a:ea typeface="ＭＳ Ｐゴシック" panose="020B0600070205080204" pitchFamily="50" charset="-128"/>
                <a:cs typeface="Arial" panose="020B0604020202020204" pitchFamily="34" charset="0"/>
              </a:rPr>
              <a:t>に基づき、国家プログラム、医療機関、テクノロジーを連携させ、統一された高品質で持続可能なデジタル医療システムを構築する。一方、サウジアラビアのケアモデルは、包括的かつ患者中心の医療提供を推進する。</a:t>
            </a:r>
            <a:endParaRPr lang="en-US" altLang="ja-JP" sz="1400" noProof="1">
              <a:latin typeface="MS PGothic (headings)"/>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629206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0B5104-2223-4DC5-A89A-B0811FCC5C89}"/>
              </a:ext>
            </a:extLst>
          </p:cNvPr>
          <p:cNvGraphicFramePr>
            <a:graphicFrameLocks noChangeAspect="1"/>
          </p:cNvGraphicFramePr>
          <p:nvPr>
            <p:custDataLst>
              <p:tags r:id="rId1"/>
            </p:custDataLst>
            <p:extLst>
              <p:ext uri="{D42A27DB-BD31-4B8C-83A1-F6EECF244321}">
                <p14:modId xmlns:p14="http://schemas.microsoft.com/office/powerpoint/2010/main" val="2357909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Object 5" hidden="1">
                        <a:extLst>
                          <a:ext uri="{FF2B5EF4-FFF2-40B4-BE49-F238E27FC236}">
                            <a16:creationId xmlns:a16="http://schemas.microsoft.com/office/drawing/2014/main" id="{C80B5104-2223-4DC5-A89A-B0811FCC5C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a:t>
            </a:r>
            <a:r>
              <a:rPr lang="ja-JP" altLang="en-US" dirty="0"/>
              <a:t>の将来動向</a:t>
            </a:r>
            <a:r>
              <a:rPr lang="ja-JP" altLang="en-US" dirty="0">
                <a:latin typeface="Arial Black" panose="020B0A04020102020204" pitchFamily="34" charset="0"/>
              </a:rPr>
              <a:t>（</a:t>
            </a:r>
            <a:r>
              <a:rPr lang="en-US" altLang="ja-JP" dirty="0">
                <a:latin typeface="Arial Black" panose="020B0A04020102020204" pitchFamily="34" charset="0"/>
              </a:rPr>
              <a:t>1/3</a:t>
            </a:r>
            <a:r>
              <a:rPr lang="ja-JP" altLang="en-US" dirty="0">
                <a:latin typeface="Arial Black" panose="020B0A04020102020204" pitchFamily="34" charset="0"/>
              </a:rPr>
              <a:t>）</a:t>
            </a:r>
          </a:p>
        </p:txBody>
      </p:sp>
      <p:sp>
        <p:nvSpPr>
          <p:cNvPr id="4" name="テキスト ボックス 3"/>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の実現をサポートするプログラムの１つとして「</a:t>
            </a:r>
            <a:r>
              <a:rPr lang="en-US" altLang="ja-JP" sz="1400" dirty="0">
                <a:solidFill>
                  <a:srgbClr val="000000"/>
                </a:solidFill>
                <a:cs typeface="Arial" panose="020B0604020202020204" pitchFamily="34" charset="0"/>
              </a:rPr>
              <a:t>National Transformation Program2020</a:t>
            </a: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NTP2020</a:t>
            </a:r>
            <a:r>
              <a:rPr lang="ja-JP" altLang="en-US" sz="1400" dirty="0">
                <a:solidFill>
                  <a:srgbClr val="000000"/>
                </a:solidFill>
                <a:cs typeface="Arial" panose="020B0604020202020204" pitchFamily="34" charset="0"/>
              </a:rPr>
              <a:t>）」が</a:t>
            </a: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6</a:t>
            </a:r>
            <a:r>
              <a:rPr lang="ja-JP" altLang="en-US" sz="1400" dirty="0">
                <a:solidFill>
                  <a:srgbClr val="000000"/>
                </a:solidFill>
                <a:cs typeface="Arial" panose="020B0604020202020204" pitchFamily="34" charset="0"/>
              </a:rPr>
              <a:t>月に閣僚会議で承認され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NTP2020</a:t>
            </a:r>
            <a:r>
              <a:rPr lang="ja-JP" altLang="en-US" sz="1400" dirty="0">
                <a:solidFill>
                  <a:srgbClr val="000000"/>
                </a:solidFill>
                <a:cs typeface="Arial" panose="020B0604020202020204" pitchFamily="34" charset="0"/>
              </a:rPr>
              <a:t>では、関係政府機関ごとに</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をターゲットとした具体的な数値目標が定め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保健省（</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の目標は、以下の通り。</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FF0000"/>
              </a:solidFill>
              <a:cs typeface="Arial" panose="020B0604020202020204" pitchFamily="34" charset="0"/>
            </a:endParaRPr>
          </a:p>
        </p:txBody>
      </p:sp>
      <p:sp>
        <p:nvSpPr>
          <p:cNvPr id="12" name="テキスト ボックス 11"/>
          <p:cNvSpPr txBox="1"/>
          <p:nvPr/>
        </p:nvSpPr>
        <p:spPr>
          <a:xfrm>
            <a:off x="200472" y="6525344"/>
            <a:ext cx="6912768"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National Transformation Program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6</a:t>
            </a:r>
            <a:r>
              <a:rPr lang="ja-JP" altLang="en-US" sz="800" dirty="0">
                <a:solidFill>
                  <a:srgbClr val="000000"/>
                </a:solidFill>
                <a:cs typeface="Arial" panose="020B0604020202020204" pitchFamily="34" charset="0"/>
              </a:rPr>
              <a:t>）</a:t>
            </a:r>
          </a:p>
        </p:txBody>
      </p:sp>
      <p:grpSp>
        <p:nvGrpSpPr>
          <p:cNvPr id="13" name="グループ化 7"/>
          <p:cNvGrpSpPr/>
          <p:nvPr/>
        </p:nvGrpSpPr>
        <p:grpSpPr>
          <a:xfrm>
            <a:off x="416496" y="2420888"/>
            <a:ext cx="9282758"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NTP2020</a:t>
              </a:r>
              <a:r>
                <a:rPr lang="ja-JP" altLang="en-US" sz="1400" dirty="0">
                  <a:solidFill>
                    <a:srgbClr val="000000"/>
                  </a:solidFill>
                  <a:latin typeface="Arial Black" pitchFamily="34" charset="0"/>
                  <a:ea typeface="HGP創英角ｺﾞｼｯｸUB" pitchFamily="50" charset="-128"/>
                </a:rPr>
                <a:t>」における保健省の目標</a:t>
              </a:r>
              <a:r>
                <a:rPr lang="ja-JP" altLang="en-US" sz="1400" dirty="0">
                  <a:solidFill>
                    <a:srgbClr val="000000"/>
                  </a:solidFill>
                  <a:latin typeface="Arial Black" panose="020B0A04020102020204" pitchFamily="34" charset="0"/>
                </a:rPr>
                <a:t>（</a:t>
              </a:r>
              <a:r>
                <a:rPr lang="en-US" altLang="ja-JP" sz="1400" dirty="0">
                  <a:solidFill>
                    <a:srgbClr val="000000"/>
                  </a:solidFill>
                  <a:latin typeface="Arial Black" panose="020B0A04020102020204" pitchFamily="34" charset="0"/>
                </a:rPr>
                <a:t>1/2</a:t>
              </a:r>
              <a:r>
                <a:rPr lang="ja-JP" altLang="en-US" sz="1400" dirty="0">
                  <a:solidFill>
                    <a:srgbClr val="000000"/>
                  </a:solidFill>
                  <a:latin typeface="Arial Black" panose="020B0A04020102020204" pitchFamily="34" charset="0"/>
                </a:rPr>
                <a:t>）</a:t>
              </a:r>
            </a:p>
          </p:txBody>
        </p:sp>
      </p:grpSp>
      <p:graphicFrame>
        <p:nvGraphicFramePr>
          <p:cNvPr id="21" name="Group 1026"/>
          <p:cNvGraphicFramePr>
            <a:graphicFrameLocks noGrp="1"/>
          </p:cNvGraphicFramePr>
          <p:nvPr/>
        </p:nvGraphicFramePr>
        <p:xfrm>
          <a:off x="416496" y="2780928"/>
          <a:ext cx="9347504" cy="3637318"/>
        </p:xfrm>
        <a:graphic>
          <a:graphicData uri="http://schemas.openxmlformats.org/drawingml/2006/table">
            <a:tbl>
              <a:tblPr/>
              <a:tblGrid>
                <a:gridCol w="3236464">
                  <a:extLst>
                    <a:ext uri="{9D8B030D-6E8A-4147-A177-3AD203B41FA5}">
                      <a16:colId xmlns:a16="http://schemas.microsoft.com/office/drawing/2014/main" val="20000"/>
                    </a:ext>
                  </a:extLst>
                </a:gridCol>
                <a:gridCol w="4065265">
                  <a:extLst>
                    <a:ext uri="{9D8B030D-6E8A-4147-A177-3AD203B41FA5}">
                      <a16:colId xmlns:a16="http://schemas.microsoft.com/office/drawing/2014/main" val="20001"/>
                    </a:ext>
                  </a:extLst>
                </a:gridCol>
                <a:gridCol w="1029296">
                  <a:extLst>
                    <a:ext uri="{9D8B030D-6E8A-4147-A177-3AD203B41FA5}">
                      <a16:colId xmlns:a16="http://schemas.microsoft.com/office/drawing/2014/main" val="20002"/>
                    </a:ext>
                  </a:extLst>
                </a:gridCol>
                <a:gridCol w="1016479">
                  <a:extLst>
                    <a:ext uri="{9D8B030D-6E8A-4147-A177-3AD203B41FA5}">
                      <a16:colId xmlns:a16="http://schemas.microsoft.com/office/drawing/2014/main" val="20003"/>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戦略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zh-TW"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重要目標達成指標</a:t>
                      </a:r>
                      <a:r>
                        <a:rPr kumimoji="1" lang="en-US" altLang="zh-TW"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KPI)</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現状</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2020</a:t>
                      </a: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年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0">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民間セクターの支出割合の拡大</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医療支出合計に占める民間セクターの割合</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0">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利用可能資源の効率的活用</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新規入院患者あたりの運営費</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3,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3,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IT</a:t>
                      </a: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の使用等による効率化・効果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国民の医療データ登録率</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現地および海外での研修増加</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研修プログラムに参加したサウジアラビア居住医師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2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看護および医療支援人材の魅力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10</a:t>
                      </a:r>
                      <a:r>
                        <a:rPr kumimoji="1" lang="ja-JP" altLang="en-US" sz="1000" kern="1200" dirty="0">
                          <a:solidFill>
                            <a:schemeClr val="tx1"/>
                          </a:solidFill>
                          <a:latin typeface="+mn-lt"/>
                          <a:ea typeface="+mn-ea"/>
                          <a:cs typeface="+mn-cs"/>
                        </a:rPr>
                        <a:t>万人あたりの有看護師資格サウジアラビア人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5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5"/>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入院前および主要病院における医療提供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時間以内に手当が受けられる救急患者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6"/>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プライマリケアの開発によるサービス提供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一人あたりの年間プライマリヘルスケアの受診回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回</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回</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7"/>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医療施設のインフラ、施設管理、および安全基準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認可医療機関数（</a:t>
                      </a:r>
                      <a:r>
                        <a:rPr kumimoji="1" lang="en-US" altLang="ja-JP" sz="1000" kern="1200" dirty="0">
                          <a:solidFill>
                            <a:schemeClr val="tx1"/>
                          </a:solidFill>
                          <a:latin typeface="+mn-lt"/>
                          <a:ea typeface="+mn-ea"/>
                          <a:cs typeface="+mn-cs"/>
                        </a:rPr>
                        <a:t>MOH</a:t>
                      </a:r>
                      <a:r>
                        <a:rPr kumimoji="1" lang="ja-JP" altLang="en-US" sz="1000" kern="1200" dirty="0">
                          <a:solidFill>
                            <a:schemeClr val="tx1"/>
                          </a:solidFill>
                          <a:latin typeface="+mn-lt"/>
                          <a:ea typeface="+mn-ea"/>
                          <a:cs typeface="+mn-cs"/>
                        </a:rPr>
                        <a:t>管轄および民間病院）</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8"/>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許容可能な待ち時間の達成</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特定医療専門分野における</a:t>
                      </a: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週間以内（全専門における主要病院平均）の予約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未満</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9"/>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国際基準で公衆衛生上懸念される事項への緊急対応</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WHO</a:t>
                      </a:r>
                      <a:r>
                        <a:rPr kumimoji="1" lang="ja-JP" altLang="en-US" sz="1000" kern="1200" dirty="0" err="1">
                          <a:solidFill>
                            <a:schemeClr val="tx1"/>
                          </a:solidFill>
                          <a:latin typeface="+mn-lt"/>
                          <a:ea typeface="+mn-ea"/>
                          <a:cs typeface="+mn-cs"/>
                        </a:rPr>
                        <a:t>の緊</a:t>
                      </a:r>
                      <a:r>
                        <a:rPr kumimoji="1" lang="ja-JP" altLang="en-US" sz="1000" kern="1200" dirty="0">
                          <a:solidFill>
                            <a:schemeClr val="tx1"/>
                          </a:solidFill>
                          <a:latin typeface="+mn-lt"/>
                          <a:ea typeface="+mn-ea"/>
                          <a:cs typeface="+mn-cs"/>
                        </a:rPr>
                        <a:t>急時対応評価スコア （リヤド、ジッダ、東部州の平均スコア）</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スコア　</a:t>
                      </a: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a:t>
                      </a: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0"/>
                  </a:ext>
                </a:extLst>
              </a:tr>
            </a:tbl>
          </a:graphicData>
        </a:graphic>
      </p:graphicFrame>
      <p:sp>
        <p:nvSpPr>
          <p:cNvPr id="11" name="正方形/長方形 10"/>
          <p:cNvSpPr/>
          <p:nvPr/>
        </p:nvSpPr>
        <p:spPr>
          <a:xfrm>
            <a:off x="7394998" y="645333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8425393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A4C8AB-1755-4B89-A745-71086DC06619}"/>
              </a:ext>
            </a:extLst>
          </p:cNvPr>
          <p:cNvGraphicFramePr>
            <a:graphicFrameLocks noChangeAspect="1"/>
          </p:cNvGraphicFramePr>
          <p:nvPr>
            <p:custDataLst>
              <p:tags r:id="rId1"/>
            </p:custDataLst>
            <p:extLst>
              <p:ext uri="{D42A27DB-BD31-4B8C-83A1-F6EECF244321}">
                <p14:modId xmlns:p14="http://schemas.microsoft.com/office/powerpoint/2010/main" val="98010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Object 5" hidden="1">
                        <a:extLst>
                          <a:ext uri="{FF2B5EF4-FFF2-40B4-BE49-F238E27FC236}">
                            <a16:creationId xmlns:a16="http://schemas.microsoft.com/office/drawing/2014/main" id="{63A4C8AB-1755-4B89-A745-71086DC066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a:t>
            </a:r>
            <a:r>
              <a:rPr lang="ja-JP" altLang="en-US" dirty="0"/>
              <a:t>の将来動向（</a:t>
            </a:r>
            <a:r>
              <a:rPr lang="en-US" altLang="ja-JP" dirty="0"/>
              <a:t>2/3</a:t>
            </a:r>
            <a:r>
              <a:rPr lang="ja-JP" altLang="en-US" dirty="0"/>
              <a:t>）</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保健省（</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の目標は、以下の通り。（続き）</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に基づき、医療部門の民営化をはじめとして、</a:t>
            </a:r>
            <a:r>
              <a:rPr lang="en-US" altLang="ja-JP" sz="1400" dirty="0">
                <a:solidFill>
                  <a:srgbClr val="000000"/>
                </a:solidFill>
                <a:cs typeface="Arial" panose="020B0604020202020204" pitchFamily="34" charset="0"/>
              </a:rPr>
              <a:t>IT</a:t>
            </a:r>
            <a:r>
              <a:rPr lang="ja-JP" altLang="en-US" sz="1400" dirty="0">
                <a:solidFill>
                  <a:srgbClr val="000000"/>
                </a:solidFill>
                <a:cs typeface="Arial" panose="020B0604020202020204" pitchFamily="34" charset="0"/>
              </a:rPr>
              <a:t>の活用・デジタル化等による医療分野の効率化や、予防医療の普及、医療サービスの底上げ等が盛り込まれている。</a:t>
            </a:r>
            <a:endParaRPr lang="en-US" altLang="ja-JP" sz="1400" dirty="0">
              <a:solidFill>
                <a:srgbClr val="000000"/>
              </a:solidFill>
              <a:cs typeface="Arial" panose="020B0604020202020204" pitchFamily="34" charset="0"/>
            </a:endParaRPr>
          </a:p>
        </p:txBody>
      </p:sp>
      <p:sp>
        <p:nvSpPr>
          <p:cNvPr id="9" name="二等辺三角形 8"/>
          <p:cNvSpPr/>
          <p:nvPr/>
        </p:nvSpPr>
        <p:spPr>
          <a:xfrm rot="10800000">
            <a:off x="3044789" y="4797152"/>
            <a:ext cx="3816424" cy="457463"/>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sp>
        <p:nvSpPr>
          <p:cNvPr id="10" name="正方形/長方形 9"/>
          <p:cNvSpPr/>
          <p:nvPr/>
        </p:nvSpPr>
        <p:spPr>
          <a:xfrm>
            <a:off x="1511192" y="5373217"/>
            <a:ext cx="6925294" cy="369332"/>
          </a:xfrm>
          <a:prstGeom prst="rect">
            <a:avLst/>
          </a:prstGeom>
        </p:spPr>
        <p:txBody>
          <a:bodyPr wrap="none">
            <a:spAutoFit/>
          </a:bodyPr>
          <a:lstStyle/>
          <a:p>
            <a:r>
              <a:rPr lang="ja-JP" altLang="en-US" dirty="0">
                <a:solidFill>
                  <a:srgbClr val="000000"/>
                </a:solidFill>
                <a:latin typeface="HGP創英角ｺﾞｼｯｸUB" panose="020B0900000000000000" pitchFamily="50" charset="-128"/>
                <a:ea typeface="HGP創英角ｺﾞｼｯｸUB" panose="020B0900000000000000" pitchFamily="50" charset="-128"/>
              </a:rPr>
              <a:t>医療部門の民営化、医療分野の効率化、医療サービスの向上を目指す</a:t>
            </a:r>
          </a:p>
        </p:txBody>
      </p:sp>
      <p:grpSp>
        <p:nvGrpSpPr>
          <p:cNvPr id="22" name="グループ化 7"/>
          <p:cNvGrpSpPr/>
          <p:nvPr/>
        </p:nvGrpSpPr>
        <p:grpSpPr>
          <a:xfrm>
            <a:off x="416496" y="2276872"/>
            <a:ext cx="9282758"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NTP2020</a:t>
              </a:r>
              <a:r>
                <a:rPr lang="ja-JP" altLang="en-US" sz="1400" dirty="0">
                  <a:solidFill>
                    <a:srgbClr val="000000"/>
                  </a:solidFill>
                  <a:latin typeface="Arial Black" pitchFamily="34" charset="0"/>
                  <a:ea typeface="HGP創英角ｺﾞｼｯｸUB" pitchFamily="50" charset="-128"/>
                </a:rPr>
                <a:t>」における保健省の目標</a:t>
              </a:r>
              <a:r>
                <a:rPr lang="ja-JP" altLang="en-US" sz="1400" dirty="0">
                  <a:solidFill>
                    <a:srgbClr val="000000"/>
                  </a:solidFill>
                  <a:latin typeface="Arial Black" panose="020B0A04020102020204" pitchFamily="34" charset="0"/>
                </a:rPr>
                <a:t>（</a:t>
              </a:r>
              <a:r>
                <a:rPr lang="en-US" altLang="ja-JP" sz="1400" dirty="0">
                  <a:solidFill>
                    <a:srgbClr val="000000"/>
                  </a:solidFill>
                  <a:latin typeface="Arial Black" panose="020B0A04020102020204" pitchFamily="34" charset="0"/>
                </a:rPr>
                <a:t>2/2</a:t>
              </a:r>
              <a:r>
                <a:rPr lang="ja-JP" altLang="en-US" sz="1400" dirty="0">
                  <a:solidFill>
                    <a:srgbClr val="000000"/>
                  </a:solidFill>
                  <a:latin typeface="Arial Black" panose="020B0A04020102020204" pitchFamily="34" charset="0"/>
                </a:rPr>
                <a:t>）</a:t>
              </a:r>
            </a:p>
          </p:txBody>
        </p:sp>
      </p:grpSp>
      <p:graphicFrame>
        <p:nvGraphicFramePr>
          <p:cNvPr id="25" name="Group 1026"/>
          <p:cNvGraphicFramePr>
            <a:graphicFrameLocks noGrp="1"/>
          </p:cNvGraphicFramePr>
          <p:nvPr/>
        </p:nvGraphicFramePr>
        <p:xfrm>
          <a:off x="416496" y="2636912"/>
          <a:ext cx="9282758" cy="1780596"/>
        </p:xfrm>
        <a:graphic>
          <a:graphicData uri="http://schemas.openxmlformats.org/drawingml/2006/table">
            <a:tbl>
              <a:tblPr/>
              <a:tblGrid>
                <a:gridCol w="3236464">
                  <a:extLst>
                    <a:ext uri="{9D8B030D-6E8A-4147-A177-3AD203B41FA5}">
                      <a16:colId xmlns:a16="http://schemas.microsoft.com/office/drawing/2014/main" val="20000"/>
                    </a:ext>
                  </a:extLst>
                </a:gridCol>
                <a:gridCol w="4065265">
                  <a:extLst>
                    <a:ext uri="{9D8B030D-6E8A-4147-A177-3AD203B41FA5}">
                      <a16:colId xmlns:a16="http://schemas.microsoft.com/office/drawing/2014/main" val="20001"/>
                    </a:ext>
                  </a:extLst>
                </a:gridCol>
                <a:gridCol w="964550">
                  <a:extLst>
                    <a:ext uri="{9D8B030D-6E8A-4147-A177-3AD203B41FA5}">
                      <a16:colId xmlns:a16="http://schemas.microsoft.com/office/drawing/2014/main" val="20002"/>
                    </a:ext>
                  </a:extLst>
                </a:gridCol>
                <a:gridCol w="1016479">
                  <a:extLst>
                    <a:ext uri="{9D8B030D-6E8A-4147-A177-3AD203B41FA5}">
                      <a16:colId xmlns:a16="http://schemas.microsoft.com/office/drawing/2014/main" val="20003"/>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戦略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zh-TW"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重要目標達成指標</a:t>
                      </a:r>
                      <a:r>
                        <a:rPr kumimoji="1" lang="en-US" altLang="zh-TW"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KPI)</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現状</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2020</a:t>
                      </a: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年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追加歳入資源</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政府の保健資源を活用した民間セクターからの歳入合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億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億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肥満および喫煙に関する公衆衛生サービス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喫煙率</a:t>
                      </a:r>
                      <a:endParaRPr kumimoji="1" lang="en-US" altLang="ja-JP" sz="1000" kern="1200" dirty="0">
                        <a:solidFill>
                          <a:schemeClr val="tx1"/>
                        </a:solidFill>
                        <a:latin typeface="+mn-lt"/>
                        <a:ea typeface="+mn-ea"/>
                        <a:cs typeface="+mn-cs"/>
                      </a:endParaRPr>
                    </a:p>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肥満率</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endPar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減</a:t>
                      </a:r>
                      <a:endPar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減</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病院外で患者に提供される医療サービスの質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集中治療および長期入院の後</a:t>
                      </a: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週間以内に医療を受けた患者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質と安全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患者の安全に関して、を満たす病院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bl>
          </a:graphicData>
        </a:graphic>
      </p:graphicFrame>
      <p:sp>
        <p:nvSpPr>
          <p:cNvPr id="26" name="テキスト ボックス 25"/>
          <p:cNvSpPr txBox="1"/>
          <p:nvPr/>
        </p:nvSpPr>
        <p:spPr>
          <a:xfrm>
            <a:off x="200472" y="6525344"/>
            <a:ext cx="684076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National Transformation Program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6</a:t>
            </a:r>
            <a:r>
              <a:rPr lang="ja-JP" altLang="en-US" sz="800" dirty="0">
                <a:solidFill>
                  <a:srgbClr val="000000"/>
                </a:solidFill>
                <a:cs typeface="Arial" panose="020B0604020202020204" pitchFamily="34" charset="0"/>
              </a:rPr>
              <a:t>）</a:t>
            </a:r>
          </a:p>
        </p:txBody>
      </p:sp>
      <p:sp>
        <p:nvSpPr>
          <p:cNvPr id="13" name="正方形/長方形 10"/>
          <p:cNvSpPr/>
          <p:nvPr/>
        </p:nvSpPr>
        <p:spPr>
          <a:xfrm>
            <a:off x="7329264" y="652534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53266551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の将来動向</a:t>
            </a:r>
            <a:r>
              <a:rPr lang="ja-JP" altLang="en-US" dirty="0"/>
              <a:t>（</a:t>
            </a:r>
            <a:r>
              <a:rPr lang="en-US" altLang="ja-JP" dirty="0"/>
              <a:t>3/3</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戦略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1431-14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策定してお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取り組むべき課題について明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1136575" y="1800331"/>
            <a:ext cx="7776866"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戦略計画（</a:t>
              </a:r>
              <a:r>
                <a:rPr lang="en-US" altLang="ja-JP" sz="1400" dirty="0">
                  <a:latin typeface="Arial Black" panose="020B0A04020102020204" pitchFamily="34" charset="0"/>
                  <a:ea typeface="HGP創英角ｺﾞｼｯｸUB" pitchFamily="50" charset="-128"/>
                </a:rPr>
                <a:t>Strategic Plan 1431-1440</a:t>
              </a:r>
              <a:r>
                <a:rPr lang="ja-JP" altLang="en-US" sz="1400" dirty="0">
                  <a:latin typeface="Arial Black" panose="020B0A04020102020204" pitchFamily="34" charset="0"/>
                  <a:ea typeface="HGP創英角ｺﾞｼｯｸUB" pitchFamily="50" charset="-128"/>
                </a:rPr>
                <a:t>）の概要</a:t>
              </a:r>
            </a:p>
          </p:txBody>
        </p:sp>
      </p:grpSp>
      <p:sp>
        <p:nvSpPr>
          <p:cNvPr id="13" name="正方形/長方形 12"/>
          <p:cNvSpPr/>
          <p:nvPr/>
        </p:nvSpPr>
        <p:spPr>
          <a:xfrm>
            <a:off x="1136650" y="2088363"/>
            <a:ext cx="7776716" cy="800797"/>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先進国と同水準に保健医療システムを発展させ、保健医療サービスの品質向上を図ることを目的と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30" name="グループ化 29"/>
          <p:cNvGrpSpPr/>
          <p:nvPr/>
        </p:nvGrpSpPr>
        <p:grpSpPr>
          <a:xfrm>
            <a:off x="1136576" y="2385105"/>
            <a:ext cx="7632144" cy="576064"/>
            <a:chOff x="1136576" y="2564905"/>
            <a:chExt cx="7632144" cy="576064"/>
          </a:xfrm>
        </p:grpSpPr>
        <p:sp>
          <p:nvSpPr>
            <p:cNvPr id="14" name="片側の 2 つの角を丸めた四角形 13"/>
            <p:cNvSpPr/>
            <p:nvPr/>
          </p:nvSpPr>
          <p:spPr>
            <a:xfrm rot="16200000">
              <a:off x="1514618" y="2186863"/>
              <a:ext cx="576064"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スローガン</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2432720" y="2564905"/>
              <a:ext cx="6336000" cy="576064"/>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患者第一主義（</a:t>
              </a:r>
              <a:r>
                <a:rPr lang="en-US" altLang="ja-JP" sz="1000" dirty="0">
                  <a:solidFill>
                    <a:srgbClr val="000000"/>
                  </a:solidFill>
                </a:rPr>
                <a:t>Patient First</a:t>
              </a:r>
              <a:r>
                <a:rPr lang="ja-JP" altLang="en-US" sz="1000" dirty="0">
                  <a:solidFill>
                    <a:srgbClr val="000000"/>
                  </a:solidFill>
                </a:rPr>
                <a:t>）」</a:t>
              </a:r>
            </a:p>
          </p:txBody>
        </p:sp>
      </p:grpSp>
      <p:grpSp>
        <p:nvGrpSpPr>
          <p:cNvPr id="29" name="グループ化 28"/>
          <p:cNvGrpSpPr/>
          <p:nvPr/>
        </p:nvGrpSpPr>
        <p:grpSpPr>
          <a:xfrm>
            <a:off x="1136576" y="3051249"/>
            <a:ext cx="7632144" cy="1260000"/>
            <a:chOff x="1136576" y="3284984"/>
            <a:chExt cx="7632144" cy="1260000"/>
          </a:xfrm>
        </p:grpSpPr>
        <p:sp>
          <p:nvSpPr>
            <p:cNvPr id="20" name="片側の 2 つの角を丸めた四角形 19"/>
            <p:cNvSpPr/>
            <p:nvPr/>
          </p:nvSpPr>
          <p:spPr>
            <a:xfrm rot="16200000">
              <a:off x="1172650" y="3248910"/>
              <a:ext cx="1260000"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５つの戦略目標</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2432720" y="3284984"/>
              <a:ext cx="6336000" cy="1260000"/>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統合、集中された保健医療アプローチの導入</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組織的な業務文化の確立、品質水準および測定、モニタリング業務の質的向上</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高い技術を持った人材の誘致と人材育成</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医療情報サービスの向上</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最適な資源活用および医療および研究における経済的な適用</a:t>
              </a:r>
            </a:p>
          </p:txBody>
        </p:sp>
      </p:grpSp>
      <p:grpSp>
        <p:nvGrpSpPr>
          <p:cNvPr id="28" name="グループ化 27"/>
          <p:cNvGrpSpPr/>
          <p:nvPr/>
        </p:nvGrpSpPr>
        <p:grpSpPr>
          <a:xfrm>
            <a:off x="1136576" y="4401328"/>
            <a:ext cx="7632144" cy="1980000"/>
            <a:chOff x="1136576" y="4653136"/>
            <a:chExt cx="7632144" cy="1980000"/>
          </a:xfrm>
        </p:grpSpPr>
        <p:sp>
          <p:nvSpPr>
            <p:cNvPr id="23" name="片側の 2 つの角を丸めた四角形 22"/>
            <p:cNvSpPr/>
            <p:nvPr/>
          </p:nvSpPr>
          <p:spPr>
            <a:xfrm rot="16200000">
              <a:off x="812650" y="4977062"/>
              <a:ext cx="1980000"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主要プロジェクト</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2432720" y="4653136"/>
              <a:ext cx="6336000" cy="1980000"/>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プライマリーヘルスケアセンタープロジェクト</a:t>
              </a:r>
              <a:endParaRPr lang="en-US" altLang="ja-JP" sz="1000" dirty="0">
                <a:solidFill>
                  <a:srgbClr val="000000"/>
                </a:solidFill>
              </a:endParaRPr>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solidFill>
                    <a:srgbClr val="000000"/>
                  </a:solidFill>
                </a:rPr>
                <a:t>　　設置数は、計画策定時点では、</a:t>
              </a:r>
              <a:r>
                <a:rPr lang="en-US" altLang="ja-JP" sz="1000" dirty="0">
                  <a:solidFill>
                    <a:srgbClr val="000000"/>
                  </a:solidFill>
                </a:rPr>
                <a:t>2013 </a:t>
              </a:r>
              <a:r>
                <a:rPr lang="ja-JP" altLang="en-US" sz="1000" dirty="0">
                  <a:solidFill>
                    <a:srgbClr val="000000"/>
                  </a:solidFill>
                </a:rPr>
                <a:t>年に</a:t>
              </a:r>
              <a:r>
                <a:rPr lang="en-US" altLang="ja-JP" sz="1000" dirty="0">
                  <a:solidFill>
                    <a:srgbClr val="000000"/>
                  </a:solidFill>
                </a:rPr>
                <a:t>2,109 </a:t>
              </a:r>
              <a:r>
                <a:rPr lang="ja-JP" altLang="en-US" sz="1000" dirty="0">
                  <a:solidFill>
                    <a:srgbClr val="000000"/>
                  </a:solidFill>
                </a:rPr>
                <a:t>施設、最終年には</a:t>
              </a:r>
              <a:r>
                <a:rPr lang="en-US" altLang="ja-JP" sz="1000" dirty="0">
                  <a:solidFill>
                    <a:srgbClr val="000000"/>
                  </a:solidFill>
                </a:rPr>
                <a:t>2,750 </a:t>
              </a:r>
              <a:r>
                <a:rPr lang="ja-JP" altLang="en-US" sz="1000" dirty="0">
                  <a:solidFill>
                    <a:srgbClr val="000000"/>
                  </a:solidFill>
                </a:rPr>
                <a:t>施設まで拡大する計画</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病院</a:t>
              </a:r>
              <a:endParaRPr lang="en-US" altLang="ja-JP" sz="1000" dirty="0"/>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t>　　計画策定時点では、</a:t>
              </a:r>
              <a:r>
                <a:rPr lang="en-US" altLang="ja-JP" sz="1000" dirty="0"/>
                <a:t>2010 </a:t>
              </a:r>
              <a:r>
                <a:rPr lang="ja-JP" altLang="en-US" sz="1000" dirty="0"/>
                <a:t>年の</a:t>
              </a:r>
              <a:r>
                <a:rPr lang="en-US" altLang="ja-JP" sz="1000" dirty="0"/>
                <a:t>31,400 </a:t>
              </a:r>
              <a:r>
                <a:rPr lang="ja-JP" altLang="en-US" sz="1000" dirty="0"/>
                <a:t>床から、最終年には</a:t>
              </a:r>
              <a:r>
                <a:rPr lang="en-US" altLang="ja-JP" sz="1000" dirty="0"/>
                <a:t>70,693 </a:t>
              </a:r>
              <a:r>
                <a:rPr lang="ja-JP" altLang="en-US" sz="1000" dirty="0"/>
                <a:t>床と倍増させる計画</a:t>
              </a:r>
              <a:endParaRPr lang="en-US" altLang="ja-JP" sz="1000" dirty="0"/>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専門医療センター</a:t>
              </a:r>
              <a:endParaRPr lang="en-US" altLang="ja-JP" sz="1000" dirty="0"/>
            </a:p>
            <a:p>
              <a:pPr marL="180975" indent="-180975"/>
              <a:r>
                <a:rPr lang="ja-JP" altLang="en-US" sz="1000" dirty="0"/>
                <a:t>　　計画最終年には</a:t>
              </a:r>
              <a:r>
                <a:rPr lang="en-US" altLang="ja-JP" sz="1000" dirty="0"/>
                <a:t>15 </a:t>
              </a:r>
              <a:r>
                <a:rPr lang="ja-JP" altLang="en-US" sz="1000" dirty="0"/>
                <a:t>か所にする計画。また、がんセンターは、計画最終年には</a:t>
              </a:r>
              <a:r>
                <a:rPr lang="en-US" altLang="ja-JP" sz="1000" dirty="0"/>
                <a:t>8 </a:t>
              </a:r>
              <a:r>
                <a:rPr lang="ja-JP" altLang="en-US" sz="1000" dirty="0"/>
                <a:t>か所にし、既存病院での増設なども含めて</a:t>
              </a:r>
              <a:r>
                <a:rPr lang="en-US" altLang="ja-JP" sz="1000" dirty="0"/>
                <a:t>12 </a:t>
              </a:r>
              <a:r>
                <a:rPr lang="ja-JP" altLang="en-US" sz="1000" dirty="0"/>
                <a:t>か所でがんの専門治療が受けられるようにする計画</a:t>
              </a:r>
              <a:endParaRPr lang="en-US" altLang="ja-JP" sz="1000" dirty="0"/>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メディカル・シティ</a:t>
              </a:r>
              <a:endParaRPr lang="en-US" altLang="ja-JP" sz="1000" dirty="0"/>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t>　合計で</a:t>
              </a:r>
              <a:r>
                <a:rPr lang="en-US" altLang="ja-JP" sz="1000" dirty="0"/>
                <a:t>5 </a:t>
              </a:r>
              <a:r>
                <a:rPr lang="ja-JP" altLang="en-US" sz="1000" dirty="0"/>
                <a:t>か所のメディカル・シティを完成させ、メディカル・シティ合計で</a:t>
              </a:r>
              <a:r>
                <a:rPr lang="en-US" altLang="ja-JP" sz="1000" dirty="0"/>
                <a:t>6,200</a:t>
              </a:r>
              <a:r>
                <a:rPr lang="ja-JP" altLang="en-US" sz="1000" dirty="0"/>
                <a:t>床を確保する計画。メディカル・シティには、がんセンターのほか、希少疾患、神経疾患、高度な心臓手術、放射線療法、臓器</a:t>
              </a:r>
              <a:r>
                <a:rPr lang="en-US" altLang="ja-JP" sz="1000" dirty="0"/>
                <a:t>/</a:t>
              </a:r>
              <a:r>
                <a:rPr lang="ja-JP" altLang="en-US" sz="1000" dirty="0"/>
                <a:t>角膜移植など高度医療を行うことを期待</a:t>
              </a:r>
              <a:endParaRPr lang="en-US" altLang="ja-JP" sz="1000" dirty="0"/>
            </a:p>
          </p:txBody>
        </p:sp>
      </p:grpSp>
    </p:spTree>
    <p:extLst>
      <p:ext uri="{BB962C8B-B14F-4D97-AF65-F5344CB8AC3E}">
        <p14:creationId xmlns:p14="http://schemas.microsoft.com/office/powerpoint/2010/main" val="246424729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5</a:t>
            </a:r>
            <a:r>
              <a:rPr lang="ja-JP" altLang="en-US" sz="1400" dirty="0"/>
              <a:t>年</a:t>
            </a:r>
            <a:r>
              <a:rPr lang="en-US" altLang="ja-JP" sz="1400" dirty="0"/>
              <a:t>11</a:t>
            </a:r>
            <a:r>
              <a:rPr lang="ja-JP" altLang="en-US" sz="1400" dirty="0"/>
              <a:t>月の</a:t>
            </a:r>
            <a:r>
              <a:rPr lang="en-US" altLang="ja-JP" sz="1400" dirty="0"/>
              <a:t>G20</a:t>
            </a:r>
            <a:r>
              <a:rPr lang="ja-JP" altLang="en-US" sz="1400" dirty="0"/>
              <a:t> アンタルヤ・サミットの際、安倍総理大臣は、サルマン国王と日・サウジアラビア首脳会談を行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サルマン国王がサウジアラビア国王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ぶりに来日し、安倍総理大臣は、サルマン国王と日・サウジアラビア首脳会談を行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ムハンマド皇太子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阪サミット出席などのために来日した</a:t>
            </a:r>
          </a:p>
        </p:txBody>
      </p:sp>
      <p:sp>
        <p:nvSpPr>
          <p:cNvPr id="36" name="テキスト ボックス 35"/>
          <p:cNvSpPr txBox="1"/>
          <p:nvPr/>
        </p:nvSpPr>
        <p:spPr>
          <a:xfrm>
            <a:off x="200472" y="659735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sp>
        <p:nvSpPr>
          <p:cNvPr id="13" name="片側の 2 つの角を丸めた四角形 12"/>
          <p:cNvSpPr/>
          <p:nvPr/>
        </p:nvSpPr>
        <p:spPr>
          <a:xfrm>
            <a:off x="920552" y="2636912"/>
            <a:ext cx="4679464"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ウジアラビ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601072" y="2636912"/>
            <a:ext cx="4104456"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21294209"/>
              </p:ext>
            </p:extLst>
          </p:nvPr>
        </p:nvGraphicFramePr>
        <p:xfrm>
          <a:off x="200472" y="2924943"/>
          <a:ext cx="9504000" cy="3627182"/>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4680520">
                  <a:extLst>
                    <a:ext uri="{9D8B030D-6E8A-4147-A177-3AD203B41FA5}">
                      <a16:colId xmlns:a16="http://schemas.microsoft.com/office/drawing/2014/main" val="20001"/>
                    </a:ext>
                  </a:extLst>
                </a:gridCol>
                <a:gridCol w="4103400">
                  <a:extLst>
                    <a:ext uri="{9D8B030D-6E8A-4147-A177-3AD203B41FA5}">
                      <a16:colId xmlns:a16="http://schemas.microsoft.com/office/drawing/2014/main" val="20002"/>
                    </a:ext>
                  </a:extLst>
                </a:gridCol>
              </a:tblGrid>
              <a:tr h="363446">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サイビ経済企画相、アンガリ高等教育相、サウジアラビア・日本友好議員連盟、ホサイン水電力相、アッサーフ財務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ダニ外務担当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大畠経済産業大臣、枝野経済産業大臣</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54517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ーセル経済企画相、タウフィーク商工相、ヤマニ・アブドッラー国王原子力・再生可能エネルギー都市（</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ACARE</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総裁、ハーリド外務副相、ナイミ石油鉱物相、アッサーフ財務相、マダニ外務担当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玄葉外務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ーリド国防副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ルマン皇太子（</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現在、サルマン国王）</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ァキーフ経済企画相、オスマン総合投資院（</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GI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17669">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ェイク諮問評議会議長、</a:t>
                      </a:r>
                      <a:r>
                        <a:rPr lang="ja-JP" altLang="en-US" sz="1000" b="0" dirty="0"/>
                        <a:t>ムハンマド副皇太子兼国防大臣、</a:t>
                      </a:r>
                      <a:r>
                        <a:rPr lang="ja-JP" altLang="en-US" sz="1000" dirty="0"/>
                        <a:t>ジュベイル外相</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17669">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サルマン国王、アッサーフ国務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7801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ファーレフ・エネルギー産業鉱物資源相、スルタン・ビン・サルマン国家遺産観光庁長官</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931797628"/>
                  </a:ext>
                </a:extLst>
              </a:tr>
              <a:tr h="49560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サウジアラビア・日本友好議員連盟、アイバーン国務相、ムハンマド皇太子、トルキー・ムハンマド国務相（即位の礼）、トワイジリ経済企画相、カザビー商業投資相、シェイク諮問評議会議員、ファイサル外相、ジュベイル外務担当国務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原田環境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281254237"/>
                  </a:ext>
                </a:extLst>
              </a:tr>
              <a:tr h="23115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茂木外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696996687"/>
                  </a:ext>
                </a:extLst>
              </a:tr>
              <a:tr h="217669">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アブ</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アジーズ・スポーツ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110140873"/>
                  </a:ext>
                </a:extLst>
              </a:tr>
              <a:tr h="217669">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ファイサル外相、ファーレフ投資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224755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47940953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日・サウジ・ビジョン</a:t>
            </a:r>
            <a:r>
              <a:rPr lang="en-US" altLang="ja-JP" dirty="0"/>
              <a:t>2030</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サルマン国王と安倍総理大臣の首脳会談において「日・サウジ・ビジ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外務省</a:t>
            </a:r>
            <a:r>
              <a:rPr lang="en-US" altLang="ja-JP" sz="800" dirty="0"/>
              <a:t>HP</a:t>
            </a:r>
            <a:endParaRPr lang="ja-JP" altLang="en-US" sz="800" dirty="0"/>
          </a:p>
        </p:txBody>
      </p:sp>
      <p:grpSp>
        <p:nvGrpSpPr>
          <p:cNvPr id="18" name="グループ化 17"/>
          <p:cNvGrpSpPr/>
          <p:nvPr/>
        </p:nvGrpSpPr>
        <p:grpSpPr>
          <a:xfrm>
            <a:off x="200472" y="1628800"/>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サウジ・ビジョン</a:t>
              </a: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の骨子</a:t>
              </a:r>
            </a:p>
          </p:txBody>
        </p:sp>
      </p:grpSp>
      <p:sp>
        <p:nvSpPr>
          <p:cNvPr id="12" name="テキスト ボックス 10"/>
          <p:cNvSpPr txBox="1"/>
          <p:nvPr/>
        </p:nvSpPr>
        <p:spPr>
          <a:xfrm>
            <a:off x="200472" y="2065406"/>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しい日サ協力の羅針盤として、脱石油依存と雇用創出のためサウジが追求する「サウジ・ビジョン</a:t>
            </a:r>
            <a:r>
              <a:rPr lang="en-US" altLang="ja-JP" sz="1400" dirty="0"/>
              <a:t>2030</a:t>
            </a:r>
            <a:r>
              <a:rPr lang="ja-JP" altLang="en-US" sz="1400" dirty="0"/>
              <a:t>」と、</a:t>
            </a:r>
            <a:r>
              <a:rPr lang="en-US" altLang="ja-JP" sz="1400" dirty="0"/>
              <a:t>GDP600</a:t>
            </a:r>
            <a:r>
              <a:rPr lang="ja-JP" altLang="en-US" sz="1400" dirty="0"/>
              <a:t>兆円の達成に向けて日本が追求する「日本の成長戦略」のシナジーを目指す</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日サの</a:t>
            </a:r>
            <a:r>
              <a:rPr lang="en-US" altLang="ja-JP" sz="1400" dirty="0"/>
              <a:t>41</a:t>
            </a:r>
            <a:r>
              <a:rPr lang="ja-JP" altLang="en-US" sz="1400" dirty="0"/>
              <a:t>省庁・機関が参加し、具体的連携の重点分野として</a:t>
            </a:r>
            <a:r>
              <a:rPr lang="en-US" altLang="ja-JP" sz="1400" dirty="0"/>
              <a:t>9</a:t>
            </a:r>
            <a:r>
              <a:rPr lang="ja-JP" altLang="en-US" sz="1400" dirty="0"/>
              <a:t>分野を設定（うち</a:t>
            </a:r>
            <a:r>
              <a:rPr lang="en-US" altLang="ja-JP" sz="1400" dirty="0"/>
              <a:t>1</a:t>
            </a:r>
            <a:r>
              <a:rPr lang="ja-JP" altLang="en-US" sz="1400" dirty="0"/>
              <a:t>つが医療・保健）</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重点</a:t>
            </a:r>
            <a:r>
              <a:rPr lang="en-US" altLang="ja-JP" sz="1400" dirty="0"/>
              <a:t>9</a:t>
            </a:r>
            <a:r>
              <a:rPr lang="ja-JP" altLang="en-US" sz="1400" dirty="0"/>
              <a:t>分野で計</a:t>
            </a:r>
            <a:r>
              <a:rPr lang="en-US" altLang="ja-JP" sz="1400" dirty="0"/>
              <a:t>31</a:t>
            </a:r>
            <a:r>
              <a:rPr lang="ja-JP" altLang="en-US" sz="1400" dirty="0"/>
              <a:t>件の先行プロジェクトを選定し、実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17"/>
          <p:cNvGrpSpPr/>
          <p:nvPr/>
        </p:nvGrpSpPr>
        <p:grpSpPr>
          <a:xfrm>
            <a:off x="200472" y="3429000"/>
            <a:ext cx="9505056" cy="288032"/>
            <a:chOff x="200472" y="1772816"/>
            <a:chExt cx="9505056" cy="288032"/>
          </a:xfrm>
        </p:grpSpPr>
        <p:cxnSp>
          <p:nvCxnSpPr>
            <p:cNvPr id="17"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保健分野の先行プロジェクト（例）</a:t>
              </a:r>
            </a:p>
          </p:txBody>
        </p:sp>
      </p:grpSp>
      <p:grpSp>
        <p:nvGrpSpPr>
          <p:cNvPr id="5" name="Group 4"/>
          <p:cNvGrpSpPr/>
          <p:nvPr/>
        </p:nvGrpSpPr>
        <p:grpSpPr>
          <a:xfrm>
            <a:off x="1640632" y="4293096"/>
            <a:ext cx="6408712" cy="1794421"/>
            <a:chOff x="1496616" y="3900649"/>
            <a:chExt cx="6264696" cy="1794421"/>
          </a:xfrm>
        </p:grpSpPr>
        <p:sp>
          <p:nvSpPr>
            <p:cNvPr id="22" name="片側の 2 つの角を丸めた四角形 6"/>
            <p:cNvSpPr/>
            <p:nvPr/>
          </p:nvSpPr>
          <p:spPr>
            <a:xfrm>
              <a:off x="1496616" y="4241900"/>
              <a:ext cx="6264696" cy="1453170"/>
            </a:xfrm>
            <a:prstGeom prst="round2SameRect">
              <a:avLst>
                <a:gd name="adj1" fmla="val 0"/>
                <a:gd name="adj2" fmla="val 9158"/>
              </a:avLst>
            </a:prstGeom>
            <a:solidFill>
              <a:srgbClr val="DDE6F3"/>
            </a:solidFill>
          </p:spPr>
          <p:txBody>
            <a:bodyPr wrap="square"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24" name="1 つの角を丸めた四角形 14"/>
            <p:cNvSpPr/>
            <p:nvPr/>
          </p:nvSpPr>
          <p:spPr>
            <a:xfrm>
              <a:off x="1496616" y="3900649"/>
              <a:ext cx="6264696" cy="341251"/>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医療・保健分野での協力</a:t>
              </a:r>
              <a:r>
                <a:rPr lang="en-US" altLang="ja-JP" sz="1400" dirty="0">
                  <a:solidFill>
                    <a:srgbClr val="FFFFFF"/>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覚書</a:t>
              </a:r>
              <a:r>
                <a:rPr lang="en-US" altLang="ja-JP" sz="1400" dirty="0">
                  <a:solidFill>
                    <a:srgbClr val="FFFFFF"/>
                  </a:solidFill>
                  <a:latin typeface="HGP創英角ｺﾞｼｯｸUB" panose="020B0900000000000000" pitchFamily="50" charset="-128"/>
                  <a:ea typeface="HGP創英角ｺﾞｼｯｸUB" panose="020B0900000000000000" pitchFamily="50" charset="-128"/>
                </a:rPr>
                <a:t>】</a:t>
              </a:r>
              <a:endParaRPr lang="ja-JP" altLang="en-US" sz="1400" dirty="0">
                <a:solidFill>
                  <a:srgbClr val="FFFFFF"/>
                </a:solidFill>
                <a:latin typeface="HGP創英角ｺﾞｼｯｸUB" panose="020B0900000000000000" pitchFamily="50" charset="-128"/>
                <a:ea typeface="HGP創英角ｺﾞｼｯｸUB" panose="020B0900000000000000" pitchFamily="50" charset="-128"/>
              </a:endParaRPr>
            </a:p>
          </p:txBody>
        </p:sp>
        <p:sp>
          <p:nvSpPr>
            <p:cNvPr id="25" name="正方形/長方形 16"/>
            <p:cNvSpPr/>
            <p:nvPr/>
          </p:nvSpPr>
          <p:spPr>
            <a:xfrm>
              <a:off x="1698702" y="4414487"/>
              <a:ext cx="5860522" cy="1107996"/>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医療研修及び研究分野の協力、医療分野における専門家の交流を通じた協力、並びに医療・保健分野における経験の交換を通じた協力</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endParaRPr lang="en-US" altLang="ja-JP" sz="1400" b="1" dirty="0">
                <a:solidFill>
                  <a:srgbClr val="000000"/>
                </a:solidFill>
                <a:cs typeface="Arial" panose="020B0604020202020204" pitchFamily="34" charset="0"/>
              </a:endParaRPr>
            </a:p>
            <a:p>
              <a:pPr algn="ctr" fontAlgn="ctr">
                <a:spcAft>
                  <a:spcPts val="600"/>
                </a:spcAft>
                <a:buClr>
                  <a:srgbClr val="5F8AC3"/>
                </a:buClr>
              </a:pPr>
              <a:r>
                <a:rPr lang="ja-JP" altLang="en-US" sz="1400" b="1" dirty="0">
                  <a:solidFill>
                    <a:srgbClr val="000000"/>
                  </a:solidFill>
                  <a:cs typeface="Arial" panose="020B0604020202020204" pitchFamily="34" charset="0"/>
                </a:rPr>
                <a:t>（日本側）厚生労働省 （サウジアラビア側）保健省</a:t>
              </a:r>
            </a:p>
          </p:txBody>
        </p:sp>
      </p:grpSp>
    </p:spTree>
    <p:extLst>
      <p:ext uri="{BB962C8B-B14F-4D97-AF65-F5344CB8AC3E}">
        <p14:creationId xmlns:p14="http://schemas.microsoft.com/office/powerpoint/2010/main" val="3565853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MTBTACCENT" val="Text1ColorBoldText"/>
  <p:tag name="THINKCELLUNDODONOTDELETE" val="0"/>
  <p:tag name="THINKCELLPRESENTATIONDONOTDELETE" val="&lt;?xml version=&quot;1.0&quot; encoding=&quot;UTF-16&quot; standalone=&quot;yes&quot;?&gt;&lt;root reqver=&quot;28224&quot;&gt;&lt;version val=&quot;35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6&quot;&gt;&lt;elem m_fUsage=&quot;2.10141428245808148390E+00&quot;&gt;&lt;m_msothmcolidx val=&quot;0&quot;/&gt;&lt;m_rgb r=&quot;C0&quot; g=&quot;E6&quot; b=&quot;F4&quot;/&gt;&lt;/elem&gt;&lt;elem m_fUsage=&quot;1.94070509547016323282E+00&quot;&gt;&lt;m_msothmcolidx val=&quot;0&quot;/&gt;&lt;m_rgb r=&quot;80&quot; g=&quot;CC&quot; b=&quot;E8&quot;/&gt;&lt;/elem&gt;&lt;elem m_fUsage=&quot;1.82358259704356640007E+00&quot;&gt;&lt;m_msothmcolidx val=&quot;0&quot;/&gt;&lt;m_rgb r=&quot;1F&quot; g=&quot;49&quot; b=&quot;7D&quot;/&gt;&lt;/elem&gt;&lt;elem m_fUsage=&quot;1.64428388248609702593E+00&quot;&gt;&lt;m_msothmcolidx val=&quot;0&quot;/&gt;&lt;m_rgb r=&quot;00&quot; g=&quot;64&quot; b=&quot;C8&quot;/&gt;&lt;/elem&gt;&lt;elem m_fUsage=&quot;1.38742048900000014555E+00&quot;&gt;&lt;m_msothmcolidx val=&quot;0&quot;/&gt;&lt;m_rgb r=&quot;3D&quot; g=&quot;6E&quot; b=&quot;81&quot;/&gt;&lt;/elem&gt;&lt;elem m_fUsage=&quot;5.93869567917870710971E-01&quot;&gt;&lt;m_msothmcolidx val=&quot;0&quot;/&gt;&lt;m_rgb r=&quot;F3&quot; g=&quot;F3&quot; b=&quot;F3&quot;/&gt;&lt;/elem&gt;&lt;elem m_fUsage=&quot;3.09182934604996684236E-01&quot;&gt;&lt;m_msothmcolidx val=&quot;0&quot;/&gt;&lt;m_rgb r=&quot;EB&quot; g=&quot;EF&quot; b=&quot;CF&quot;/&gt;&lt;/elem&gt;&lt;elem m_fUsage=&quot;1.32813928421286336912E-01&quot;&gt;&lt;m_msothmcolidx val=&quot;0&quot;/&gt;&lt;m_rgb r=&quot;FF&quot; g=&quot;EF&quot; b=&quot;CF&quot;/&gt;&lt;/elem&gt;&lt;elem m_fUsage=&quot;4.23911582752162438559E-02&quot;&gt;&lt;m_msothmcolidx val=&quot;0&quot;/&gt;&lt;m_rgb r=&quot;79&quot; g=&quot;A2&quot; b=&quot;B3&quot;/&gt;&lt;/elem&gt;&lt;elem m_fUsage=&quot;1.33027946472911474951E-02&quot;&gt;&lt;m_msothmcolidx val=&quot;0&quot;/&gt;&lt;m_rgb r=&quot;FF&quot; g=&quot;FF&quot; b=&quot;CC&quot;/&gt;&lt;/elem&gt;&lt;elem m_fUsage=&quot;1.08018250631934150524E-02&quot;&gt;&lt;m_msothmcolidx val=&quot;0&quot;/&gt;&lt;m_rgb r=&quot;EC&quot; g=&quot;E5&quot; b=&quot;F4&quot;/&gt;&lt;/elem&gt;&lt;elem m_fUsage=&quot;1.30263265158431787915E-04&quot;&gt;&lt;m_msothmcolidx val=&quot;0&quot;/&gt;&lt;m_rgb r=&quot;33&quot; g=&quot;99&quot; b=&quot;CC&quot;/&gt;&lt;/elem&gt;&lt;elem m_fUsage=&quot;2.39052589988287914351E-05&quot;&gt;&lt;m_msothmcolidx val=&quot;0&quot;/&gt;&lt;m_rgb r=&quot;EC&quot; g=&quot;C6&quot; b=&quot;D0&quot;/&gt;&lt;/elem&gt;&lt;elem m_fUsage=&quot;8.33524841789811498760E-06&quot;&gt;&lt;m_msothmcolidx val=&quot;0&quot;/&gt;&lt;m_rgb r=&quot;72&quot; g=&quot;72&quot; b=&quot;E0&quot;/&gt;&lt;/elem&gt;&lt;elem m_fUsage=&quot;7.50172357610830382765E-06&quot;&gt;&lt;m_msothmcolidx val=&quot;0&quot;/&gt;&lt;m_rgb r=&quot;5E&quot; g=&quot;77&quot; b=&quot;A6&quot;/&gt;&lt;/elem&gt;&lt;elem m_fUsage=&quot;6.75155121849747319078E-06&quot;&gt;&lt;m_msothmcolidx val=&quot;0&quot;/&gt;&lt;m_rgb r=&quot;C5&quot; g=&quot;C5&quot; b=&quot;D3&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lsdJ_nL4SZm2_SP04eF2X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yKGGqdJhSzS.IOAq60NRu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FafaXJtQQ6ePa00PQgwqg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Fx.FngToDIJZXPEgllNEt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z3PGzUJfXFTS8V2AB_gqS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M3bAV2FKS5.J4LBFQZPvW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EO1RrgETM2bqGS.EqHez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_w86q_8AyrD_ikzn8keI0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2X7kVx1tpD0KPOFlIEyyf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bdKw9FMLgzHXsrNYS3.Lx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mlf8nbAF8juBuKpI2F90P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ai61c4nXHtJfi2AvBmlbC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KMaRSGMzJAndkVzEOo_JY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OP1tZn1otPdDAzuRNQ94h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f_5G5sxgt98bCcDVt_jPE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9FVkG7FxAyiz_Axijqbp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Bz5P1bc5x9xXFH594H3bx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mPqljN8l1yxlDPPnIcPD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nNCuFTarOLfykg21VBmBw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g89W9kjJhnhB6dmb1IKcV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4CCxiygOq20ocQK4.bBCk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nF62V2gXEyrj1lHPetFZ2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oMm6DJgS54.lGXMZ4B80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lQ0uq9j_zQU7FRIWW0BHI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gviXJ8BZ3sblHkWDcYocp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yXssBDMb40lIYzIhaobn8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wV386ucrXeTncp.92Scsp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ArNsS3kYtqsI2iWZdLxg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nDXrf_XdxQykUtPLnXqP5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y9ypmsrwRH7yMYnyzepM2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VM30A7Vngc.Rfs2mateYx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ZMCyydywUfhW5HIt0Qccj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RU99g2igNOa10AuBd_rn3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cBgldoUikSGg3KxA8CNkw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9E6loMFVHCQqMl8VGkplV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t5XxXuZgDUmZWYAVaWv53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oeS6zOhMdOQxj7bA_NQr1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VNhB6NLU0L_lZqlGHQOQi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wNBz3Di27vZvt79pDGrxC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89ZVV1tsLk_KTGVR8ZMdw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VwDwrjBJzIm5SPUZqH8KL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OMAU4rUsMuuVB5DW9ihT0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2ANAgVQU5IXK1FirVOyzu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4MaGMCPhyEELHEJb_AU8l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2.DOOl2FGoZRq.KmwEYlf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X27B4AEaGy1QT1OQ4.CCL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0cNSDkCTEAtZ8HXtya6bg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gOeHIr.xXkVLvOfuWjax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2l8xrCdZNonbp_EeWMaCx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y2XRrJoEpOhkhySFOLSDN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0hwsiY97yO7fSzWm2ESbs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ZciGROj.63qDYS9BrsIjA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bHRj.GEb5P6jm0ys6DO3P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Af.ELf_Ey0sUal.fEOwN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bhzR9YAB7HtzJ.Ht7Epeu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8yxUjLRCjW7jduSqn3.fC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tMsOW2r3_j2Lu1tFKh3y1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zkXhDlIGCsAbbx._Hz3gZ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k1Mo2tbYzx.X_urlAPR_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XgVyQAaDSZMdde5_Wy8R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TAjm56MSd9.p4EblyO6Un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UieRxTYvnyqxucARgzDi8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ctalRObw86WqyZVgzU_w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UiuUmFFyaFN5IwVI2xWW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egABDXmxEF2ErtkXBtC.Z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_7oZvcC85UjwSwwmq3tA6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qGyL_7FvGgnFZqQUSOoRk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gn2llJ1445_Ycl54AD9wF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ZTLAbMX5EDQQSmdWzt3Q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3gm.N4Dx5EpqH9l.iqEXv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TpwCV98BOvlTPKbNzS2eM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Aoji2pVMG6fHoVhRBz00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2.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2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24.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25.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126.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127.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12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B87sT4fjpdS0irgmlVFjg"/>
</p:tagLst>
</file>

<file path=ppt/tags/tag1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3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33.xml><?xml version="1.0" encoding="utf-8"?>
<p:tagLst xmlns:a="http://schemas.openxmlformats.org/drawingml/2006/main" xmlns:r="http://schemas.openxmlformats.org/officeDocument/2006/relationships" xmlns:p="http://schemas.openxmlformats.org/presentationml/2006/main">
  <p:tag name="NAME" val="CustomIcon"/>
</p:tagLst>
</file>

<file path=ppt/tags/tag1134.xml><?xml version="1.0" encoding="utf-8"?>
<p:tagLst xmlns:a="http://schemas.openxmlformats.org/drawingml/2006/main" xmlns:r="http://schemas.openxmlformats.org/officeDocument/2006/relationships" xmlns:p="http://schemas.openxmlformats.org/presentationml/2006/main">
  <p:tag name="NAME" val="CustomIcon"/>
</p:tagLst>
</file>

<file path=ppt/tags/tag113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3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37.xml><?xml version="1.0" encoding="utf-8"?>
<p:tagLst xmlns:a="http://schemas.openxmlformats.org/drawingml/2006/main" xmlns:r="http://schemas.openxmlformats.org/officeDocument/2006/relationships" xmlns:p="http://schemas.openxmlformats.org/presentationml/2006/main">
  <p:tag name="NAME" val="CustomIcon"/>
</p:tagLst>
</file>

<file path=ppt/tags/tag1138.xml><?xml version="1.0" encoding="utf-8"?>
<p:tagLst xmlns:a="http://schemas.openxmlformats.org/drawingml/2006/main" xmlns:r="http://schemas.openxmlformats.org/officeDocument/2006/relationships" xmlns:p="http://schemas.openxmlformats.org/presentationml/2006/main">
  <p:tag name="NAME" val="CustomIcon"/>
</p:tagLst>
</file>

<file path=ppt/tags/tag113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72DAL1BebUJPuY8L93BLg"/>
</p:tagLst>
</file>

<file path=ppt/tags/tag114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1.xml><?xml version="1.0" encoding="utf-8"?>
<p:tagLst xmlns:a="http://schemas.openxmlformats.org/drawingml/2006/main" xmlns:r="http://schemas.openxmlformats.org/officeDocument/2006/relationships" xmlns:p="http://schemas.openxmlformats.org/presentationml/2006/main">
  <p:tag name="NAME" val="CustomIcon"/>
</p:tagLst>
</file>

<file path=ppt/tags/tag1142.xml><?xml version="1.0" encoding="utf-8"?>
<p:tagLst xmlns:a="http://schemas.openxmlformats.org/drawingml/2006/main" xmlns:r="http://schemas.openxmlformats.org/officeDocument/2006/relationships" xmlns:p="http://schemas.openxmlformats.org/presentationml/2006/main">
  <p:tag name="NAME" val="CustomIcon"/>
</p:tagLst>
</file>

<file path=ppt/tags/tag114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5.xml><?xml version="1.0" encoding="utf-8"?>
<p:tagLst xmlns:a="http://schemas.openxmlformats.org/drawingml/2006/main" xmlns:r="http://schemas.openxmlformats.org/officeDocument/2006/relationships" xmlns:p="http://schemas.openxmlformats.org/presentationml/2006/main">
  <p:tag name="NAME" val="CustomIcon"/>
</p:tagLst>
</file>

<file path=ppt/tags/tag1146.xml><?xml version="1.0" encoding="utf-8"?>
<p:tagLst xmlns:a="http://schemas.openxmlformats.org/drawingml/2006/main" xmlns:r="http://schemas.openxmlformats.org/officeDocument/2006/relationships" xmlns:p="http://schemas.openxmlformats.org/presentationml/2006/main">
  <p:tag name="NAME" val="CustomIcon"/>
</p:tagLst>
</file>

<file path=ppt/tags/tag114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9.xml><?xml version="1.0" encoding="utf-8"?>
<p:tagLst xmlns:a="http://schemas.openxmlformats.org/drawingml/2006/main" xmlns:r="http://schemas.openxmlformats.org/officeDocument/2006/relationships" xmlns:p="http://schemas.openxmlformats.org/presentationml/2006/main">
  <p:tag name="NAME" val="CustomIcon"/>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y36lI_XJtOlDtDn6i5_Lg"/>
</p:tagLst>
</file>

<file path=ppt/tags/tag1150.xml><?xml version="1.0" encoding="utf-8"?>
<p:tagLst xmlns:a="http://schemas.openxmlformats.org/drawingml/2006/main" xmlns:r="http://schemas.openxmlformats.org/officeDocument/2006/relationships" xmlns:p="http://schemas.openxmlformats.org/presentationml/2006/main">
  <p:tag name="NAME" val="CustomIcon"/>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jK9KFPIOqdFYptD6SN_fpw"/>
</p:tagLst>
</file>

<file path=ppt/tags/tag1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5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56.xml><?xml version="1.0" encoding="utf-8"?>
<p:tagLst xmlns:a="http://schemas.openxmlformats.org/drawingml/2006/main" xmlns:r="http://schemas.openxmlformats.org/officeDocument/2006/relationships" xmlns:p="http://schemas.openxmlformats.org/presentationml/2006/main">
  <p:tag name="NAME" val="CustomIcon"/>
</p:tagLst>
</file>

<file path=ppt/tags/tag1157.xml><?xml version="1.0" encoding="utf-8"?>
<p:tagLst xmlns:a="http://schemas.openxmlformats.org/drawingml/2006/main" xmlns:r="http://schemas.openxmlformats.org/officeDocument/2006/relationships" xmlns:p="http://schemas.openxmlformats.org/presentationml/2006/main">
  <p:tag name="NAME" val="CustomIcon"/>
</p:tagLst>
</file>

<file path=ppt/tags/tag1158.xml><?xml version="1.0" encoding="utf-8"?>
<p:tagLst xmlns:a="http://schemas.openxmlformats.org/drawingml/2006/main" xmlns:r="http://schemas.openxmlformats.org/officeDocument/2006/relationships" xmlns:p="http://schemas.openxmlformats.org/presentationml/2006/main">
  <p:tag name="NAME" val="CustomIcon"/>
</p:tagLst>
</file>

<file path=ppt/tags/tag1159.xml><?xml version="1.0" encoding="utf-8"?>
<p:tagLst xmlns:a="http://schemas.openxmlformats.org/drawingml/2006/main" xmlns:r="http://schemas.openxmlformats.org/officeDocument/2006/relationships" xmlns:p="http://schemas.openxmlformats.org/presentationml/2006/main">
  <p:tag name="NAME" val="CustomIcon"/>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ICQ66OnNskrfqX64CZg9Q"/>
</p:tagLst>
</file>

<file path=ppt/tags/tag1160.xml><?xml version="1.0" encoding="utf-8"?>
<p:tagLst xmlns:a="http://schemas.openxmlformats.org/drawingml/2006/main" xmlns:r="http://schemas.openxmlformats.org/officeDocument/2006/relationships" xmlns:p="http://schemas.openxmlformats.org/presentationml/2006/main">
  <p:tag name="NAME" val="CustomIcon"/>
</p:tagLst>
</file>

<file path=ppt/tags/tag1161.xml><?xml version="1.0" encoding="utf-8"?>
<p:tagLst xmlns:a="http://schemas.openxmlformats.org/drawingml/2006/main" xmlns:r="http://schemas.openxmlformats.org/officeDocument/2006/relationships" xmlns:p="http://schemas.openxmlformats.org/presentationml/2006/main">
  <p:tag name="NAME" val="CustomIcon"/>
</p:tagLst>
</file>

<file path=ppt/tags/tag1162.xml><?xml version="1.0" encoding="utf-8"?>
<p:tagLst xmlns:a="http://schemas.openxmlformats.org/drawingml/2006/main" xmlns:r="http://schemas.openxmlformats.org/officeDocument/2006/relationships" xmlns:p="http://schemas.openxmlformats.org/presentationml/2006/main">
  <p:tag name="NAME" val="CustomIcon"/>
</p:tagLst>
</file>

<file path=ppt/tags/tag1163.xml><?xml version="1.0" encoding="utf-8"?>
<p:tagLst xmlns:a="http://schemas.openxmlformats.org/drawingml/2006/main" xmlns:r="http://schemas.openxmlformats.org/officeDocument/2006/relationships" xmlns:p="http://schemas.openxmlformats.org/presentationml/2006/main">
  <p:tag name="NAME" val="CustomIcon"/>
</p:tagLst>
</file>

<file path=ppt/tags/tag1164.xml><?xml version="1.0" encoding="utf-8"?>
<p:tagLst xmlns:a="http://schemas.openxmlformats.org/drawingml/2006/main" xmlns:r="http://schemas.openxmlformats.org/officeDocument/2006/relationships" xmlns:p="http://schemas.openxmlformats.org/presentationml/2006/main">
  <p:tag name="NAME" val="CustomIcon"/>
</p:tagLst>
</file>

<file path=ppt/tags/tag1165.xml><?xml version="1.0" encoding="utf-8"?>
<p:tagLst xmlns:a="http://schemas.openxmlformats.org/drawingml/2006/main" xmlns:r="http://schemas.openxmlformats.org/officeDocument/2006/relationships" xmlns:p="http://schemas.openxmlformats.org/presentationml/2006/main">
  <p:tag name="NAME" val="CustomIcon"/>
</p:tagLst>
</file>

<file path=ppt/tags/tag1166.xml><?xml version="1.0" encoding="utf-8"?>
<p:tagLst xmlns:a="http://schemas.openxmlformats.org/drawingml/2006/main" xmlns:r="http://schemas.openxmlformats.org/officeDocument/2006/relationships" xmlns:p="http://schemas.openxmlformats.org/presentationml/2006/main">
  <p:tag name="NAME" val="CustomIcon"/>
</p:tagLst>
</file>

<file path=ppt/tags/tag1167.xml><?xml version="1.0" encoding="utf-8"?>
<p:tagLst xmlns:a="http://schemas.openxmlformats.org/drawingml/2006/main" xmlns:r="http://schemas.openxmlformats.org/officeDocument/2006/relationships" xmlns:p="http://schemas.openxmlformats.org/presentationml/2006/main">
  <p:tag name="NAME" val="CustomIcon"/>
</p:tagLst>
</file>

<file path=ppt/tags/tag1168.xml><?xml version="1.0" encoding="utf-8"?>
<p:tagLst xmlns:a="http://schemas.openxmlformats.org/drawingml/2006/main" xmlns:r="http://schemas.openxmlformats.org/officeDocument/2006/relationships" xmlns:p="http://schemas.openxmlformats.org/presentationml/2006/main">
  <p:tag name="NAME" val="CustomIcon"/>
</p:tagLst>
</file>

<file path=ppt/tags/tag1169.xml><?xml version="1.0" encoding="utf-8"?>
<p:tagLst xmlns:a="http://schemas.openxmlformats.org/drawingml/2006/main" xmlns:r="http://schemas.openxmlformats.org/officeDocument/2006/relationships" xmlns:p="http://schemas.openxmlformats.org/presentationml/2006/main">
  <p:tag name="NAME" val="CustomIcon"/>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H0hXXMJzAJY2cHxQordgQ"/>
</p:tagLst>
</file>

<file path=ppt/tags/tag1170.xml><?xml version="1.0" encoding="utf-8"?>
<p:tagLst xmlns:a="http://schemas.openxmlformats.org/drawingml/2006/main" xmlns:r="http://schemas.openxmlformats.org/officeDocument/2006/relationships" xmlns:p="http://schemas.openxmlformats.org/presentationml/2006/main">
  <p:tag name="NAME" val="CustomIcon"/>
</p:tagLst>
</file>

<file path=ppt/tags/tag1171.xml><?xml version="1.0" encoding="utf-8"?>
<p:tagLst xmlns:a="http://schemas.openxmlformats.org/drawingml/2006/main" xmlns:r="http://schemas.openxmlformats.org/officeDocument/2006/relationships" xmlns:p="http://schemas.openxmlformats.org/presentationml/2006/main">
  <p:tag name="NAME" val="CustomIcon"/>
</p:tagLst>
</file>

<file path=ppt/tags/tag117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7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7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AR.fgBonpuB2SU0VaUKhQ"/>
</p:tagLst>
</file>

<file path=ppt/tags/tag118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CsR5oX69JcHvNk9mGsfxw"/>
</p:tagLst>
</file>

<file path=ppt/tags/tag119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9.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00.xml><?xml version="1.0" encoding="utf-8"?>
<p:tagLst xmlns:a="http://schemas.openxmlformats.org/drawingml/2006/main" xmlns:r="http://schemas.openxmlformats.org/officeDocument/2006/relationships" xmlns:p="http://schemas.openxmlformats.org/presentationml/2006/main">
  <p:tag name="NAME" val="CustomIcon"/>
</p:tagLst>
</file>

<file path=ppt/tags/tag1201.xml><?xml version="1.0" encoding="utf-8"?>
<p:tagLst xmlns:a="http://schemas.openxmlformats.org/drawingml/2006/main" xmlns:r="http://schemas.openxmlformats.org/officeDocument/2006/relationships" xmlns:p="http://schemas.openxmlformats.org/presentationml/2006/main">
  <p:tag name="NAME" val="CustomIcon"/>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jK9KFPIOqdFYptD6SN_fpw"/>
</p:tagLst>
</file>

<file path=ppt/tags/tag1204.xml><?xml version="1.0" encoding="utf-8"?>
<p:tagLst xmlns:a="http://schemas.openxmlformats.org/drawingml/2006/main" xmlns:r="http://schemas.openxmlformats.org/officeDocument/2006/relationships" xmlns:p="http://schemas.openxmlformats.org/presentationml/2006/main">
  <p:tag name="NAME" val="CustomIcon"/>
</p:tagLst>
</file>

<file path=ppt/tags/tag1205.xml><?xml version="1.0" encoding="utf-8"?>
<p:tagLst xmlns:a="http://schemas.openxmlformats.org/drawingml/2006/main" xmlns:r="http://schemas.openxmlformats.org/officeDocument/2006/relationships" xmlns:p="http://schemas.openxmlformats.org/presentationml/2006/main">
  <p:tag name="NAME" val="CustomIcon"/>
</p:tagLst>
</file>

<file path=ppt/tags/tag1206.xml><?xml version="1.0" encoding="utf-8"?>
<p:tagLst xmlns:a="http://schemas.openxmlformats.org/drawingml/2006/main" xmlns:r="http://schemas.openxmlformats.org/officeDocument/2006/relationships" xmlns:p="http://schemas.openxmlformats.org/presentationml/2006/main">
  <p:tag name="NAME" val="CustomIcon"/>
</p:tagLst>
</file>

<file path=ppt/tags/tag1207.xml><?xml version="1.0" encoding="utf-8"?>
<p:tagLst xmlns:a="http://schemas.openxmlformats.org/drawingml/2006/main" xmlns:r="http://schemas.openxmlformats.org/officeDocument/2006/relationships" xmlns:p="http://schemas.openxmlformats.org/presentationml/2006/main">
  <p:tag name="NAME" val="CustomIcon"/>
</p:tagLst>
</file>

<file path=ppt/tags/tag1208.xml><?xml version="1.0" encoding="utf-8"?>
<p:tagLst xmlns:a="http://schemas.openxmlformats.org/drawingml/2006/main" xmlns:r="http://schemas.openxmlformats.org/officeDocument/2006/relationships" xmlns:p="http://schemas.openxmlformats.org/presentationml/2006/main">
  <p:tag name="NAME" val="CustomIcon"/>
</p:tagLst>
</file>

<file path=ppt/tags/tag1209.xml><?xml version="1.0" encoding="utf-8"?>
<p:tagLst xmlns:a="http://schemas.openxmlformats.org/drawingml/2006/main" xmlns:r="http://schemas.openxmlformats.org/officeDocument/2006/relationships" xmlns:p="http://schemas.openxmlformats.org/presentationml/2006/main">
  <p:tag name="NAME" val="CustomIcon"/>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210.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21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1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CPGpYZmqaqtj9XJgGJU5w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bjAVJ00p91hYUjtQ34hto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uZ2aZD_NVgW8cpas9HAt3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UW.WRd._Bj_RuPGBCAizp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nZJ1M40nfRSeyZ17lDNO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IxzrgcfiWN7rPKLwlmf.B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yRJYwiStH48pZz3O1iEGG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SX_4gUXwLZYviUr_qD8xW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AsQNlHXJdtQk1zlc2YyBqA"/>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Y_los7nK81Lj326NPmMN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awB08B7Qji_TOMxyGh5rD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8963covqI6cON.rnUfPVJ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uMCRUwBoHbtUNVx1OVf9K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o5HtPR1BEtiGtCnsGzMD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002PMg6o1fxQsrGJPtq8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3p6Vay2xKxer.wNyPb7e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efhJ6UZRGMtufJtcv463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5Rd2E9wQ2fqkw7SCcu08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rP2REZUPqagyKBi3frH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Ruaf8U4ap6tZhpa6CsE0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_C8bsLFxsygUjvELftVN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vzrzAif5bxcpejuVgaPC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MH6sL_4gxUrrg3NYhmvfc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lb04Ih40YewxfNDRpu7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bm_SbPldKBNhFCbs7d1jy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KWHQfn2fBmR6PXsJQOei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K6QXaUfOBpHjIOnh9octq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vb4CpQYEGNAT3ebMgHcw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NMsqVcI66WmxqqYvpe1S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kkQsoBmdnEYtlmRMz7PMT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ZBeGTSQv8CJtVtc0iD52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NV_9cYsNsljH5QoD3qRV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5QEfcG.AmG7PJ2lAJrpb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66YtY22Av2s5.8LBES8OF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gHuu67plx2uLONz5HYeY7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10MjUIFX3cw9Oyrkkau0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6nEwyP4tH1bkiVddw7Hql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U6AOEKP3niAS98J6j5S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91Oe6r0SVJo0w.Odq33i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CSvSSS9DUFHdHUxeIhm4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FlIgJBoSloJCjMTdlkQf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y2hYs5x9Su1UC5BlTFWT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CZReK6uL16BPWKA41kGF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F62jaLIXgsDlBgh2Epboh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U4SyS07naH.hVVORwm7Rf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OKS4.HPcZMqbLdWn1ZI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sxqFrqyd.Cu5ZXX8iXRN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1vSsjJdWotWIlkWbRaRgi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F7qkXXOrQ0xB_UvmhGbO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XFkZgIUqxR5iEJSqHjYNz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NC.w1.fS5ctB3Q8RGqmq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BvHNupMxVV33Iay6JrC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Pu1MYdM8i1IzbAqZOZd0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t_lb0T4vnhFjml_Ejmlw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98ZWrmrb_XVmKGKbSS0PA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nsMICJmoRh8wxJUWuduB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FcEji8BJ3Kjbfl7CAwbX.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GtbiplBL7qNpuXDjh0_.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RIECjX7lSDkYO4O4UqM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tytNZgEAWMSSXBP3OKj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d_o6gl_jGBKGvelRgumw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6fz3njV.XbLlwtr7SMwF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F1hW6Xm9pWhLh1Z5Uv4f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ruqnkDQxnFMINtnJEagYP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7OCIPxpMD4kALZpED4mD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ccCgHwe6AOG3FTGExIliu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u8S2fJBNY3v9SJTm1Vg_3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saFeN8MwQ21qub7JrPBy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noBsANsQpifGIanszzrY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ONJkOV9OeopB_Xk9pQMz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UZ9fHdXQkR.ruquPhTjtK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8z4KLn5vwx3hVYQbOpjwX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40N71B1gs._tdTPIOv5NG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QzZLuvb4baJEFc5MFx3E3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GBv2obckx13tlupFx82G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H.X_itWjsd89ihxieyCE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U.a09B4x2DdsnzgnwJne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ocQE3f4nLS0dSpYkrVdg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V53yJjE9ivchfdnMdnnU4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b7iERntVcJN4Y1zH6mNts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4rHDR3QN8MmucGTSsYxN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3EN4iymXeiomiKGiB7NKR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_QXs_DOBIYBjvbgepeZj6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wAwlH5POACusTJMrkINF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utyqvOeSEEDx4e6im5XjG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IvokGgfy_kWclbDsd.rFN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alfvRnYnqON2xwEHv6hB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R0lgsn64EspISuHlaP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M5U5fpZj16d3F68ROETD1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5hWKFFf0IXLZaKrkJU.rN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ShFYlklrIf03p_figUGe0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WoOyQm50zfnKgvEb6CPDz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P.zsRlzEVbA61HRePIuX_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92U1HKoNFZVmGMUedZY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vmXa9i815dYoJ.fdwvN1_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RA4Buo6cMXpKbM44qJXi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7tFLYVCmfMpdYW9oklj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cWtGfwR18nxqKLk2Z9O.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jvEkjxPUcZNHhSlsdP8g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6z1RTMV0GjcbVxpU0uQC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XfK.vq7kUhWcdgrO7tvEJ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TGzwO890oQ2.h3dNe4kkCA"/>
</p:tagLst>
</file>

<file path=ppt/tags/tag294.xml><?xml version="1.0" encoding="utf-8"?>
<p:tagLst xmlns:a="http://schemas.openxmlformats.org/drawingml/2006/main" xmlns:r="http://schemas.openxmlformats.org/officeDocument/2006/relationships" xmlns:p="http://schemas.openxmlformats.org/presentationml/2006/main">
  <p:tag name="NAME" val="4. Footno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UFyhY_NQ7S7y8GI_.Y_9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69PeLarOShuAWe7LpW1Zg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wNxrwQ2GTg2OPh2qufz1K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dw20HQUQxGFICL.qibC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cccuU7WpuBNMjSqOZlo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sQmanCQ4G2Fbb5oHuOr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eAYrjHSdRkajr1s84p7qs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aoVXCBLeRB2HAUYo3Gkb0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1mi5yknQTCX.m2owh0d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xT_p6emSQj65hDIWe9ov7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QeUdKbzKQMmI9dvccen59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QiEB6OpQk69q5CtV2yfz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fexw0zoVQXSzIbzaqnKp7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_la0RIp5SPuT6TgE8QZ5v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8VrBrKg3RP.HJ5tErFL5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s0OQScfRf2IdQ4S0jSDC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byyXx.AR5KLAl7Va3Apg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MrSNCvi7SsSLtIoU9bieG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lbjsDVh6S.OwwVP.o6fqO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TqXw.97R.qebU31ewosA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q5FlENjBR2Kfu.8iaszdR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DLT90f_eTWm9eKzCRONAi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CkiMGKmvRsu8m_VWIhUKb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pGZQfNdicKRcgd.5y_9Z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ap90kKj9I0c3uG.CYYUNy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r_YkTctslMnetu_SQEXp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xt_SmhHyWtj23GxoUAc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TATbODuwtIuRCOqk3CNF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SZYRv3.Y3SKwUhYd4Dhn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_cLnrHb4dYLJ0Uxn5GIG2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tzL83BsG1A7F1JLkl42QQ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9Nji2Xhl.FctPnqKG5lM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bThRgrEmgrnAOAxjcjYcf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6rV.OV4ZMnL_AeWyV1o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_ZN_umKQoUOoGuPoJ01Gv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SxuxBE8QtFUmnCdusLqGD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z1Z76cRHCNx63ZaHK3N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kQ1401rXtnvZrF7WHQDtN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wX9N39Wu7flYRUxkYrj58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pvTgcSiVX4rCVzLXRbh0J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rfqXP.Exc.5K0QkbM7EL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czx84fIUHjuqMM_KY.OGd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iP8S.vDBR4R9OnrRdIhhD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b6rXRUduf42GhtdVaxs6q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r7Bf2Fi0Gr30agwjUais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rerT_Ca_kpAEAezfXum4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UnIRTd3L_mWqxeFUh.4o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yA3h85Vj9_tPWgyrBT96_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0LHOoxUl56.3kCFmWG.Vh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9uOEnQMQbUDagH5nYTD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MjrPttXhu0ZxkGScWi6BE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3PEJCR4hEV.Lq6fqeuQir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y6Gngr.9LdejQWExQMTZ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Sg9dXjDgekZdOrnDNNKcu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k28Lg9YGiUAUtsgsvgYD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PwhmNoGR6kmajqgwdA7h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seFXHD0wqcZ9aFkQxSV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8gXg1XgzlG1j5VOTGw7LP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74iVDehsiU9do1vYBZy8m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cYkN7mtZ3m6Hgrq48HgE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oS6lLMY7EF8wkVCPTakHu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6z.w9R8691ZZjwItPMdk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a7141GQlWPtPnGQZFYj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U_gGcLiPQSFY_eI9yTSJ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KtTi5xQKSkiiDJVCQiNx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3V0XZWXnu0x1rCGguhmTD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l9NkRFWkyuMa34f7vjz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9K6Jkyg.zdIUW.z3SEtin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KafeNeuIrUgBMKG8ZdRle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V6e06Ckyb6zLd6BxLnlM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93BHC4e8UZS7aOhp7guD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jQio2PSWjQFYtzgJG7XS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xggv6Kq6F_PNYkafLHbt4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hFZ0uBBz4nJTN1lJVw.G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0NXeZww1fEzHPA.I4LxM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MVErs4_uUDR8Y6CpqPJWA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YnIRXObd2WRKxKYgHi4i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FoGyx8Ewxu5o_xYzYMlRW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EilkZt16T66y20TzNUIM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MpOKIki8Uwvev43At8cP6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oeF_pivAT7tbuoqLJbC3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2sVHeXTdpnu7ZW2eS64b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pdXb90ReWJIs7KzcHngcc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YR9VDjV3TozV0JiIlPGK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crFuXrXoSgZzxDqUpjp6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C8wX9.a89CBZ9Ca7GapI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uA3fVI_1aDj925fVGW3i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02xGpcgrz3DK8TwqEWS1I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d1Qh9UbjrYaoEjLUehHO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bijPnc0IUfREdIA6Q2PZ9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MwHwS4U8_y3xYBrwyZc0d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2Kqk4yDDI8MRTX_kqssWz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jM7aXAEsE9VMZzd_kPTh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FMLl26Xi6Tdpi3DIYFL9N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0nJ2EQwKNbJxOpafabRe9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FgPmh_W.99DdlNf4Su0m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iCw9oNn7Abg.7ENeT8di9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Pf2y6iRZTfMABl31brJmA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Rv1PgnuSOt3_ft6IdvEhg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0SmJgLb.pWj2CHdJbjBh5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LG4lexM4hVA0kFn_XMNa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t7H07rKsa9UlTgQj5jL0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v1I3arw93y3uDNxgncII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pcj4NKMRhQcjHD8ekADoA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YGIpuJQInzXCzcJ6imGz7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ZJbbWjrAm4018OcH6M9m6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ytqq90dT_cqK.ID6rkhlS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lGBO3Nu6OxEkOx5Brbg6.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RDOLlpb2G7vSjqj32OHtY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nhPnUU0zcxq2lXxKExYiV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XvnRw5OeXXeH60hOSyCe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sS6RNfV7XhQYKbZzY69mP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xoiASnw.H6RFN2tS6pwV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r6RAA4zkWh9wyE44XtUZI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jarF6oU5Yu_mUN8BdB3Sv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OkKN_iFdmNbHx8ZITh5b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vXduML0vqB2wz16O7yBYZ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0ig5bnvL5bbgn0hAPLVZR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_KiEsv6fDvfVwt6Qzqzuu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XLs_YioG34R1Gl8trIJo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ksAHZkE81.rnSlTkx8dj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y6pvJ_.yudHN1MpRdkT_9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rH9UFESiODcQ6K4iIN1lg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jRfxmjxOgciVBKnCmLjin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b9g1ihM3KI87PBkUpkCIy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b3gBFERSmhnLsYJyb0oC_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9aHEZCBYn5rHxnYlvXm9Z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DmtDy2QQFjZkaazhY.gxG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WR_1INOOtDbFdetjG3fvY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UHC.PQpmPZ7w2cKX6ipp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_g8OVk8s2_PWpxOdQPnjH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JuSbwBcwU0uV7C6t6HOB0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O8KljjQr6kXqilmpM8whb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uoVN3HLOFbqzBzQia8S4i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lwCoReyAEHkoFPe6341h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zqhXVAZaqHUH0rRJ8janY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bADEP5F0RSC9bAzh5ctjM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izSaCW4L1OJPLGaAS5aPJ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6mZeN7dJiNKQhlVyWjiq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8LpG70KoldiHm4Kpj1NU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AoUCgVw3OcqZPcABauRg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0Y_FOhbxHX34gV4lM_Qyb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IDrdtu..3SCTgYrhCCEL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pgSrE.mquLTuaBw2yEwKz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wo4XQ2ISQ50xfk4.KluU7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eci0fnjSIb9z8Npokdl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qn52PDI.I9MW66z6oS0HB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K7yonS075ze9FE7DbrSN3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jqQCzFImF6A_TadQdFE7l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ChNxobkmC33fz0nxl6mqp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ZvriqIYgFVC6aaFjk8JgT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VICfQ.QeI0C1bZJAvshT9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mL.7aea1dICWLizj.Id2q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WuUs720rx9varEfTvdk0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EjBmrb7yPfrzxps88c72D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NbO58.HOzP35ubIOjOBZM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mOIo168PlLwjK2kAr_RDC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W1K0PfRUNUuFay8bZuZXF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klfyJsVsUSfOdjXoUdPqf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KeowtGvYbS9MQFpHnmjLm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QU0rMBWgAreyMEw_uHx.k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9EmnauZ16kVEYmgLqgoa_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O51xUKIqSvTqyBGtTocBQ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zIjGvbVYEGOC_xR0BRhk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Ofo1Vp4ONsAPXduOn.X6b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JTwnUF5G1zgKPpsxQhiDG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JMJHAAsKEpg9098v2gaB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TyQZLkXTZd1vuMJdVNzN9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RiGe5yZjrq89ibuaIodRX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BoCo5Ec_J.Ln94ZKxFXfO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mJz2cWTUEG6bSmSu3v_wd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ew7DgVEIUkd13ADo3Vgyn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xBIdleLrGohuCIqBLOJ.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jhC2VhgxvkG9R28IRDrm6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EZchvVYXnrDfJWfb_VIPr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T8VWUezvQvQ0X5En_s170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91bHm4el9vjWfL5s2Sgh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K6Kb5HRiqz3nIvaiLB2Xu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xG0rhBikXGSa_SExgybzn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kbxw3mYZwZWwPDLZpWaRF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pxBG6PV6Bx_FPy5cttKh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WcPx_UoBUVVQ65t6L3r97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Ojb3C8w2tlzYhVw5novrO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KOS8J3hm_cH5DdgBRQvsX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qvBpMOh4kMEfx2OeX.5R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TfkBCKiuXPvh664U4Zkmc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iZ3S9AGqzOarf.c3_WjH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7mOSdsr_8PPtx.MAHc6CS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am_bwIb2Y2zogGDorifB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X8GXqSaoWyWXWJwyPOvwW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3sHiu3M2cP8VgnIzeI49I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lLDneh.NVbIoenu7A_3l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ZH89TVpO94BapGVnLMC9s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joeRsIz4x3hYmg.eqcskH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rJjavFnVhsRvP2FNDKAO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GuA31HT43xZa7BfCVKUuM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5k5ia9ARvZpIin9Dcma6N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0tke3lVS7HNp_lKPSqE1.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BMocRe5Omn_.Ik.elrQ5x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oiwzaPrNMGKVrM.KwbA8z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YTWzu3lBmp8lclx95F6wu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8hLKBzTqnXMHdRBWJuwSH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Lk_vEOx4HWbJnQ_aJmV12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Rnbbuv4_OD4kEHpjQSeVc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G9OOXKKw1Zrwgy5rog_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jAFHgfVLrbsYD8rfEAGu2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iUgEgFee8gi_VaaVVXhP7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jZ5PU8ki6TUXywPksV8bu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KaknZVZz6.EJ4RVde60ON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z87bJwLgw1isp71SolPAi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dPROz7vmOrUUkZgMwQFf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ud4RakCEZQTSJPsTEjStR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c.l9zbUArQaQINC4u25F_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DMsaXlBJFuI7f2frXJdxb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4HM93LtRcoE.S3RuyM5r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3GeDuGVDl.i..FyJ_.qoW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GC4RheRjUj2u63mOZ6J4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BMDoEUzA9Wip5r4_fflfj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Jv30rYMKiYmBE04CErJY0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0kmTHnejWyRpTuhSuz9wU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_76BMbphfxC2ONqiVRwv7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TtqC9dewk9aNVPs1iJ60R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0KgK7qesndxWE.wtmeRHq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mhY6IjtXUp5yihcTU5x6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OPF0HOeZ589bLcwVG0cl.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DfJlOR3aKEus.wxMRzL7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LGlIE2ZyZqxN.Wl0OIXQ3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cIT8FlkfU3uG1pW6iNX2R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2wQh0KLwGLa2enSD7KZht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abVwClfDbd2DhUMBfIyhc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jXOJ1M.gcsmdM1_xD0QIM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SDyOPREc63FLjtfT9u1JM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Cteo4bEDPWq3oqWOoP94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U6FlJwDGTvG9XbKa4czM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Fr4ACrY8TLqLNYDYDB6B4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lNvA8bz5QwqgIq7Uow4YY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N5pQS8HeZ2wdDIiFMpgrA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OHFt_kWm3f2iiMI6z9UnK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NuOMFUhRV0dtR7NB3Am3v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x8P9F_Jkx03rWKlVGeYZA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4E2FPj1vS0OQZw6NU14Pp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k9L9HhkOSIqbcs0MzRqGq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U.0sQ25YqQ9LBWIHilS.g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Q5EmzhGYcy5rB_dDL8S5j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oy8XKNTkOssON3g63EUsB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FrwtvHe0x6GBvSc1VYV7r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YP_OCsqVL.A2wApSZe5_z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xIlXMh3mR3tshiXZXRgB2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4t3D3pQFAZc5_Ns_vJITf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j63ejBR7N.yiVV7jOooma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y6PyN5BE.DNxgi6L.RHC1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AlTk23VmXEA_H6Y.DdEX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JW2mnRlXdzxj.YGLkAjE3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41clAA.BiZpxhbs0J4suY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NTp68G6KsmnDBzCw4b1b6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I18SWlRu_mGwoI.w7f8Hq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pfBXUkBr7tN3X5horcxiY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ARkHOz0RMoF8G_mmf6NVW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qb32jNV584mg9Dvu7cMm.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gx6EYJ5OXoDQmk7GA5umE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lJjrzhUDOTuyMVrV9DXF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4.CbPdr6CBCiby2PxwLqn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j7VeOMkfMXJNe9Ki5teCZ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Lwm4pd7I4BAVSYgmSrTYN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TBmOkPDWXaP36oDRC6Uaa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0MTDegDWTp6bmXkmZRlnf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aOyChbOH0dqd1z6GUBcpV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xanvBPQD3FoQYwv0Y49l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WHCO0Hj3oI4iIifQZFXy6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NUPMo16LoWqJrvkKZIatR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NPaioxF.TJpsTYyKcvaLl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9dS44KVCSs6Sfe1ZZwFk8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Rra4nshp6B2wwP55gpf.G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PYipBCcWP_FXzwRBIL_Sw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qb48NYFwRHQySxOq7JCfW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7CO5FPhyT0.kouxYs4Fzg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w0Oad2Rb4.Zdx4fysTMcz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f0g8KVtXrPJ2xF2zasmRO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LtAngCmJ_4a577aFl_onH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D21QR.KgcaMZn_VX_3s_Q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0qF33BWemh6IX6Qr3MxJc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MuTyQC_oenCJQA9ek0Ye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RPmaD3LJ0B6qLYw2N71Sw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6U8CSujM7QWyyeQXcpnhO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VdQWM2E8S.CbWtJ9BieLi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lnmsR8_USnKrKQOlijxJ9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SnQD8AvMRhqc2bNosHUKm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PVyUe4ejRGKtAIXMz7GuX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mRfMjdSbSa6kCgYgdrgG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0hdHrdUKS62u7q9ZwAjIc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wc0ldJ9YCkPMWQN.JHk8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9PyAvnuBXDQBosBf7731K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LyaDHglR5pa9ea09nTqQZ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YMZ01dzV3icNGiHLcoN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BlP0oKYvJSMxDglN.OwIc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19.7Kkg4uXyA7sgbtzgHD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zoev4bmmUBe9gY0CPkb..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A9VeutJkvpRAg3y7IbVjA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Tv9ClPfOMTslfjseATTa2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rWiq6S18fm2UHxIWHTdAO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jBrZMVcz0TgNuoe3BpsXY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ssyfFQoO4.xhXywADyJET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D6ZrIMqSs6RxiHo2sxC4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0gvk0Xn6S3iIbvWTpdHe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8v2HbDfDQJGNyHSDpYNUt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iQLg3qNbTIK6_4mJbNNPV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zcoHSAtMSFLWjCCRHhSy2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woM5YKS4NJwGVA1.LcXkx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J5jeIhZtfHyXwGfrH2jzu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xHdUKFp66KwG4pu557ycb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2Dl5DGOnzOONeJ1WUSIca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y.NJ_fZiQh27gS8n3ztE6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VuHnOZutRK61UfxWSwkVU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wDj6xEsEPLOLoVcQJ8Y8p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eWwX7atw_sHj2BjfuaU7S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fevYJT8g2O0rG_dtB_WnW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yUPddhyjSK.7.xgjo7eju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P68NhHdhDlHctgCKcLARx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F4uVkqqsGO4Znf7CSjplS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Rstnc4ilCKcfaXslHA6B3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a9mkzwsdSXS6GHVAbn8G_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mNS_SND8M6xVR7bWYrLNz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X8TkEHw8J8WMuy_EWAIDq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n3tudwgJQzBeBFswPz81V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SB5zH6c2plKa9Zi7qf_0K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Iu3ZYAiyo6zM0.IyFK.yF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0BvydqCWlNRfnYGh7HtCz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CQBJSgneof9fJx.eG5ygd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Eqfp2Pn5T6aIrdT_.hZ.T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Y.a2EQTRglo1gXTVNHDcv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N4cFjeYLt.Dknwz0xLlA0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rqv2n2phqNZ0wA85a5N9Y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SoM.GHnTeKKbG4ee9jqCS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ZKYA9AYtLdJ_mQ_kBkJW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ucT.bFGTasAdwzTK_I7de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OflhXuRB9j8MmT2FK107u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ru.PKsLERSQvbZtUxRtaa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9h_BNqakz.pxUrmPodN2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SwYz70.KS8cKDZMe1LjwJ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b0TkC3Lgc6jek.DOMiGrg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IjaQgxlaIbQmEsTJk.NO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NLLI7OqIaiXtV91lcJSp8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bdbP9SAhoL4Tow9bTJ.HG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S7TNbWm2XGiAmWkWOhCPF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OI6LdJHFKByggyhvmM9K9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uVN.XdpqrKF4HwtaPoo_L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z6MzjS7Sav0SFBGPRvoM9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bfpGGeI0XJPHxn.15uGy0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AXsWr1GKxPOYWNlglDXq1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nAJJPz0pGkPcq8N2_GqPB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Dw8ymgum5uI3JKQHoIpu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ki8yk4Ft7Ac3tmQOtOyP7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9yXbvXHncrTIOqdyZWLRu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xCfkgxE370qUCkrZt2177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wy.Yl7L.PgQw8WEfA.wvO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VCWN2gW0iJXfhw0VdP5Xi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ecZty4JVMI7U8jBF2eRQT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cDJjbwvIoZz7a26YQJHbo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YMUrR4KSTsqSTq_SsyCuz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x2sEt10qdpWv9XmydRnzq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Oi5JoN5J34og.5ID8Xkq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T_B.7.Q2TylL2sjExeq.v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vce.WzSSMP.OOo3i49_Yr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wm6hqwQttsEpxYhnPtY0z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RSi9hJeaQQp71LgK6uFMK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DvyYG9hdZEqHtUz4hrpDI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EGLjSkVth4_uWo9jqYuGq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KIhTSzRugDZDSbH5aG9.W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ZX0wsmhTl_hg..0yc_ttA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neYQl9V0Wf5xx8GvL743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0ZXnYPAEQ2fA2XM4x8xvm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rHovIxWP3IYNk2AKvtsOk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4JkNXZpIOgXC4Bb83FVCl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o5BgXiijs9lEfgGLkBwG5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P2BeGioAIkUVsNkdipb0_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LJO2qXQvdAGisvdHit8pO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RenGIfJkGW2bC6P7NyycH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zuV6qsB0tJ6z6XDkwevf6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oN5F1aNX_08NC4qyu9Lrd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0Zg9mQgF.OE6bG6C8tqx_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ixt3tk1.f2sgEck27Iay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qn1L15.lC_BPNB8NXxcs2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ng8zXaI.5GtfdPoyJdOfZ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qnHpkfnTnU8QXPkeTPZkx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4QCKSpT2KYcqv8aDHA_99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xwUFrIxWJArOSfeIOyob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4kbcmVwJffcdA421lK7RF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gVN3Owsf5Q8Gt9XY6OFlU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yAdydMybg.3ATJpEURMbs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dd.QlQ_57PmZWREJV3kd6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_5_xO7Hlb5rOELw.lkj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ONk99OB5ejukaMK78zAuD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3STHNm0hivwlOsK2O.Lny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6DkuFmiXeMytbUfK3lv4_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5CPMdTWYvgfGdaX9VF0u3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SW9q1IiGdLEBXtldo2Qyg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CHCQJ7FF8OW8MOwp55RtJ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ZX7mKHA275SJX7qVizsrL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bMUvVKVGf4BnF6jLv_nyF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6THBw6HusPAzUv4sVAUfS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FtHkwszv069r01e5.rSuB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oT9gYXxP2zQ46gEB3yMLG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Kq1nhm7Hzxawzl4Rc4HOd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goQu4l5YkK.ywWzj6zxu3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qOq0z5HeChFAjRTVUWmIE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8T49vnl8e2NeLLVa_wEoY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ATYFYBiEbk1Hb3_PzOrfW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FYK.56t1TzyEAhgfrASc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tSb_Izg3Q1CCXmNTDvHdx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yX62jVzJ8YeSuCgsL58qv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jpWR5MJ4MytPcHmGePjGc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Vara7l0wAe3sTYENgVpKh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11.9teEs5Lbd8ESoe.B3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B8TcRGRkb4yTngcradGgw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5v3wOtpxq5vFUI_bEEtrK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PHQiwd_DRUdll9i1kB1Rd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EqpRVsigwe.AOSG.NpFdC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967AXuE56tuO2jheVzufZ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FzrU6Cr0GumorR0EVXdKQ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zkmC.5P8T6UwrN1VsE6_i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CHLsYJ7N5uCH7DPH5g5c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Spd5mITfuVGR.Wo8sKAXW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keeNmCQK9KhURJ4McSmeB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s6EjL_z93nrQz0dAsB.8Z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TyPDjuJwMkJnlVUEK.mLT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3lUxF9ZP0.rVogG4jHx_3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bGHk2ShMJ1Ok5VS4xDjUC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Wx5hCRyaETBrlrgcN5.RP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VJ405wYFc4wa.4cZQdg0u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_sIlZYdrBu7MIKF7aPRXt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PgDQr94_qk5hRYZS6YbvY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s6oucmv6gc1IaFg577KZG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GejMuhMicIa7SWbu_oV0c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NIvhH14B4xoIT.RD3fTMw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Kpy2RKHLqQDrnm12M70Jk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vn1Z2JCoQcYtdPhnSMVX_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IaWIrYazKPG03Wwj0iQvh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ReGRgNrXp28S9uVUC2X7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WD300MrKdM0wKeSkdkjaq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6gDSFNowQHeX7h99dcEB0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RsDVqgYgsfoVO8MkH3Gg1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dmc1aFdwapNv8LKoZj4Fd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q7kMASHywxucnWxiWwbqe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2cbSjJ52nrPqsQ3wZcRmI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JIEwFM99IU6.6LfPTdFKy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j1PTcsQnXfZ0nMkSWelz1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qFXoIMWQ33VnxlSLf6bm7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86jkKsgHv4uzIZ2kv6ku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5CshrPRwTeuXBmpsQCWXZ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3iIaQvozXakkpYaLJrttm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U_5gC.ZRLd36goS_P.NGp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6RRfl1cLsyfAS_rhNYEO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lZBO.k4RLET.8Ecv1YHGq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3atTt7s20igoEcwYyTDC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GpJ9f_e2aBatcAliJPGTJ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iZVUjthC_o1tb7.OlroAL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CO1lIelK5NilZRyjnv0.z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rst.IrlyEReqvwrb1bKe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g36qlbZdN4sXuEFTH6QhU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Y48ymyh38ldpIp8nitPEO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RYDGkeXQBEBsl_dcOtoNP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fzhy_evPOyR5ndwV9hf1b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6ukViRZAR0uIJstlijO0r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dCS4.p99z2UaaP7G1SPwc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4tz6Ebov0XRCuwH.gNZvM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velKDE99.yp88EmL4ijK8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85rtEhwtzSrCccfDkpgYc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NjO4zlxlN5dN4niyfUts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EHRtx3MxSvthhsO10Lvw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o2zhPdKUzr.tIRNLpd_K3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n2nSO0ndGHUSGYoLGPV72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FYLFfS_yrHCjwm_5vHt.c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ieZQspOq6TSXspbj8.92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i1HYG9F56YpUS5pK_Nt8Q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3vbPkaYUxwRLdTeTmiR.k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PHSiv5XZ__Phu7EUc14cy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IhigTaIqxZj43pkdEPHHX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NTqRKcPToAeWFJSJQhyLs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IW6Rx6aydNZ9_d0XnA7C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1fJwxKKMKhVx4O617d.9h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SvKwgG7pIzL4htwodQMoD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veyogobhD3ZTe8sf8YKd5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LQbQxE9r3ZtQ8J_pgxno9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n6nNfukO9Z19Dyq5Fm02q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dpHJiKkoCfAL9k26.5CNz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ZBTBLzHd6E7zxeMoy5VxR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bH0P4b4fndzc1ojzl9qJa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v1_rR3ZI2bMzwbquQu1md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31QUUOiTtuS.7_6BCC1QI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J5NrP2d0Pv2QjLVauuTBJ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Cyztfsu2gD2nB57HYZtN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xN.lF587NoKLGgkhIWr3J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pwmtkKcf3iAAJs4PrfOPL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tA.v.zhVwxUaY1id5kcYz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TbebkHdyctCyRcf.l.rWJ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pUP9iNE_Bci8m.YONnnt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OzbsIpwVpmLiGMOlkCMe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8cC4Qx8Xmb.y61PDYwNx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JSjh6sJpQeuKuWKXryBtT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H4qvcuMY1pnJrkqUnTR7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wXdZAWqhTAOXktFq2gfDM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mhwENBsUQJm5alGoOhYUR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cRfcNdWrQWKwmenvep.Rl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zWr9.rr0Q2.MX.9QO_R0R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g8YiCBkeQDWWP4kNiQ4dq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lL8JF5fqSgSYHluotTMzx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WyyzVNTER1W8hT40P6mP6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tJaqjUOETs.JjDfgcrE.w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xECK5x3tS16crbYlpKXsq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OYngEQFSp2nTJjsJlK.K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8263</Words>
  <Application>Microsoft Office PowerPoint</Application>
  <PresentationFormat>A4 210 x 297 mm</PresentationFormat>
  <Paragraphs>4726</Paragraphs>
  <Slides>110</Slides>
  <Notes>24</Notes>
  <HiddenSlides>0</HiddenSlides>
  <MMClips>0</MMClips>
  <ScaleCrop>false</ScaleCrop>
  <HeadingPairs>
    <vt:vector size="8" baseType="variant">
      <vt:variant>
        <vt:lpstr>使用されているフォント</vt:lpstr>
      </vt:variant>
      <vt:variant>
        <vt:i4>14</vt:i4>
      </vt:variant>
      <vt:variant>
        <vt:lpstr>テーマ</vt:lpstr>
      </vt:variant>
      <vt:variant>
        <vt:i4>1</vt:i4>
      </vt:variant>
      <vt:variant>
        <vt:lpstr>埋め込まれた OLE サーバー</vt:lpstr>
      </vt:variant>
      <vt:variant>
        <vt:i4>1</vt:i4>
      </vt:variant>
      <vt:variant>
        <vt:lpstr>スライド タイトル</vt:lpstr>
      </vt:variant>
      <vt:variant>
        <vt:i4>110</vt:i4>
      </vt:variant>
    </vt:vector>
  </HeadingPairs>
  <TitlesOfParts>
    <vt:vector size="126" baseType="lpstr">
      <vt:lpstr>HGP創英角ｺﾞｼｯｸUB</vt:lpstr>
      <vt:lpstr>HGS創英角ｺﾞｼｯｸUB</vt:lpstr>
      <vt:lpstr>MS PGothic (headings)</vt:lpstr>
      <vt:lpstr>MS Pゴシック</vt:lpstr>
      <vt:lpstr>ＭＳ Ｐゴシック</vt:lpstr>
      <vt:lpstr>ＭＳ Ｐゴシック</vt:lpstr>
      <vt:lpstr>Aptos Narrow</vt:lpstr>
      <vt:lpstr>Arial</vt:lpstr>
      <vt:lpstr>Arial Black</vt:lpstr>
      <vt:lpstr>Calibri</vt:lpstr>
      <vt:lpstr>Courier New</vt:lpstr>
      <vt:lpstr>Sakkal Majalla</vt:lpstr>
      <vt:lpstr>Tahoma</vt:lpstr>
      <vt:lpstr>Wingdings</vt:lpstr>
      <vt:lpstr>NRI Template</vt:lpstr>
      <vt:lpstr>think-cellスライド</vt:lpstr>
      <vt:lpstr>PowerPoint プレゼンテーション</vt:lpstr>
      <vt:lpstr>PowerPoint プレゼンテーション</vt:lpstr>
      <vt:lpstr>PowerPoint プレゼンテーション</vt:lpstr>
      <vt:lpstr>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一般概況</vt:lpstr>
      <vt:lpstr>サウジアラビア／一般概況</vt:lpstr>
      <vt:lpstr>サウジアラビア／一般概況／経済</vt:lpstr>
      <vt:lpstr>サウジアラビア／一般概況／経済</vt:lpstr>
      <vt:lpstr>サウジアラビア／一般概況／経済</vt:lpstr>
      <vt:lpstr>サウジアラビア／一般概況／経済</vt:lpstr>
      <vt:lpstr>サウジアラビア／一般概況／規制</vt:lpstr>
      <vt:lpstr>サウジアラビア／一般概況／規制</vt:lpstr>
      <vt:lpstr>サウジアラビア／一般概況／規制</vt:lpstr>
      <vt:lpstr>サウジアラビア／一般概況／規制</vt:lpstr>
      <vt:lpstr>サウジアラビア／一般概況／規制</vt:lpstr>
      <vt:lpstr>サウジアラビア／一般概況／規制</vt:lpstr>
      <vt:lpstr>サウジアラビア／一般概況／生活</vt:lpstr>
      <vt:lpstr>医療関連</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医療サービス</vt:lpstr>
      <vt:lpstr>サウジアラビア／医療関連／医療サービス</vt:lpstr>
      <vt:lpstr>サウジアラビア／医療関連／医療機器</vt:lpstr>
      <vt:lpstr>サウジアラビア／医療関連／医療機器</vt:lpstr>
      <vt:lpstr>サウジアラビア／医療関連／医療機器</vt:lpstr>
      <vt:lpstr>サウジアラビア／医療関連／医療機器</vt:lpstr>
      <vt:lpstr>サウジアラビア／医療関連／医薬品</vt:lpstr>
      <vt:lpstr>サウジアラビア／医療関連／医薬品</vt:lpstr>
      <vt:lpstr>サウジアラビア／医療関連／医薬品</vt:lpstr>
      <vt:lpstr>サウジアラビア／医療関連／医薬品</vt:lpstr>
      <vt:lpstr>サウジアラビア／医療関連／介護</vt:lpstr>
      <vt:lpstr>サウジアラビア／医療関連／介護</vt:lpstr>
      <vt:lpstr>サウジアラビア／医療関連／歯科</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36:31Z</dcterms:created>
  <dcterms:modified xsi:type="dcterms:W3CDTF">2026-06-04T03:52:32Z</dcterms:modified>
</cp:coreProperties>
</file>